
<file path=[Content_Types].xml><?xml version="1.0" encoding="utf-8"?>
<Types xmlns="http://schemas.openxmlformats.org/package/2006/content-types">
  <Default Extension="jpeg" ContentType="image/jpeg"/>
  <Default Extension="JPG" ContentType="image/.jpg"/>
  <Default Extension="png" ContentType="image/png"/>
  <Default Extension="gif" ContentType="image/gi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257" r:id="rId3"/>
    <p:sldId id="346" r:id="rId5"/>
    <p:sldId id="259" r:id="rId6"/>
    <p:sldId id="290" r:id="rId7"/>
    <p:sldId id="291" r:id="rId8"/>
    <p:sldId id="292" r:id="rId9"/>
    <p:sldId id="294" r:id="rId10"/>
    <p:sldId id="283" r:id="rId11"/>
    <p:sldId id="284" r:id="rId12"/>
    <p:sldId id="322" r:id="rId13"/>
    <p:sldId id="323" r:id="rId14"/>
    <p:sldId id="324" r:id="rId15"/>
    <p:sldId id="261" r:id="rId16"/>
    <p:sldId id="326" r:id="rId17"/>
    <p:sldId id="325" r:id="rId18"/>
    <p:sldId id="327" r:id="rId19"/>
    <p:sldId id="316" r:id="rId20"/>
    <p:sldId id="317" r:id="rId21"/>
    <p:sldId id="318" r:id="rId22"/>
    <p:sldId id="319" r:id="rId23"/>
    <p:sldId id="320" r:id="rId24"/>
    <p:sldId id="321" r:id="rId25"/>
    <p:sldId id="263" r:id="rId26"/>
    <p:sldId id="328" r:id="rId27"/>
    <p:sldId id="329" r:id="rId28"/>
    <p:sldId id="330" r:id="rId29"/>
    <p:sldId id="331" r:id="rId30"/>
    <p:sldId id="332" r:id="rId31"/>
    <p:sldId id="333" r:id="rId32"/>
    <p:sldId id="334" r:id="rId33"/>
    <p:sldId id="335" r:id="rId34"/>
    <p:sldId id="336" r:id="rId35"/>
    <p:sldId id="337" r:id="rId36"/>
    <p:sldId id="338" r:id="rId37"/>
    <p:sldId id="265" r:id="rId38"/>
    <p:sldId id="339" r:id="rId39"/>
    <p:sldId id="340" r:id="rId40"/>
    <p:sldId id="341" r:id="rId41"/>
    <p:sldId id="342" r:id="rId42"/>
    <p:sldId id="343" r:id="rId43"/>
    <p:sldId id="344" r:id="rId44"/>
    <p:sldId id="345" r:id="rId45"/>
    <p:sldId id="313" r:id="rId46"/>
    <p:sldId id="267" r:id="rId47"/>
    <p:sldId id="390" r:id="rId48"/>
  </p:sldIdLst>
  <p:sldSz cx="12192000" cy="6858000"/>
  <p:notesSz cx="6858000" cy="9144000"/>
  <p:custDataLst>
    <p:tags r:id="rId5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54061"/>
    <a:srgbClr val="E46C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howGuides="1">
      <p:cViewPr varScale="1">
        <p:scale>
          <a:sx n="84" d="100"/>
          <a:sy n="84" d="100"/>
        </p:scale>
        <p:origin x="378" y="102"/>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2" Type="http://schemas.openxmlformats.org/officeDocument/2006/relationships/tags" Target="tags/tag2.xml"/><Relationship Id="rId51" Type="http://schemas.openxmlformats.org/officeDocument/2006/relationships/tableStyles" Target="tableStyles.xml"/><Relationship Id="rId50" Type="http://schemas.openxmlformats.org/officeDocument/2006/relationships/viewProps" Target="viewProps.xml"/><Relationship Id="rId5" Type="http://schemas.openxmlformats.org/officeDocument/2006/relationships/slide" Target="slides/slide2.xml"/><Relationship Id="rId49" Type="http://schemas.openxmlformats.org/officeDocument/2006/relationships/presProps" Target="presProps.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notesMaster" Target="notesMasters/notesMaster1.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42A821-8F76-4BAC-BDBC-C1B18365FBBE}"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0EA2CC-84A6-429B-9638-3FE7E3A8BF93}"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6EE78B-84D8-412F-BC69-ACC7C447BAFC}" type="slidenum">
              <a:rPr lang="zh-CN" altLang="en-US" smtClean="0"/>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6EE78B-84D8-412F-BC69-ACC7C447BAFC}" type="slidenum">
              <a:rPr lang="zh-CN" altLang="en-US" smtClean="0"/>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744F346-9435-41B1-AD1D-461963F20BEE}" type="slidenum">
              <a:rPr lang="zh-CN" altLang="en-US" smtClean="0"/>
            </a:fld>
            <a:endParaRPr lang="zh-CN"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fld>
            <a:endParaRPr lang="zh-CN"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fld>
            <a:endParaRPr lang="zh-CN"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39937" name="幻灯片图像占位符 1"/>
          <p:cNvSpPr>
            <a:spLocks noGrp="1" noRot="1" noChangeAspect="1" noTextEdit="1"/>
          </p:cNvSpPr>
          <p:nvPr>
            <p:ph type="sldImg"/>
          </p:nvPr>
        </p:nvSpPr>
        <p:spPr>
          <a:ln>
            <a:solidFill>
              <a:srgbClr val="000000"/>
            </a:solidFill>
            <a:miter/>
          </a:ln>
        </p:spPr>
      </p:sp>
      <p:sp>
        <p:nvSpPr>
          <p:cNvPr id="39938" name="备注占位符 2"/>
          <p:cNvSpPr>
            <a:spLocks noGrp="1"/>
          </p:cNvSpPr>
          <p:nvPr>
            <p:ph type="body"/>
          </p:nvPr>
        </p:nvSpPr>
        <p:spPr>
          <a:noFill/>
          <a:ln>
            <a:noFill/>
          </a:ln>
        </p:spPr>
        <p:txBody>
          <a:bodyPr wrap="square" lIns="91440" tIns="45720" rIns="91440" bIns="45720" anchor="t"/>
          <a:p>
            <a:pPr lvl="0">
              <a:spcBef>
                <a:spcPct val="0"/>
              </a:spcBef>
            </a:pPr>
            <a:r>
              <a:rPr lang="zh-CN" altLang="en-US" dirty="0"/>
              <a:t>模板来自于 </a:t>
            </a:r>
            <a:r>
              <a:rPr lang="en-US" altLang="zh-CN" dirty="0"/>
              <a:t>https://www.pptying.com    【PPT</a:t>
            </a:r>
            <a:r>
              <a:rPr lang="zh-CN" altLang="en-US" dirty="0"/>
              <a:t>营</a:t>
            </a:r>
            <a:r>
              <a:rPr lang="en-US" altLang="zh-CN" dirty="0"/>
              <a:t>】</a:t>
            </a:r>
            <a:endParaRPr lang="zh-CN" altLang="en-US" dirty="0"/>
          </a:p>
        </p:txBody>
      </p:sp>
      <p:sp>
        <p:nvSpPr>
          <p:cNvPr id="39939" name="灯片编号占位符 3"/>
          <p:cNvSpPr>
            <a:spLocks noGrp="1"/>
          </p:cNvSpPr>
          <p:nvPr>
            <p:ph type="sldNum" sz="quarter"/>
          </p:nvPr>
        </p:nvSpPr>
        <p:spPr>
          <a:xfrm>
            <a:off x="3884613" y="8685213"/>
            <a:ext cx="2971800" cy="458787"/>
          </a:xfrm>
          <a:prstGeom prst="rect">
            <a:avLst/>
          </a:prstGeom>
          <a:noFill/>
          <a:ln w="9525">
            <a:noFill/>
          </a:ln>
        </p:spPr>
        <p:txBody>
          <a:bodyPr vert="horz" wrap="square" lIns="91440" tIns="45720" rIns="91440" bIns="45720" anchor="b"/>
          <a:p>
            <a:pPr lvl="0" algn="r" eaLnBrk="1" hangingPunct="1"/>
            <a:fld id="{9A0DB2DC-4C9A-4742-B13C-FB6460FD3503}" type="slidenum">
              <a:rPr lang="zh-CN" altLang="en-US" sz="1200">
                <a:solidFill>
                  <a:srgbClr val="000000"/>
                </a:solidFill>
                <a:latin typeface="Calibri" panose="020F0502020204030204" pitchFamily="34" charset="0"/>
                <a:ea typeface="宋体" panose="02010600030101010101" pitchFamily="2" charset="-122"/>
              </a:rPr>
            </a:fld>
            <a:endParaRPr lang="zh-CN" altLang="en-US" sz="1200">
              <a:solidFill>
                <a:srgbClr val="000000"/>
              </a:solidFill>
              <a:latin typeface="Calibri" panose="020F0502020204030204" pitchFamily="34" charset="0"/>
              <a:ea typeface="宋体" panose="02010600030101010101" pitchFamily="2" charset="-122"/>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11FC198-2D83-4DFC-8CDD-7D23AF44D411}" type="slidenum">
              <a:rPr lang="zh-CN" altLang="en-US" smtClean="0"/>
            </a:fld>
            <a:endParaRPr lang="zh-CN" alt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0E0A07-2C1C-45C5-985B-D6CD99FDD0F0}"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0E0A07-2C1C-45C5-985B-D6CD99FDD0F0}"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6"/>
            <a:ext cx="103632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74639"/>
            <a:ext cx="27432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600" y="274639"/>
            <a:ext cx="8026400" cy="5851525"/>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和内容">
    <p:bg>
      <p:bgPr>
        <a:solidFill>
          <a:schemeClr val="bg1"/>
        </a:solidFill>
        <a:effectLst/>
      </p:bgPr>
    </p:bg>
    <p:spTree>
      <p:nvGrpSpPr>
        <p:cNvPr id="1" name=""/>
        <p:cNvGrpSpPr/>
        <p:nvPr/>
      </p:nvGrpSpPr>
      <p:grpSpPr>
        <a:xfrm>
          <a:off x="0" y="0"/>
          <a:ext cx="0" cy="0"/>
          <a:chOff x="0" y="0"/>
          <a:chExt cx="0" cy="0"/>
        </a:xfrm>
      </p:grpSpPr>
      <p:sp>
        <p:nvSpPr>
          <p:cNvPr id="2" name="直角三角形 1"/>
          <p:cNvSpPr/>
          <p:nvPr userDrawn="1"/>
        </p:nvSpPr>
        <p:spPr>
          <a:xfrm>
            <a:off x="0" y="6213309"/>
            <a:ext cx="3887755" cy="644691"/>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3" name="直角三角形 2"/>
          <p:cNvSpPr/>
          <p:nvPr userDrawn="1"/>
        </p:nvSpPr>
        <p:spPr>
          <a:xfrm flipH="1">
            <a:off x="2063552" y="5541235"/>
            <a:ext cx="10128448" cy="1316765"/>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4" name="直角三角形 3"/>
          <p:cNvSpPr/>
          <p:nvPr userDrawn="1"/>
        </p:nvSpPr>
        <p:spPr>
          <a:xfrm rot="10800000" flipH="1">
            <a:off x="0" y="0"/>
            <a:ext cx="9936427" cy="1124744"/>
          </a:xfrm>
          <a:prstGeom prst="r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Tree>
  </p:cSld>
  <p:clrMapOvr>
    <a:masterClrMapping/>
  </p:clrMapOvr>
  <mc:AlternateContent xmlns:mc="http://schemas.openxmlformats.org/markup-compatibility/2006">
    <mc:Choice xmlns:p14="http://schemas.microsoft.com/office/powerpoint/2010/main" Requires="p14">
      <p:transition spd="med" p14:dur="700" advClick="0" advTm="0">
        <p:fade/>
      </p:transition>
    </mc:Choice>
    <mc:Fallback>
      <p:transition spd="med" advClick="0" advTm="0">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第一节">
    <p:spTree>
      <p:nvGrpSpPr>
        <p:cNvPr id="1" name=""/>
        <p:cNvGrpSpPr/>
        <p:nvPr/>
      </p:nvGrpSpPr>
      <p:grpSpPr>
        <a:xfrm>
          <a:off x="0" y="0"/>
          <a:ext cx="0" cy="0"/>
          <a:chOff x="0" y="0"/>
          <a:chExt cx="0" cy="0"/>
        </a:xfrm>
      </p:grpSpPr>
      <p:grpSp>
        <p:nvGrpSpPr>
          <p:cNvPr id="51" name="组合 50"/>
          <p:cNvGrpSpPr/>
          <p:nvPr userDrawn="1"/>
        </p:nvGrpSpPr>
        <p:grpSpPr>
          <a:xfrm>
            <a:off x="694697" y="620689"/>
            <a:ext cx="117020" cy="117005"/>
            <a:chOff x="304800" y="673100"/>
            <a:chExt cx="4000500" cy="4000500"/>
          </a:xfrm>
          <a:solidFill>
            <a:schemeClr val="bg1"/>
          </a:solidFill>
          <a:effectLst>
            <a:outerShdw blurRad="444500" dist="254000" dir="8100000" algn="tr" rotWithShape="0">
              <a:prstClr val="black">
                <a:alpha val="24000"/>
              </a:prstClr>
            </a:outerShdw>
          </a:effectLst>
        </p:grpSpPr>
        <p:sp>
          <p:nvSpPr>
            <p:cNvPr id="52" name="同心圆 51"/>
            <p:cNvSpPr/>
            <p:nvPr/>
          </p:nvSpPr>
          <p:spPr>
            <a:xfrm>
              <a:off x="304800" y="673100"/>
              <a:ext cx="4000500" cy="4000500"/>
            </a:xfrm>
            <a:prstGeom prst="octagon">
              <a:avLst/>
            </a:prstGeom>
            <a:gradFill flip="none" rotWithShape="1">
              <a:gsLst>
                <a:gs pos="80000">
                  <a:srgbClr val="FFFFFF">
                    <a:lumMod val="0"/>
                    <a:lumOff val="100000"/>
                  </a:srgbClr>
                </a:gs>
                <a:gs pos="0">
                  <a:schemeClr val="accent1"/>
                </a:gs>
                <a:gs pos="100000">
                  <a:schemeClr val="accent1">
                    <a:tint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chemeClr val="tx1"/>
                </a:solidFill>
                <a:ea typeface="微软雅黑" panose="020B0503020204020204" pitchFamily="34" charset="-122"/>
              </a:endParaRPr>
            </a:p>
          </p:txBody>
        </p:sp>
        <p:sp>
          <p:nvSpPr>
            <p:cNvPr id="53" name="椭圆 52"/>
            <p:cNvSpPr/>
            <p:nvPr/>
          </p:nvSpPr>
          <p:spPr>
            <a:xfrm>
              <a:off x="392109" y="760409"/>
              <a:ext cx="3825870" cy="3825870"/>
            </a:xfrm>
            <a:prstGeom prst="octagon">
              <a:avLst/>
            </a:prstGeom>
            <a:gradFill flip="none" rotWithShape="1">
              <a:gsLst>
                <a:gs pos="80000">
                  <a:srgbClr val="FFFFFF">
                    <a:lumMod val="0"/>
                    <a:lumOff val="100000"/>
                  </a:srgbClr>
                </a:gs>
                <a:gs pos="0">
                  <a:schemeClr val="accent1"/>
                </a:gs>
                <a:gs pos="100000">
                  <a:schemeClr val="accent1">
                    <a:tint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ea typeface="微软雅黑" panose="020B0503020204020204" pitchFamily="34" charset="-122"/>
              </a:endParaRPr>
            </a:p>
          </p:txBody>
        </p:sp>
      </p:grpSp>
      <p:grpSp>
        <p:nvGrpSpPr>
          <p:cNvPr id="54" name="组合 53"/>
          <p:cNvGrpSpPr/>
          <p:nvPr userDrawn="1"/>
        </p:nvGrpSpPr>
        <p:grpSpPr>
          <a:xfrm>
            <a:off x="422356" y="299282"/>
            <a:ext cx="435914" cy="435857"/>
            <a:chOff x="304800" y="673100"/>
            <a:chExt cx="4000500" cy="4000500"/>
          </a:xfrm>
          <a:solidFill>
            <a:schemeClr val="bg1"/>
          </a:solidFill>
          <a:effectLst>
            <a:outerShdw blurRad="444500" dist="254000" dir="8100000" algn="tr" rotWithShape="0">
              <a:prstClr val="black">
                <a:alpha val="24000"/>
              </a:prstClr>
            </a:outerShdw>
          </a:effectLst>
        </p:grpSpPr>
        <p:sp>
          <p:nvSpPr>
            <p:cNvPr id="55" name="同心圆 54"/>
            <p:cNvSpPr/>
            <p:nvPr/>
          </p:nvSpPr>
          <p:spPr>
            <a:xfrm>
              <a:off x="304800" y="673100"/>
              <a:ext cx="4000500" cy="4000500"/>
            </a:xfrm>
            <a:prstGeom prst="oct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chemeClr val="tx1"/>
                </a:solidFill>
                <a:ea typeface="微软雅黑" panose="020B0503020204020204" pitchFamily="34" charset="-122"/>
              </a:endParaRPr>
            </a:p>
          </p:txBody>
        </p:sp>
        <p:sp>
          <p:nvSpPr>
            <p:cNvPr id="56" name="椭圆 55"/>
            <p:cNvSpPr/>
            <p:nvPr/>
          </p:nvSpPr>
          <p:spPr>
            <a:xfrm>
              <a:off x="392109" y="760409"/>
              <a:ext cx="3825870" cy="3825870"/>
            </a:xfrm>
            <a:prstGeom prst="octagon">
              <a:avLst/>
            </a:prstGeom>
            <a:gradFill flip="none" rotWithShape="1">
              <a:gsLst>
                <a:gs pos="20000">
                  <a:srgbClr val="BFBFBF"/>
                </a:gs>
                <a:gs pos="80000">
                  <a:srgbClr val="FFFFFF"/>
                </a:gs>
                <a:gs pos="100000">
                  <a:schemeClr val="accent1">
                    <a:tint val="0"/>
                  </a:schemeClr>
                </a:gs>
              </a:gsLst>
              <a:lin ang="2700000" scaled="1"/>
              <a:tileRect/>
            </a:gra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rgbClr val="000000"/>
                </a:solidFill>
                <a:ea typeface="微软雅黑" panose="020B0503020204020204" pitchFamily="34" charset="-122"/>
              </a:endParaRPr>
            </a:p>
          </p:txBody>
        </p:sp>
      </p:grpSp>
      <p:grpSp>
        <p:nvGrpSpPr>
          <p:cNvPr id="57" name="组合 56"/>
          <p:cNvGrpSpPr/>
          <p:nvPr userDrawn="1"/>
        </p:nvGrpSpPr>
        <p:grpSpPr>
          <a:xfrm>
            <a:off x="285682" y="431545"/>
            <a:ext cx="234035" cy="234005"/>
            <a:chOff x="304800" y="673100"/>
            <a:chExt cx="4000500" cy="4000500"/>
          </a:xfrm>
          <a:solidFill>
            <a:schemeClr val="bg1"/>
          </a:solidFill>
          <a:effectLst>
            <a:outerShdw blurRad="444500" dist="254000" dir="8100000" algn="tr" rotWithShape="0">
              <a:prstClr val="black">
                <a:alpha val="24000"/>
              </a:prstClr>
            </a:outerShdw>
          </a:effectLst>
        </p:grpSpPr>
        <p:sp>
          <p:nvSpPr>
            <p:cNvPr id="58" name="同心圆 57"/>
            <p:cNvSpPr/>
            <p:nvPr/>
          </p:nvSpPr>
          <p:spPr>
            <a:xfrm>
              <a:off x="304800" y="673100"/>
              <a:ext cx="4000500" cy="4000500"/>
            </a:xfrm>
            <a:prstGeom prst="oct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chemeClr val="tx1"/>
                </a:solidFill>
                <a:ea typeface="微软雅黑" panose="020B0503020204020204" pitchFamily="34" charset="-122"/>
              </a:endParaRPr>
            </a:p>
          </p:txBody>
        </p:sp>
        <p:sp>
          <p:nvSpPr>
            <p:cNvPr id="61" name="椭圆 60"/>
            <p:cNvSpPr/>
            <p:nvPr/>
          </p:nvSpPr>
          <p:spPr>
            <a:xfrm>
              <a:off x="392100" y="760400"/>
              <a:ext cx="3825879" cy="3825879"/>
            </a:xfrm>
            <a:prstGeom prst="octagon">
              <a:avLst/>
            </a:prstGeom>
            <a:gradFill flip="none" rotWithShape="1">
              <a:gsLst>
                <a:gs pos="20000">
                  <a:srgbClr val="BFBFBF"/>
                </a:gs>
                <a:gs pos="80000">
                  <a:srgbClr val="FFFFFF"/>
                </a:gs>
                <a:gs pos="100000">
                  <a:schemeClr val="accent1">
                    <a:tint val="0"/>
                  </a:schemeClr>
                </a:gs>
              </a:gsLst>
              <a:lin ang="2700000" scaled="1"/>
              <a:tileRect/>
            </a:gra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rgbClr val="000000"/>
                </a:solidFill>
                <a:ea typeface="微软雅黑" panose="020B0503020204020204" pitchFamily="34" charset="-122"/>
              </a:endParaRPr>
            </a:p>
          </p:txBody>
        </p:sp>
      </p:grpSp>
      <p:pic>
        <p:nvPicPr>
          <p:cNvPr id="23" name="图片 22"/>
          <p:cNvPicPr>
            <a:picLocks noChangeAspect="1"/>
          </p:cNvPicPr>
          <p:nvPr userDrawn="1"/>
        </p:nvPicPr>
        <p:blipFill rotWithShape="1">
          <a:blip r:embed="rId2" cstate="print">
            <a:extLst>
              <a:ext uri="{28A0092B-C50C-407E-A947-70E740481C1C}">
                <a14:useLocalDpi xmlns:a14="http://schemas.microsoft.com/office/drawing/2010/main" val="0"/>
              </a:ext>
            </a:extLst>
          </a:blip>
          <a:srcRect l="32216" t="22909" r="1179" b="32705"/>
          <a:stretch>
            <a:fillRect/>
          </a:stretch>
        </p:blipFill>
        <p:spPr>
          <a:xfrm>
            <a:off x="9624852" y="6049988"/>
            <a:ext cx="2415149" cy="804614"/>
          </a:xfrm>
          <a:prstGeom prst="rect">
            <a:avLst/>
          </a:prstGeom>
          <a:effectLst>
            <a:outerShdw blurRad="50800" dist="38100" dir="8100000" algn="tr" rotWithShape="0">
              <a:prstClr val="black">
                <a:alpha val="40000"/>
              </a:prstClr>
            </a:outerShdw>
          </a:effectLst>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9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0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1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2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3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4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5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6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6901"/>
            <a:ext cx="103632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7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8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9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0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1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2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3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4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5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6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7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1" y="273050"/>
            <a:ext cx="4011084"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1" Type="http://schemas.openxmlformats.org/officeDocument/2006/relationships/theme" Target="../theme/theme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fld>
            <a:endParaRPr lang="zh-CN" altLang="en-US"/>
          </a:p>
        </p:txBody>
      </p:sp>
      <p:sp>
        <p:nvSpPr>
          <p:cNvPr id="5" name="页脚占位符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image" Target="../media/image2.jpeg"/></Relationships>
</file>

<file path=ppt/slides/_rels/slide10.xml.rels><?xml version="1.0" encoding="UTF-8" standalone="yes"?>
<Relationships xmlns="http://schemas.openxmlformats.org/package/2006/relationships"><Relationship Id="rId5" Type="http://schemas.openxmlformats.org/officeDocument/2006/relationships/notesSlide" Target="../notesSlides/notesSlide10.xml"/><Relationship Id="rId4" Type="http://schemas.openxmlformats.org/officeDocument/2006/relationships/slideLayout" Target="../slideLayouts/slideLayout12.xml"/><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image" Target="../media/image1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4" Type="http://schemas.openxmlformats.org/officeDocument/2006/relationships/notesSlide" Target="../notesSlides/notesSlide12.xml"/><Relationship Id="rId3" Type="http://schemas.openxmlformats.org/officeDocument/2006/relationships/slideLayout" Target="../slideLayouts/slideLayout12.xml"/><Relationship Id="rId2" Type="http://schemas.openxmlformats.org/officeDocument/2006/relationships/image" Target="../media/image23.png"/><Relationship Id="rId1"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image" Target="../media/image24.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7.xml"/><Relationship Id="rId7" Type="http://schemas.openxmlformats.org/officeDocument/2006/relationships/slideLayout" Target="../slideLayouts/slideLayout12.xml"/><Relationship Id="rId6" Type="http://schemas.openxmlformats.org/officeDocument/2006/relationships/image" Target="../media/image30.GIF"/><Relationship Id="rId5" Type="http://schemas.openxmlformats.org/officeDocument/2006/relationships/image" Target="../media/image29.GIF"/><Relationship Id="rId4" Type="http://schemas.openxmlformats.org/officeDocument/2006/relationships/image" Target="../media/image28.GIF"/><Relationship Id="rId3" Type="http://schemas.openxmlformats.org/officeDocument/2006/relationships/image" Target="../media/image27.GIF"/><Relationship Id="rId2" Type="http://schemas.openxmlformats.org/officeDocument/2006/relationships/image" Target="../media/image26.GIF"/><Relationship Id="rId1" Type="http://schemas.openxmlformats.org/officeDocument/2006/relationships/image" Target="../media/image25.GI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image" Target="../media/image3.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image" Target="../media/image31.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image" Target="../media/image4.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image" Target="../media/image32.jpe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image" Target="../media/image5.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6" Type="http://schemas.openxmlformats.org/officeDocument/2006/relationships/notesSlide" Target="../notesSlides/notesSlide43.xml"/><Relationship Id="rId5" Type="http://schemas.openxmlformats.org/officeDocument/2006/relationships/slideLayout" Target="../slideLayouts/slideLayout12.xml"/><Relationship Id="rId4" Type="http://schemas.openxmlformats.org/officeDocument/2006/relationships/image" Target="../media/image36.jpeg"/><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image" Target="../media/image33.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xml"/><Relationship Id="rId1" Type="http://schemas.openxmlformats.org/officeDocument/2006/relationships/image" Target="../media/image37.jpeg"/></Relationships>
</file>

<file path=ppt/slides/_rels/slide45.xml.rels><?xml version="1.0" encoding="UTF-8" standalone="yes"?>
<Relationships xmlns="http://schemas.openxmlformats.org/package/2006/relationships"><Relationship Id="rId4" Type="http://schemas.openxmlformats.org/officeDocument/2006/relationships/notesSlide" Target="../notesSlides/notesSlide45.xml"/><Relationship Id="rId3" Type="http://schemas.openxmlformats.org/officeDocument/2006/relationships/slideLayout" Target="../slideLayouts/slideLayout7.xml"/><Relationship Id="rId2" Type="http://schemas.openxmlformats.org/officeDocument/2006/relationships/hyperlink" Target="https://www.pptying.com" TargetMode="External"/><Relationship Id="rId1" Type="http://schemas.openxmlformats.org/officeDocument/2006/relationships/image" Target="../media/image38.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image" Target="../media/image6.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image" Target="../media/image7.png"/></Relationships>
</file>

<file path=ppt/slides/_rels/slide7.xml.rels><?xml version="1.0" encoding="UTF-8" standalone="yes"?>
<Relationships xmlns="http://schemas.openxmlformats.org/package/2006/relationships"><Relationship Id="rId9" Type="http://schemas.openxmlformats.org/officeDocument/2006/relationships/slideLayout" Target="../slideLayouts/slideLayout12.xml"/><Relationship Id="rId8" Type="http://schemas.openxmlformats.org/officeDocument/2006/relationships/image" Target="../media/image15.png"/><Relationship Id="rId7" Type="http://schemas.openxmlformats.org/officeDocument/2006/relationships/image" Target="../media/image14.jpeg"/><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3" Type="http://schemas.openxmlformats.org/officeDocument/2006/relationships/image" Target="../media/image10.jpeg"/><Relationship Id="rId2" Type="http://schemas.openxmlformats.org/officeDocument/2006/relationships/image" Target="../media/image9.png"/><Relationship Id="rId10" Type="http://schemas.openxmlformats.org/officeDocument/2006/relationships/notesSlide" Target="../notesSlides/notesSlide7.xml"/><Relationship Id="rId1" Type="http://schemas.openxmlformats.org/officeDocument/2006/relationships/image" Target="../media/image8.png"/></Relationships>
</file>

<file path=ppt/slides/_rels/slide8.xml.rels><?xml version="1.0" encoding="UTF-8" standalone="yes"?>
<Relationships xmlns="http://schemas.openxmlformats.org/package/2006/relationships"><Relationship Id="rId4" Type="http://schemas.openxmlformats.org/officeDocument/2006/relationships/notesSlide" Target="../notesSlides/notesSlide8.xml"/><Relationship Id="rId3" Type="http://schemas.openxmlformats.org/officeDocument/2006/relationships/slideLayout" Target="../slideLayouts/slideLayout12.xml"/><Relationship Id="rId2" Type="http://schemas.openxmlformats.org/officeDocument/2006/relationships/image" Target="../media/image17.png"/><Relationship Id="rId1" Type="http://schemas.openxmlformats.org/officeDocument/2006/relationships/image" Target="../media/image16.png"/></Relationships>
</file>

<file path=ppt/slides/_rels/slide9.xml.rels><?xml version="1.0" encoding="UTF-8" standalone="yes"?>
<Relationships xmlns="http://schemas.openxmlformats.org/package/2006/relationships"><Relationship Id="rId4" Type="http://schemas.openxmlformats.org/officeDocument/2006/relationships/notesSlide" Target="../notesSlides/notesSlide9.xml"/><Relationship Id="rId3" Type="http://schemas.openxmlformats.org/officeDocument/2006/relationships/slideLayout" Target="../slideLayouts/slideLayout12.xml"/><Relationship Id="rId2" Type="http://schemas.openxmlformats.org/officeDocument/2006/relationships/image" Target="../media/image17.png"/><Relationship Id="rId1"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3" name="Picture 9" descr="C:\Users\shangdongying\Desktop\2014-New-York-USA-Manhattan-City-Morning.jpg"/>
          <p:cNvPicPr>
            <a:picLocks noChangeAspect="1" noChangeArrowheads="1"/>
          </p:cNvPicPr>
          <p:nvPr/>
        </p:nvPicPr>
        <p:blipFill>
          <a:blip r:embed="rId1" cstate="print"/>
          <a:srcRect/>
          <a:stretch>
            <a:fillRect/>
          </a:stretch>
        </p:blipFill>
        <p:spPr bwMode="auto">
          <a:xfrm>
            <a:off x="0" y="0"/>
            <a:ext cx="12192000" cy="6858000"/>
          </a:xfrm>
          <a:prstGeom prst="rect">
            <a:avLst/>
          </a:prstGeom>
          <a:solidFill>
            <a:schemeClr val="bg1"/>
          </a:solidFill>
        </p:spPr>
      </p:pic>
      <p:sp>
        <p:nvSpPr>
          <p:cNvPr id="43" name="矩形 42"/>
          <p:cNvSpPr/>
          <p:nvPr/>
        </p:nvSpPr>
        <p:spPr>
          <a:xfrm>
            <a:off x="0" y="5637245"/>
            <a:ext cx="12192000" cy="12207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44" name="等腰三角形 43"/>
          <p:cNvSpPr/>
          <p:nvPr/>
        </p:nvSpPr>
        <p:spPr>
          <a:xfrm rot="5400000" flipV="1">
            <a:off x="4187078" y="-1146923"/>
            <a:ext cx="3817845" cy="12192000"/>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45" name="直角三角形 44"/>
          <p:cNvSpPr/>
          <p:nvPr/>
        </p:nvSpPr>
        <p:spPr>
          <a:xfrm>
            <a:off x="0" y="3621021"/>
            <a:ext cx="12192000" cy="3236979"/>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46" name="直角三角形 45"/>
          <p:cNvSpPr/>
          <p:nvPr/>
        </p:nvSpPr>
        <p:spPr>
          <a:xfrm flipH="1">
            <a:off x="0" y="3044957"/>
            <a:ext cx="12192000" cy="381304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52" name="TextBox 51"/>
          <p:cNvSpPr txBox="1"/>
          <p:nvPr/>
        </p:nvSpPr>
        <p:spPr>
          <a:xfrm>
            <a:off x="527381" y="4651587"/>
            <a:ext cx="2592288" cy="913007"/>
          </a:xfrm>
          <a:prstGeom prst="rect">
            <a:avLst/>
          </a:prstGeom>
          <a:noFill/>
        </p:spPr>
        <p:txBody>
          <a:bodyPr wrap="square" rtlCol="0">
            <a:spAutoFit/>
          </a:bodyPr>
          <a:lstStyle/>
          <a:p>
            <a:r>
              <a:rPr lang="en-US" altLang="zh-CN" sz="5335" b="1" dirty="0">
                <a:solidFill>
                  <a:schemeClr val="bg1"/>
                </a:solidFill>
                <a:latin typeface="+mn-ea"/>
                <a:cs typeface="+mn-ea"/>
              </a:rPr>
              <a:t>LOGO</a:t>
            </a:r>
            <a:endParaRPr lang="zh-CN" altLang="en-US" sz="5335" b="1" dirty="0">
              <a:solidFill>
                <a:schemeClr val="bg1"/>
              </a:solidFill>
              <a:latin typeface="+mn-ea"/>
              <a:cs typeface="+mn-ea"/>
            </a:endParaRPr>
          </a:p>
        </p:txBody>
      </p:sp>
      <p:sp>
        <p:nvSpPr>
          <p:cNvPr id="53" name="TextBox 52"/>
          <p:cNvSpPr txBox="1"/>
          <p:nvPr/>
        </p:nvSpPr>
        <p:spPr>
          <a:xfrm>
            <a:off x="6367460" y="4877552"/>
            <a:ext cx="1056117" cy="1733680"/>
          </a:xfrm>
          <a:prstGeom prst="rect">
            <a:avLst/>
          </a:prstGeom>
          <a:noFill/>
        </p:spPr>
        <p:txBody>
          <a:bodyPr wrap="square" rtlCol="0">
            <a:spAutoFit/>
          </a:bodyPr>
          <a:lstStyle/>
          <a:p>
            <a:r>
              <a:rPr lang="en-US" altLang="zh-CN" sz="10665" dirty="0">
                <a:solidFill>
                  <a:srgbClr val="969696"/>
                </a:solidFill>
                <a:latin typeface="+mn-ea"/>
                <a:cs typeface="+mn-ea"/>
              </a:rPr>
              <a:t>C</a:t>
            </a:r>
            <a:endParaRPr lang="zh-CN" altLang="en-US" sz="10665" dirty="0">
              <a:solidFill>
                <a:srgbClr val="969696"/>
              </a:solidFill>
              <a:latin typeface="+mn-ea"/>
              <a:cs typeface="+mn-ea"/>
            </a:endParaRPr>
          </a:p>
        </p:txBody>
      </p:sp>
      <p:sp>
        <p:nvSpPr>
          <p:cNvPr id="11" name="TextBox 51"/>
          <p:cNvSpPr txBox="1"/>
          <p:nvPr/>
        </p:nvSpPr>
        <p:spPr>
          <a:xfrm>
            <a:off x="7440149" y="5733257"/>
            <a:ext cx="3744416" cy="666786"/>
          </a:xfrm>
          <a:prstGeom prst="rect">
            <a:avLst/>
          </a:prstGeom>
          <a:noFill/>
        </p:spPr>
        <p:txBody>
          <a:bodyPr wrap="square" rtlCol="0">
            <a:spAutoFit/>
          </a:bodyPr>
          <a:lstStyle/>
          <a:p>
            <a:r>
              <a:rPr lang="en-US" altLang="zh-CN" sz="3735" dirty="0" err="1">
                <a:solidFill>
                  <a:srgbClr val="969696"/>
                </a:solidFill>
                <a:latin typeface="+mn-ea"/>
                <a:cs typeface="+mn-ea"/>
              </a:rPr>
              <a:t>ompany</a:t>
            </a:r>
            <a:r>
              <a:rPr lang="en-US" altLang="zh-CN" sz="3735" dirty="0">
                <a:solidFill>
                  <a:srgbClr val="969696"/>
                </a:solidFill>
                <a:latin typeface="+mn-ea"/>
                <a:cs typeface="+mn-ea"/>
              </a:rPr>
              <a:t> name </a:t>
            </a:r>
            <a:endParaRPr lang="zh-CN" altLang="en-US" sz="3735" dirty="0">
              <a:solidFill>
                <a:srgbClr val="969696"/>
              </a:solidFill>
              <a:latin typeface="+mn-ea"/>
              <a:cs typeface="+mn-ea"/>
            </a:endParaRPr>
          </a:p>
        </p:txBody>
      </p:sp>
      <p:sp>
        <p:nvSpPr>
          <p:cNvPr id="12" name="TextBox 51"/>
          <p:cNvSpPr txBox="1"/>
          <p:nvPr/>
        </p:nvSpPr>
        <p:spPr>
          <a:xfrm>
            <a:off x="7420251" y="5157193"/>
            <a:ext cx="3764315" cy="666786"/>
          </a:xfrm>
          <a:prstGeom prst="rect">
            <a:avLst/>
          </a:prstGeom>
          <a:noFill/>
        </p:spPr>
        <p:txBody>
          <a:bodyPr wrap="square" rtlCol="0">
            <a:spAutoFit/>
          </a:bodyPr>
          <a:lstStyle/>
          <a:p>
            <a:r>
              <a:rPr lang="zh-CN" altLang="en-US" sz="3735" dirty="0" smtClean="0">
                <a:solidFill>
                  <a:schemeClr val="bg1">
                    <a:lumMod val="50000"/>
                  </a:schemeClr>
                </a:solidFill>
                <a:latin typeface="+mn-ea"/>
                <a:cs typeface="+mn-ea"/>
              </a:rPr>
              <a:t>活动策划书</a:t>
            </a:r>
            <a:endParaRPr lang="zh-CN" altLang="en-US" sz="3735" dirty="0">
              <a:solidFill>
                <a:schemeClr val="bg1">
                  <a:lumMod val="50000"/>
                </a:schemeClr>
              </a:solidFill>
              <a:latin typeface="+mn-ea"/>
              <a:cs typeface="+mn-ea"/>
            </a:endParaRPr>
          </a:p>
        </p:txBody>
      </p:sp>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iterate type="lt">
                                    <p:tmPct val="10000"/>
                                  </p:iterate>
                                  <p:childTnLst>
                                    <p:set>
                                      <p:cBhvr>
                                        <p:cTn id="6" dur="1" fill="hold">
                                          <p:stCondLst>
                                            <p:cond delay="0"/>
                                          </p:stCondLst>
                                        </p:cTn>
                                        <p:tgtEl>
                                          <p:spTgt spid="52"/>
                                        </p:tgtEl>
                                        <p:attrNameLst>
                                          <p:attrName>style.visibility</p:attrName>
                                        </p:attrNameLst>
                                      </p:cBhvr>
                                      <p:to>
                                        <p:strVal val="visible"/>
                                      </p:to>
                                    </p:set>
                                    <p:animEffect transition="in" filter="randombar(horizontal)">
                                      <p:cBhvr>
                                        <p:cTn id="7" dur="500"/>
                                        <p:tgtEl>
                                          <p:spTgt spid="52"/>
                                        </p:tgtEl>
                                      </p:cBhvr>
                                    </p:animEffect>
                                  </p:childTnLst>
                                </p:cTn>
                              </p:par>
                            </p:childTnLst>
                          </p:cTn>
                        </p:par>
                        <p:par>
                          <p:cTn id="8" fill="hold">
                            <p:stCondLst>
                              <p:cond delay="649"/>
                            </p:stCondLst>
                            <p:childTnLst>
                              <p:par>
                                <p:cTn id="9" presetID="14" presetClass="entr" presetSubtype="10" fill="hold" grpId="0" nodeType="afterEffect">
                                  <p:stCondLst>
                                    <p:cond delay="0"/>
                                  </p:stCondLst>
                                  <p:iterate type="lt">
                                    <p:tmPct val="10000"/>
                                  </p:iterate>
                                  <p:childTnLst>
                                    <p:set>
                                      <p:cBhvr>
                                        <p:cTn id="10" dur="1" fill="hold">
                                          <p:stCondLst>
                                            <p:cond delay="0"/>
                                          </p:stCondLst>
                                        </p:cTn>
                                        <p:tgtEl>
                                          <p:spTgt spid="53"/>
                                        </p:tgtEl>
                                        <p:attrNameLst>
                                          <p:attrName>style.visibility</p:attrName>
                                        </p:attrNameLst>
                                      </p:cBhvr>
                                      <p:to>
                                        <p:strVal val="visible"/>
                                      </p:to>
                                    </p:set>
                                    <p:animEffect transition="in" filter="randombar(horizontal)">
                                      <p:cBhvr>
                                        <p:cTn id="11" dur="500"/>
                                        <p:tgtEl>
                                          <p:spTgt spid="53"/>
                                        </p:tgtEl>
                                      </p:cBhvr>
                                    </p:animEffect>
                                  </p:childTnLst>
                                </p:cTn>
                              </p:par>
                            </p:childTnLst>
                          </p:cTn>
                        </p:par>
                        <p:par>
                          <p:cTn id="12" fill="hold">
                            <p:stCondLst>
                              <p:cond delay="1149"/>
                            </p:stCondLst>
                            <p:childTnLst>
                              <p:par>
                                <p:cTn id="13" presetID="14" presetClass="entr" presetSubtype="10" fill="hold" grpId="0" nodeType="afterEffect">
                                  <p:stCondLst>
                                    <p:cond delay="0"/>
                                  </p:stCondLst>
                                  <p:iterate type="lt">
                                    <p:tmPct val="10000"/>
                                  </p:iterate>
                                  <p:childTnLst>
                                    <p:set>
                                      <p:cBhvr>
                                        <p:cTn id="14" dur="1" fill="hold">
                                          <p:stCondLst>
                                            <p:cond delay="0"/>
                                          </p:stCondLst>
                                        </p:cTn>
                                        <p:tgtEl>
                                          <p:spTgt spid="11"/>
                                        </p:tgtEl>
                                        <p:attrNameLst>
                                          <p:attrName>style.visibility</p:attrName>
                                        </p:attrNameLst>
                                      </p:cBhvr>
                                      <p:to>
                                        <p:strVal val="visible"/>
                                      </p:to>
                                    </p:set>
                                    <p:animEffect transition="in" filter="randombar(horizontal)">
                                      <p:cBhvr>
                                        <p:cTn id="15" dur="500"/>
                                        <p:tgtEl>
                                          <p:spTgt spid="11"/>
                                        </p:tgtEl>
                                      </p:cBhvr>
                                    </p:animEffect>
                                  </p:childTnLst>
                                </p:cTn>
                              </p:par>
                            </p:childTnLst>
                          </p:cTn>
                        </p:par>
                        <p:par>
                          <p:cTn id="16" fill="hold">
                            <p:stCondLst>
                              <p:cond delay="2199"/>
                            </p:stCondLst>
                            <p:childTnLst>
                              <p:par>
                                <p:cTn id="17" presetID="14" presetClass="entr" presetSubtype="10" fill="hold" grpId="0" nodeType="afterEffect">
                                  <p:stCondLst>
                                    <p:cond delay="0"/>
                                  </p:stCondLst>
                                  <p:iterate type="lt">
                                    <p:tmPct val="10000"/>
                                  </p:iterate>
                                  <p:childTnLst>
                                    <p:set>
                                      <p:cBhvr>
                                        <p:cTn id="18" dur="1" fill="hold">
                                          <p:stCondLst>
                                            <p:cond delay="0"/>
                                          </p:stCondLst>
                                        </p:cTn>
                                        <p:tgtEl>
                                          <p:spTgt spid="12"/>
                                        </p:tgtEl>
                                        <p:attrNameLst>
                                          <p:attrName>style.visibility</p:attrName>
                                        </p:attrNameLst>
                                      </p:cBhvr>
                                      <p:to>
                                        <p:strVal val="visible"/>
                                      </p:to>
                                    </p:set>
                                    <p:animEffect transition="in" filter="randombar(horizontal)">
                                      <p:cBhvr>
                                        <p:cTn id="1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3" grpId="0"/>
      <p:bldP spid="11" grpId="0"/>
      <p:bldP spid="1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p:nvPr/>
        </p:nvGrpSpPr>
        <p:grpSpPr bwMode="auto">
          <a:xfrm>
            <a:off x="5087888" y="2569633"/>
            <a:ext cx="1568449" cy="2223771"/>
            <a:chOff x="3789363" y="1927225"/>
            <a:chExt cx="1176337" cy="1667828"/>
          </a:xfrm>
        </p:grpSpPr>
        <p:sp>
          <p:nvSpPr>
            <p:cNvPr id="18" name="泪滴形 17"/>
            <p:cNvSpPr/>
            <p:nvPr/>
          </p:nvSpPr>
          <p:spPr bwMode="auto">
            <a:xfrm rot="18917047">
              <a:off x="3789363" y="1927225"/>
              <a:ext cx="1176337" cy="1176338"/>
            </a:xfrm>
            <a:prstGeom prst="teardrop">
              <a:avLst>
                <a:gd name="adj" fmla="val 120408"/>
              </a:avLst>
            </a:prstGeom>
            <a:blipFill dpi="0" rotWithShape="1">
              <a:blip r:embed="rId1" cstate="print">
                <a:extLst>
                  <a:ext uri="{28A0092B-C50C-407E-A947-70E740481C1C}">
                    <a14:useLocalDpi xmlns:a14="http://schemas.microsoft.com/office/drawing/2010/main" val="0"/>
                  </a:ext>
                </a:extLst>
              </a:blip>
              <a:srcRect/>
              <a:stretch>
                <a:fillRect/>
              </a:stretch>
            </a:blip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effectLst>
                  <a:outerShdw blurRad="38100" dist="38100" dir="2700000" algn="tl">
                    <a:srgbClr val="000000">
                      <a:alpha val="43137"/>
                    </a:srgbClr>
                  </a:outerShdw>
                </a:effectLst>
                <a:latin typeface="Impact" panose="020B0806030902050204" pitchFamily="34" charset="0"/>
                <a:cs typeface="+mn-ea"/>
              </a:endParaRPr>
            </a:p>
          </p:txBody>
        </p:sp>
        <p:sp>
          <p:nvSpPr>
            <p:cNvPr id="19" name="TextBox 74"/>
            <p:cNvSpPr txBox="1">
              <a:spLocks noChangeArrowheads="1"/>
            </p:cNvSpPr>
            <p:nvPr/>
          </p:nvSpPr>
          <p:spPr bwMode="auto">
            <a:xfrm>
              <a:off x="3987788" y="3310311"/>
              <a:ext cx="855042" cy="28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dirty="0">
                  <a:solidFill>
                    <a:srgbClr val="969696"/>
                  </a:solidFill>
                  <a:latin typeface="Impact" panose="020B0806030902050204" pitchFamily="34" charset="0"/>
                  <a:ea typeface="+mn-ea"/>
                  <a:cs typeface="+mn-ea"/>
                </a:rPr>
                <a:t>标题文字</a:t>
              </a:r>
              <a:endParaRPr lang="zh-CN" altLang="en-US" sz="1865" dirty="0">
                <a:solidFill>
                  <a:srgbClr val="969696"/>
                </a:solidFill>
                <a:latin typeface="Impact" panose="020B0806030902050204" pitchFamily="34" charset="0"/>
                <a:ea typeface="+mn-ea"/>
                <a:cs typeface="+mn-ea"/>
              </a:endParaRPr>
            </a:p>
          </p:txBody>
        </p:sp>
      </p:grpSp>
      <p:grpSp>
        <p:nvGrpSpPr>
          <p:cNvPr id="20" name="组合 19"/>
          <p:cNvGrpSpPr/>
          <p:nvPr/>
        </p:nvGrpSpPr>
        <p:grpSpPr bwMode="auto">
          <a:xfrm>
            <a:off x="7389283" y="2569633"/>
            <a:ext cx="1570566" cy="2223771"/>
            <a:chOff x="5541963" y="1927225"/>
            <a:chExt cx="1177925" cy="1667828"/>
          </a:xfrm>
        </p:grpSpPr>
        <p:sp>
          <p:nvSpPr>
            <p:cNvPr id="21" name="泪滴形 20"/>
            <p:cNvSpPr/>
            <p:nvPr/>
          </p:nvSpPr>
          <p:spPr bwMode="auto">
            <a:xfrm rot="18917047">
              <a:off x="5541963" y="1927225"/>
              <a:ext cx="1177925" cy="1176338"/>
            </a:xfrm>
            <a:prstGeom prst="teardrop">
              <a:avLst>
                <a:gd name="adj" fmla="val 120408"/>
              </a:avLst>
            </a:prstGeom>
            <a:blipFill dpi="0" rotWithShape="0">
              <a:blip r:embed="rId2" cstate="print">
                <a:extLst>
                  <a:ext uri="{28A0092B-C50C-407E-A947-70E740481C1C}">
                    <a14:useLocalDpi xmlns:a14="http://schemas.microsoft.com/office/drawing/2010/main" val="0"/>
                  </a:ext>
                </a:extLst>
              </a:blip>
              <a:srcRect/>
              <a:stretch>
                <a:fillRect/>
              </a:stretch>
            </a:blip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effectLst>
                  <a:outerShdw blurRad="38100" dist="38100" dir="2700000" algn="tl">
                    <a:srgbClr val="000000">
                      <a:alpha val="43137"/>
                    </a:srgbClr>
                  </a:outerShdw>
                </a:effectLst>
                <a:latin typeface="Impact" panose="020B0806030902050204" pitchFamily="34" charset="0"/>
                <a:cs typeface="+mn-ea"/>
              </a:endParaRPr>
            </a:p>
          </p:txBody>
        </p:sp>
        <p:sp>
          <p:nvSpPr>
            <p:cNvPr id="23" name="TextBox 75"/>
            <p:cNvSpPr txBox="1">
              <a:spLocks noChangeArrowheads="1"/>
            </p:cNvSpPr>
            <p:nvPr/>
          </p:nvSpPr>
          <p:spPr bwMode="auto">
            <a:xfrm>
              <a:off x="5723276" y="3310311"/>
              <a:ext cx="855042" cy="28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dirty="0">
                  <a:solidFill>
                    <a:srgbClr val="969696"/>
                  </a:solidFill>
                  <a:latin typeface="Impact" panose="020B0806030902050204" pitchFamily="34" charset="0"/>
                  <a:ea typeface="+mn-ea"/>
                  <a:cs typeface="+mn-ea"/>
                </a:rPr>
                <a:t>标题文字</a:t>
              </a:r>
              <a:endParaRPr lang="zh-CN" altLang="en-US" sz="1865" dirty="0">
                <a:solidFill>
                  <a:srgbClr val="969696"/>
                </a:solidFill>
                <a:latin typeface="Impact" panose="020B0806030902050204" pitchFamily="34" charset="0"/>
                <a:ea typeface="+mn-ea"/>
                <a:cs typeface="+mn-ea"/>
              </a:endParaRPr>
            </a:p>
          </p:txBody>
        </p:sp>
      </p:grpSp>
      <p:grpSp>
        <p:nvGrpSpPr>
          <p:cNvPr id="24" name="组合 23"/>
          <p:cNvGrpSpPr/>
          <p:nvPr/>
        </p:nvGrpSpPr>
        <p:grpSpPr bwMode="auto">
          <a:xfrm>
            <a:off x="9679520" y="2569633"/>
            <a:ext cx="1568450" cy="2223771"/>
            <a:chOff x="7259638" y="1927225"/>
            <a:chExt cx="1176337" cy="1667828"/>
          </a:xfrm>
        </p:grpSpPr>
        <p:sp>
          <p:nvSpPr>
            <p:cNvPr id="25" name="泪滴形 24"/>
            <p:cNvSpPr/>
            <p:nvPr/>
          </p:nvSpPr>
          <p:spPr bwMode="auto">
            <a:xfrm rot="18917047">
              <a:off x="7259638" y="1927225"/>
              <a:ext cx="1176337" cy="1176338"/>
            </a:xfrm>
            <a:prstGeom prst="teardrop">
              <a:avLst>
                <a:gd name="adj" fmla="val 120408"/>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effectLst>
                  <a:outerShdw blurRad="38100" dist="38100" dir="2700000" algn="tl">
                    <a:srgbClr val="000000">
                      <a:alpha val="43137"/>
                    </a:srgbClr>
                  </a:outerShdw>
                </a:effectLst>
                <a:latin typeface="Impact" panose="020B0806030902050204" pitchFamily="34" charset="0"/>
                <a:cs typeface="+mn-ea"/>
              </a:endParaRPr>
            </a:p>
          </p:txBody>
        </p:sp>
        <p:sp>
          <p:nvSpPr>
            <p:cNvPr id="26" name="泪滴形 25"/>
            <p:cNvSpPr/>
            <p:nvPr/>
          </p:nvSpPr>
          <p:spPr bwMode="auto">
            <a:xfrm rot="18917047">
              <a:off x="7259638" y="1927225"/>
              <a:ext cx="1176337" cy="1176338"/>
            </a:xfrm>
            <a:prstGeom prst="teardrop">
              <a:avLst>
                <a:gd name="adj" fmla="val 120408"/>
              </a:avLst>
            </a:prstGeom>
            <a:blipFill dpi="0" rotWithShape="0">
              <a:blip r:embed="rId3"/>
              <a:srcRect/>
              <a:stretch>
                <a:fillRect/>
              </a:stretch>
            </a:blip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effectLst>
                  <a:outerShdw blurRad="38100" dist="38100" dir="2700000" algn="tl">
                    <a:srgbClr val="000000">
                      <a:alpha val="43137"/>
                    </a:srgbClr>
                  </a:outerShdw>
                </a:effectLst>
                <a:latin typeface="Impact" panose="020B0806030902050204" pitchFamily="34" charset="0"/>
                <a:cs typeface="+mn-ea"/>
              </a:endParaRPr>
            </a:p>
          </p:txBody>
        </p:sp>
        <p:sp>
          <p:nvSpPr>
            <p:cNvPr id="27" name="TextBox 76"/>
            <p:cNvSpPr txBox="1">
              <a:spLocks noChangeArrowheads="1"/>
            </p:cNvSpPr>
            <p:nvPr/>
          </p:nvSpPr>
          <p:spPr bwMode="auto">
            <a:xfrm>
              <a:off x="7458764" y="3310311"/>
              <a:ext cx="855042" cy="28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a:t>
              </a:r>
              <a:endParaRPr lang="zh-CN" altLang="en-US" sz="1865">
                <a:solidFill>
                  <a:srgbClr val="969696"/>
                </a:solidFill>
                <a:latin typeface="Impact" panose="020B0806030902050204" pitchFamily="34" charset="0"/>
                <a:ea typeface="+mn-ea"/>
                <a:cs typeface="+mn-ea"/>
              </a:endParaRPr>
            </a:p>
          </p:txBody>
        </p:sp>
      </p:grpSp>
      <p:grpSp>
        <p:nvGrpSpPr>
          <p:cNvPr id="29" name="组合 28"/>
          <p:cNvGrpSpPr/>
          <p:nvPr/>
        </p:nvGrpSpPr>
        <p:grpSpPr bwMode="auto">
          <a:xfrm>
            <a:off x="683685" y="1485900"/>
            <a:ext cx="3721100" cy="3688281"/>
            <a:chOff x="682625" y="1485900"/>
            <a:chExt cx="3721100" cy="3689318"/>
          </a:xfrm>
        </p:grpSpPr>
        <p:sp>
          <p:nvSpPr>
            <p:cNvPr id="38" name="矩形 58"/>
            <p:cNvSpPr>
              <a:spLocks noChangeArrowheads="1"/>
            </p:cNvSpPr>
            <p:nvPr/>
          </p:nvSpPr>
          <p:spPr bwMode="auto">
            <a:xfrm>
              <a:off x="682625" y="1485900"/>
              <a:ext cx="3721100" cy="831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dirty="0">
                  <a:solidFill>
                    <a:schemeClr val="bg1">
                      <a:lumMod val="50000"/>
                    </a:schemeClr>
                  </a:solidFill>
                  <a:latin typeface="+mn-ea"/>
                  <a:ea typeface="+mn-ea"/>
                  <a:cs typeface="+mn-ea"/>
                </a:rPr>
                <a:t>单击此处添加段落文本单击此处添加段落文本单击此处添加段落文本单击</a:t>
              </a:r>
              <a:endParaRPr lang="zh-CN" altLang="en-US" sz="1600" dirty="0">
                <a:solidFill>
                  <a:schemeClr val="bg1">
                    <a:lumMod val="50000"/>
                  </a:schemeClr>
                </a:solidFill>
                <a:latin typeface="+mn-ea"/>
                <a:ea typeface="+mn-ea"/>
                <a:cs typeface="+mn-ea"/>
              </a:endParaRPr>
            </a:p>
          </p:txBody>
        </p:sp>
        <p:sp>
          <p:nvSpPr>
            <p:cNvPr id="39" name="矩形 58"/>
            <p:cNvSpPr>
              <a:spLocks noChangeArrowheads="1"/>
            </p:cNvSpPr>
            <p:nvPr/>
          </p:nvSpPr>
          <p:spPr bwMode="auto">
            <a:xfrm>
              <a:off x="682625" y="2930463"/>
              <a:ext cx="3721100" cy="831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dirty="0">
                  <a:solidFill>
                    <a:schemeClr val="bg1">
                      <a:lumMod val="50000"/>
                    </a:schemeClr>
                  </a:solidFill>
                  <a:latin typeface="+mn-ea"/>
                  <a:ea typeface="+mn-ea"/>
                  <a:cs typeface="+mn-ea"/>
                </a:rPr>
                <a:t>单击此处添加段落文本单击此处添加段落文本单击此处添加段落文本单击</a:t>
              </a:r>
              <a:endParaRPr lang="zh-CN" altLang="en-US" sz="1600" dirty="0">
                <a:solidFill>
                  <a:schemeClr val="bg1">
                    <a:lumMod val="50000"/>
                  </a:schemeClr>
                </a:solidFill>
                <a:latin typeface="+mn-ea"/>
                <a:ea typeface="+mn-ea"/>
                <a:cs typeface="+mn-ea"/>
              </a:endParaRPr>
            </a:p>
          </p:txBody>
        </p:sp>
        <p:sp>
          <p:nvSpPr>
            <p:cNvPr id="40" name="矩形 58"/>
            <p:cNvSpPr>
              <a:spLocks noChangeArrowheads="1"/>
            </p:cNvSpPr>
            <p:nvPr/>
          </p:nvSpPr>
          <p:spPr bwMode="auto">
            <a:xfrm>
              <a:off x="682625" y="4343987"/>
              <a:ext cx="3721100" cy="831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dirty="0">
                  <a:solidFill>
                    <a:schemeClr val="bg1">
                      <a:lumMod val="50000"/>
                    </a:schemeClr>
                  </a:solidFill>
                  <a:latin typeface="+mn-ea"/>
                  <a:ea typeface="+mn-ea"/>
                  <a:cs typeface="+mn-ea"/>
                </a:rPr>
                <a:t>单击此处添加段落文本单击此处添加段落文本单击此处添加段落文本单击</a:t>
              </a:r>
              <a:endParaRPr lang="zh-CN" altLang="en-US" sz="1600" dirty="0">
                <a:solidFill>
                  <a:schemeClr val="bg1">
                    <a:lumMod val="50000"/>
                  </a:schemeClr>
                </a:solidFill>
                <a:latin typeface="+mn-ea"/>
                <a:ea typeface="+mn-ea"/>
                <a:cs typeface="+mn-ea"/>
              </a:endParaRPr>
            </a:p>
          </p:txBody>
        </p:sp>
      </p:grpSp>
      <p:sp>
        <p:nvSpPr>
          <p:cNvPr id="22"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8" name="文本框 27"/>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randombar(horizontal)">
                                      <p:cBhvr>
                                        <p:cTn id="7" dur="1000"/>
                                        <p:tgtEl>
                                          <p:spTgt spid="29"/>
                                        </p:tgtEl>
                                      </p:cBhvr>
                                    </p:animEffect>
                                  </p:childTnLst>
                                </p:cTn>
                              </p:par>
                            </p:childTnLst>
                          </p:cTn>
                        </p:par>
                        <p:par>
                          <p:cTn id="8" fill="hold">
                            <p:stCondLst>
                              <p:cond delay="1000"/>
                            </p:stCondLst>
                            <p:childTnLst>
                              <p:par>
                                <p:cTn id="9" presetID="42"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anim calcmode="lin" valueType="num">
                                      <p:cBhvr>
                                        <p:cTn id="12" dur="1000" fill="hold"/>
                                        <p:tgtEl>
                                          <p:spTgt spid="17"/>
                                        </p:tgtEl>
                                        <p:attrNameLst>
                                          <p:attrName>ppt_x</p:attrName>
                                        </p:attrNameLst>
                                      </p:cBhvr>
                                      <p:tavLst>
                                        <p:tav tm="0">
                                          <p:val>
                                            <p:strVal val="#ppt_x"/>
                                          </p:val>
                                        </p:tav>
                                        <p:tav tm="100000">
                                          <p:val>
                                            <p:strVal val="#ppt_x"/>
                                          </p:val>
                                        </p:tav>
                                      </p:tavLst>
                                    </p:anim>
                                    <p:anim calcmode="lin" valueType="num">
                                      <p:cBhvr>
                                        <p:cTn id="13" dur="1000" fill="hold"/>
                                        <p:tgtEl>
                                          <p:spTgt spid="17"/>
                                        </p:tgtEl>
                                        <p:attrNameLst>
                                          <p:attrName>ppt_y</p:attrName>
                                        </p:attrNameLst>
                                      </p:cBhvr>
                                      <p:tavLst>
                                        <p:tav tm="0">
                                          <p:val>
                                            <p:strVal val="#ppt_y+.1"/>
                                          </p:val>
                                        </p:tav>
                                        <p:tav tm="100000">
                                          <p:val>
                                            <p:strVal val="#ppt_y"/>
                                          </p:val>
                                        </p:tav>
                                      </p:tavLst>
                                    </p:anim>
                                  </p:childTnLst>
                                </p:cTn>
                              </p:par>
                            </p:childTnLst>
                          </p:cTn>
                        </p:par>
                        <p:par>
                          <p:cTn id="14" fill="hold">
                            <p:stCondLst>
                              <p:cond delay="2000"/>
                            </p:stCondLst>
                            <p:childTnLst>
                              <p:par>
                                <p:cTn id="15" presetID="42" presetClass="entr" presetSubtype="0" fill="hold" nodeType="after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1000"/>
                                        <p:tgtEl>
                                          <p:spTgt spid="20"/>
                                        </p:tgtEl>
                                      </p:cBhvr>
                                    </p:animEffect>
                                    <p:anim calcmode="lin" valueType="num">
                                      <p:cBhvr>
                                        <p:cTn id="18" dur="1000" fill="hold"/>
                                        <p:tgtEl>
                                          <p:spTgt spid="20"/>
                                        </p:tgtEl>
                                        <p:attrNameLst>
                                          <p:attrName>ppt_x</p:attrName>
                                        </p:attrNameLst>
                                      </p:cBhvr>
                                      <p:tavLst>
                                        <p:tav tm="0">
                                          <p:val>
                                            <p:strVal val="#ppt_x"/>
                                          </p:val>
                                        </p:tav>
                                        <p:tav tm="100000">
                                          <p:val>
                                            <p:strVal val="#ppt_x"/>
                                          </p:val>
                                        </p:tav>
                                      </p:tavLst>
                                    </p:anim>
                                    <p:anim calcmode="lin" valueType="num">
                                      <p:cBhvr>
                                        <p:cTn id="19" dur="1000" fill="hold"/>
                                        <p:tgtEl>
                                          <p:spTgt spid="20"/>
                                        </p:tgtEl>
                                        <p:attrNameLst>
                                          <p:attrName>ppt_y</p:attrName>
                                        </p:attrNameLst>
                                      </p:cBhvr>
                                      <p:tavLst>
                                        <p:tav tm="0">
                                          <p:val>
                                            <p:strVal val="#ppt_y+.1"/>
                                          </p:val>
                                        </p:tav>
                                        <p:tav tm="100000">
                                          <p:val>
                                            <p:strVal val="#ppt_y"/>
                                          </p:val>
                                        </p:tav>
                                      </p:tavLst>
                                    </p:anim>
                                  </p:childTnLst>
                                </p:cTn>
                              </p:par>
                            </p:childTnLst>
                          </p:cTn>
                        </p:par>
                        <p:par>
                          <p:cTn id="20" fill="hold">
                            <p:stCondLst>
                              <p:cond delay="3000"/>
                            </p:stCondLst>
                            <p:childTnLst>
                              <p:par>
                                <p:cTn id="21" presetID="42"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anim calcmode="lin" valueType="num">
                                      <p:cBhvr>
                                        <p:cTn id="24" dur="1000" fill="hold"/>
                                        <p:tgtEl>
                                          <p:spTgt spid="24"/>
                                        </p:tgtEl>
                                        <p:attrNameLst>
                                          <p:attrName>ppt_x</p:attrName>
                                        </p:attrNameLst>
                                      </p:cBhvr>
                                      <p:tavLst>
                                        <p:tav tm="0">
                                          <p:val>
                                            <p:strVal val="#ppt_x"/>
                                          </p:val>
                                        </p:tav>
                                        <p:tav tm="100000">
                                          <p:val>
                                            <p:strVal val="#ppt_x"/>
                                          </p:val>
                                        </p:tav>
                                      </p:tavLst>
                                    </p:anim>
                                    <p:anim calcmode="lin" valueType="num">
                                      <p:cBhvr>
                                        <p:cTn id="25" dur="1000" fill="hold"/>
                                        <p:tgtEl>
                                          <p:spTgt spid="24"/>
                                        </p:tgtEl>
                                        <p:attrNameLst>
                                          <p:attrName>ppt_y</p:attrName>
                                        </p:attrNameLst>
                                      </p:cBhvr>
                                      <p:tavLst>
                                        <p:tav tm="0">
                                          <p:val>
                                            <p:strVal val="#ppt_y+.1"/>
                                          </p:val>
                                        </p:tav>
                                        <p:tav tm="100000">
                                          <p:val>
                                            <p:strVal val="#ppt_y"/>
                                          </p:val>
                                        </p:tav>
                                      </p:tavLst>
                                    </p:anim>
                                  </p:childTnLst>
                                </p:cTn>
                              </p:par>
                            </p:childTnLst>
                          </p:cTn>
                        </p:par>
                        <p:par>
                          <p:cTn id="26" fill="hold">
                            <p:stCondLst>
                              <p:cond delay="4000"/>
                            </p:stCondLst>
                            <p:childTnLst>
                              <p:par>
                                <p:cTn id="27" presetID="22" presetClass="entr" presetSubtype="4" fill="hold" grpId="0" nodeType="after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wipe(down)">
                                      <p:cBhvr>
                                        <p:cTn id="29" dur="125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组合 59"/>
          <p:cNvGrpSpPr/>
          <p:nvPr/>
        </p:nvGrpSpPr>
        <p:grpSpPr bwMode="auto">
          <a:xfrm>
            <a:off x="2728384" y="1803962"/>
            <a:ext cx="3962400" cy="3816351"/>
            <a:chOff x="2728913" y="1465263"/>
            <a:chExt cx="3960812" cy="3816350"/>
          </a:xfrm>
        </p:grpSpPr>
        <p:sp>
          <p:nvSpPr>
            <p:cNvPr id="61" name="等腰三角形 60"/>
            <p:cNvSpPr/>
            <p:nvPr/>
          </p:nvSpPr>
          <p:spPr>
            <a:xfrm>
              <a:off x="4296734" y="1465263"/>
              <a:ext cx="825169" cy="721784"/>
            </a:xfrm>
            <a:prstGeom prst="triangl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62" name="梯形 61"/>
            <p:cNvSpPr/>
            <p:nvPr/>
          </p:nvSpPr>
          <p:spPr>
            <a:xfrm>
              <a:off x="3774127" y="2498196"/>
              <a:ext cx="1870383" cy="719667"/>
            </a:xfrm>
            <a:prstGeom prst="trapezoid">
              <a:avLst>
                <a:gd name="adj" fmla="val 54308"/>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63" name="梯形 62"/>
            <p:cNvSpPr/>
            <p:nvPr/>
          </p:nvSpPr>
          <p:spPr>
            <a:xfrm>
              <a:off x="3251519" y="3531129"/>
              <a:ext cx="2915598" cy="719667"/>
            </a:xfrm>
            <a:prstGeom prst="trapezoid">
              <a:avLst>
                <a:gd name="adj" fmla="val 54308"/>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64" name="梯形 63"/>
            <p:cNvSpPr/>
            <p:nvPr/>
          </p:nvSpPr>
          <p:spPr>
            <a:xfrm>
              <a:off x="2728913" y="4561946"/>
              <a:ext cx="3960812" cy="719667"/>
            </a:xfrm>
            <a:prstGeom prst="trapezoid">
              <a:avLst>
                <a:gd name="adj" fmla="val 54308"/>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grpSp>
      <p:grpSp>
        <p:nvGrpSpPr>
          <p:cNvPr id="65" name="组合 64"/>
          <p:cNvGrpSpPr/>
          <p:nvPr/>
        </p:nvGrpSpPr>
        <p:grpSpPr bwMode="auto">
          <a:xfrm>
            <a:off x="5503334" y="2155328"/>
            <a:ext cx="4959351" cy="3451236"/>
            <a:chOff x="5502275" y="1816100"/>
            <a:chExt cx="4960940" cy="3451499"/>
          </a:xfrm>
        </p:grpSpPr>
        <p:cxnSp>
          <p:nvCxnSpPr>
            <p:cNvPr id="66" name="直接连接符 65"/>
            <p:cNvCxnSpPr/>
            <p:nvPr/>
          </p:nvCxnSpPr>
          <p:spPr>
            <a:xfrm>
              <a:off x="5502275" y="2186546"/>
              <a:ext cx="3599486" cy="0"/>
            </a:xfrm>
            <a:prstGeom prst="line">
              <a:avLst/>
            </a:prstGeom>
            <a:ln w="12700">
              <a:solidFill>
                <a:srgbClr val="254061"/>
              </a:solidFill>
              <a:prstDash val="sysDash"/>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7" name="文本框 21"/>
            <p:cNvSpPr txBox="1">
              <a:spLocks noChangeArrowheads="1"/>
            </p:cNvSpPr>
            <p:nvPr/>
          </p:nvSpPr>
          <p:spPr bwMode="auto">
            <a:xfrm>
              <a:off x="7301707" y="1816100"/>
              <a:ext cx="1851819"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endParaRPr lang="zh-CN" altLang="en-US" sz="1865">
                <a:solidFill>
                  <a:srgbClr val="969696"/>
                </a:solidFill>
                <a:latin typeface="Impact" panose="020B0806030902050204" pitchFamily="34" charset="0"/>
                <a:ea typeface="+mn-ea"/>
                <a:cs typeface="+mn-ea"/>
              </a:endParaRPr>
            </a:p>
          </p:txBody>
        </p:sp>
        <p:cxnSp>
          <p:nvCxnSpPr>
            <p:cNvPr id="68" name="直接连接符 67"/>
            <p:cNvCxnSpPr/>
            <p:nvPr/>
          </p:nvCxnSpPr>
          <p:spPr>
            <a:xfrm>
              <a:off x="5934213" y="3217440"/>
              <a:ext cx="3599486" cy="0"/>
            </a:xfrm>
            <a:prstGeom prst="line">
              <a:avLst/>
            </a:prstGeom>
            <a:ln w="12700">
              <a:solidFill>
                <a:srgbClr val="254061"/>
              </a:solidFill>
              <a:prstDash val="sysDash"/>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9" name="文本框 27"/>
            <p:cNvSpPr txBox="1">
              <a:spLocks noChangeArrowheads="1"/>
            </p:cNvSpPr>
            <p:nvPr/>
          </p:nvSpPr>
          <p:spPr bwMode="auto">
            <a:xfrm>
              <a:off x="7874000" y="2843213"/>
              <a:ext cx="1717676"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endParaRPr lang="zh-CN" altLang="en-US" sz="1865">
                <a:solidFill>
                  <a:srgbClr val="969696"/>
                </a:solidFill>
                <a:latin typeface="Impact" panose="020B0806030902050204" pitchFamily="34" charset="0"/>
                <a:ea typeface="+mn-ea"/>
                <a:cs typeface="+mn-ea"/>
              </a:endParaRPr>
            </a:p>
          </p:txBody>
        </p:sp>
        <p:cxnSp>
          <p:nvCxnSpPr>
            <p:cNvPr id="70" name="直接连接符 69"/>
            <p:cNvCxnSpPr/>
            <p:nvPr/>
          </p:nvCxnSpPr>
          <p:spPr>
            <a:xfrm>
              <a:off x="6366152" y="4231402"/>
              <a:ext cx="3599486" cy="0"/>
            </a:xfrm>
            <a:prstGeom prst="line">
              <a:avLst/>
            </a:prstGeom>
            <a:ln w="12700">
              <a:solidFill>
                <a:srgbClr val="254061"/>
              </a:solidFill>
              <a:prstDash val="sysDash"/>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1" name="文本框 29"/>
            <p:cNvSpPr txBox="1">
              <a:spLocks noChangeArrowheads="1"/>
            </p:cNvSpPr>
            <p:nvPr/>
          </p:nvSpPr>
          <p:spPr bwMode="auto">
            <a:xfrm>
              <a:off x="8227617" y="3875089"/>
              <a:ext cx="1814908"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endParaRPr lang="zh-CN" altLang="en-US" sz="1865">
                <a:solidFill>
                  <a:srgbClr val="969696"/>
                </a:solidFill>
                <a:latin typeface="Impact" panose="020B0806030902050204" pitchFamily="34" charset="0"/>
                <a:ea typeface="+mn-ea"/>
                <a:cs typeface="+mn-ea"/>
              </a:endParaRPr>
            </a:p>
          </p:txBody>
        </p:sp>
        <p:cxnSp>
          <p:nvCxnSpPr>
            <p:cNvPr id="72" name="直接连接符 71"/>
            <p:cNvCxnSpPr/>
            <p:nvPr/>
          </p:nvCxnSpPr>
          <p:spPr>
            <a:xfrm>
              <a:off x="6817147" y="5264414"/>
              <a:ext cx="3599486" cy="0"/>
            </a:xfrm>
            <a:prstGeom prst="line">
              <a:avLst/>
            </a:prstGeom>
            <a:ln w="12700">
              <a:solidFill>
                <a:srgbClr val="254061"/>
              </a:solidFill>
              <a:prstDash val="sysDash"/>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文本框 31"/>
            <p:cNvSpPr txBox="1">
              <a:spLocks noChangeArrowheads="1"/>
            </p:cNvSpPr>
            <p:nvPr/>
          </p:nvSpPr>
          <p:spPr bwMode="auto">
            <a:xfrm>
              <a:off x="8732839" y="4887914"/>
              <a:ext cx="1730376"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endParaRPr lang="zh-CN" altLang="en-US" sz="1865">
                <a:solidFill>
                  <a:srgbClr val="969696"/>
                </a:solidFill>
                <a:latin typeface="Impact" panose="020B0806030902050204" pitchFamily="34" charset="0"/>
                <a:ea typeface="+mn-ea"/>
                <a:cs typeface="+mn-ea"/>
              </a:endParaRPr>
            </a:p>
          </p:txBody>
        </p:sp>
      </p:grpSp>
      <p:grpSp>
        <p:nvGrpSpPr>
          <p:cNvPr id="74" name="组合 73"/>
          <p:cNvGrpSpPr/>
          <p:nvPr/>
        </p:nvGrpSpPr>
        <p:grpSpPr bwMode="auto">
          <a:xfrm>
            <a:off x="1540934" y="1789146"/>
            <a:ext cx="3020484" cy="3489333"/>
            <a:chOff x="1541465" y="1449388"/>
            <a:chExt cx="3019425" cy="3489596"/>
          </a:xfrm>
        </p:grpSpPr>
        <p:sp>
          <p:nvSpPr>
            <p:cNvPr id="75" name="文本框 32"/>
            <p:cNvSpPr txBox="1">
              <a:spLocks noChangeArrowheads="1"/>
            </p:cNvSpPr>
            <p:nvPr/>
          </p:nvSpPr>
          <p:spPr bwMode="auto">
            <a:xfrm>
              <a:off x="3251203" y="1449388"/>
              <a:ext cx="1309687"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a:t>
              </a:r>
              <a:endParaRPr lang="zh-CN" altLang="en-US" sz="1865">
                <a:solidFill>
                  <a:srgbClr val="969696"/>
                </a:solidFill>
                <a:latin typeface="Impact" panose="020B0806030902050204" pitchFamily="34" charset="0"/>
                <a:ea typeface="+mn-ea"/>
                <a:cs typeface="+mn-ea"/>
              </a:endParaRPr>
            </a:p>
          </p:txBody>
        </p:sp>
        <p:sp>
          <p:nvSpPr>
            <p:cNvPr id="76" name="文本框 33"/>
            <p:cNvSpPr txBox="1">
              <a:spLocks noChangeArrowheads="1"/>
            </p:cNvSpPr>
            <p:nvPr/>
          </p:nvSpPr>
          <p:spPr bwMode="auto">
            <a:xfrm>
              <a:off x="2578103" y="2505075"/>
              <a:ext cx="1385885"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a:t>
              </a:r>
              <a:endParaRPr lang="zh-CN" altLang="en-US" sz="1865">
                <a:solidFill>
                  <a:srgbClr val="969696"/>
                </a:solidFill>
                <a:latin typeface="Impact" panose="020B0806030902050204" pitchFamily="34" charset="0"/>
                <a:ea typeface="+mn-ea"/>
                <a:cs typeface="+mn-ea"/>
              </a:endParaRPr>
            </a:p>
          </p:txBody>
        </p:sp>
        <p:sp>
          <p:nvSpPr>
            <p:cNvPr id="77" name="文本框 34"/>
            <p:cNvSpPr txBox="1">
              <a:spLocks noChangeArrowheads="1"/>
            </p:cNvSpPr>
            <p:nvPr/>
          </p:nvSpPr>
          <p:spPr bwMode="auto">
            <a:xfrm>
              <a:off x="2059783" y="3532187"/>
              <a:ext cx="1354929"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a:t>
              </a:r>
              <a:endParaRPr lang="zh-CN" altLang="en-US" sz="1865">
                <a:solidFill>
                  <a:srgbClr val="969696"/>
                </a:solidFill>
                <a:latin typeface="Impact" panose="020B0806030902050204" pitchFamily="34" charset="0"/>
                <a:ea typeface="+mn-ea"/>
                <a:cs typeface="+mn-ea"/>
              </a:endParaRPr>
            </a:p>
          </p:txBody>
        </p:sp>
        <p:sp>
          <p:nvSpPr>
            <p:cNvPr id="78" name="文本框 35"/>
            <p:cNvSpPr txBox="1">
              <a:spLocks noChangeArrowheads="1"/>
            </p:cNvSpPr>
            <p:nvPr/>
          </p:nvSpPr>
          <p:spPr bwMode="auto">
            <a:xfrm>
              <a:off x="1541465" y="4559299"/>
              <a:ext cx="1211259"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a:t>
              </a:r>
              <a:endParaRPr lang="zh-CN" altLang="en-US" sz="1865">
                <a:solidFill>
                  <a:srgbClr val="969696"/>
                </a:solidFill>
                <a:latin typeface="Impact" panose="020B0806030902050204" pitchFamily="34" charset="0"/>
                <a:ea typeface="+mn-ea"/>
                <a:cs typeface="+mn-ea"/>
              </a:endParaRPr>
            </a:p>
          </p:txBody>
        </p:sp>
      </p:grpSp>
      <p:sp>
        <p:nvSpPr>
          <p:cNvPr id="24"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5" name="文本框 24"/>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1000"/>
                                        <p:tgtEl>
                                          <p:spTgt spid="60"/>
                                        </p:tgtEl>
                                      </p:cBhvr>
                                    </p:animEffect>
                                    <p:anim calcmode="lin" valueType="num">
                                      <p:cBhvr>
                                        <p:cTn id="8" dur="1000" fill="hold"/>
                                        <p:tgtEl>
                                          <p:spTgt spid="60"/>
                                        </p:tgtEl>
                                        <p:attrNameLst>
                                          <p:attrName>ppt_x</p:attrName>
                                        </p:attrNameLst>
                                      </p:cBhvr>
                                      <p:tavLst>
                                        <p:tav tm="0">
                                          <p:val>
                                            <p:strVal val="#ppt_x"/>
                                          </p:val>
                                        </p:tav>
                                        <p:tav tm="100000">
                                          <p:val>
                                            <p:strVal val="#ppt_x"/>
                                          </p:val>
                                        </p:tav>
                                      </p:tavLst>
                                    </p:anim>
                                    <p:anim calcmode="lin" valueType="num">
                                      <p:cBhvr>
                                        <p:cTn id="9" dur="1000" fill="hold"/>
                                        <p:tgtEl>
                                          <p:spTgt spid="60"/>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 presetClass="entr" presetSubtype="2" fill="hold" nodeType="afterEffect">
                                  <p:stCondLst>
                                    <p:cond delay="0"/>
                                  </p:stCondLst>
                                  <p:childTnLst>
                                    <p:set>
                                      <p:cBhvr>
                                        <p:cTn id="12" dur="1" fill="hold">
                                          <p:stCondLst>
                                            <p:cond delay="0"/>
                                          </p:stCondLst>
                                        </p:cTn>
                                        <p:tgtEl>
                                          <p:spTgt spid="65"/>
                                        </p:tgtEl>
                                        <p:attrNameLst>
                                          <p:attrName>style.visibility</p:attrName>
                                        </p:attrNameLst>
                                      </p:cBhvr>
                                      <p:to>
                                        <p:strVal val="visible"/>
                                      </p:to>
                                    </p:set>
                                    <p:anim calcmode="lin" valueType="num">
                                      <p:cBhvr additive="base">
                                        <p:cTn id="13" dur="500" fill="hold"/>
                                        <p:tgtEl>
                                          <p:spTgt spid="65"/>
                                        </p:tgtEl>
                                        <p:attrNameLst>
                                          <p:attrName>ppt_x</p:attrName>
                                        </p:attrNameLst>
                                      </p:cBhvr>
                                      <p:tavLst>
                                        <p:tav tm="0">
                                          <p:val>
                                            <p:strVal val="1+#ppt_w/2"/>
                                          </p:val>
                                        </p:tav>
                                        <p:tav tm="100000">
                                          <p:val>
                                            <p:strVal val="#ppt_x"/>
                                          </p:val>
                                        </p:tav>
                                      </p:tavLst>
                                    </p:anim>
                                    <p:anim calcmode="lin" valueType="num">
                                      <p:cBhvr additive="base">
                                        <p:cTn id="14" dur="500" fill="hold"/>
                                        <p:tgtEl>
                                          <p:spTgt spid="65"/>
                                        </p:tgtEl>
                                        <p:attrNameLst>
                                          <p:attrName>ppt_y</p:attrName>
                                        </p:attrNameLst>
                                      </p:cBhvr>
                                      <p:tavLst>
                                        <p:tav tm="0">
                                          <p:val>
                                            <p:strVal val="#ppt_y"/>
                                          </p:val>
                                        </p:tav>
                                        <p:tav tm="100000">
                                          <p:val>
                                            <p:strVal val="#ppt_y"/>
                                          </p:val>
                                        </p:tav>
                                      </p:tavLst>
                                    </p:anim>
                                  </p:childTnLst>
                                </p:cTn>
                              </p:par>
                            </p:childTnLst>
                          </p:cTn>
                        </p:par>
                        <p:par>
                          <p:cTn id="15" fill="hold">
                            <p:stCondLst>
                              <p:cond delay="1500"/>
                            </p:stCondLst>
                            <p:childTnLst>
                              <p:par>
                                <p:cTn id="16" presetID="42" presetClass="entr" presetSubtype="0" fill="hold" nodeType="afterEffect">
                                  <p:stCondLst>
                                    <p:cond delay="0"/>
                                  </p:stCondLst>
                                  <p:childTnLst>
                                    <p:set>
                                      <p:cBhvr>
                                        <p:cTn id="17" dur="1" fill="hold">
                                          <p:stCondLst>
                                            <p:cond delay="0"/>
                                          </p:stCondLst>
                                        </p:cTn>
                                        <p:tgtEl>
                                          <p:spTgt spid="74"/>
                                        </p:tgtEl>
                                        <p:attrNameLst>
                                          <p:attrName>style.visibility</p:attrName>
                                        </p:attrNameLst>
                                      </p:cBhvr>
                                      <p:to>
                                        <p:strVal val="visible"/>
                                      </p:to>
                                    </p:set>
                                    <p:animEffect transition="in" filter="fade">
                                      <p:cBhvr>
                                        <p:cTn id="18" dur="1000"/>
                                        <p:tgtEl>
                                          <p:spTgt spid="74"/>
                                        </p:tgtEl>
                                      </p:cBhvr>
                                    </p:animEffect>
                                    <p:anim calcmode="lin" valueType="num">
                                      <p:cBhvr>
                                        <p:cTn id="19" dur="1000" fill="hold"/>
                                        <p:tgtEl>
                                          <p:spTgt spid="74"/>
                                        </p:tgtEl>
                                        <p:attrNameLst>
                                          <p:attrName>ppt_x</p:attrName>
                                        </p:attrNameLst>
                                      </p:cBhvr>
                                      <p:tavLst>
                                        <p:tav tm="0">
                                          <p:val>
                                            <p:strVal val="#ppt_x"/>
                                          </p:val>
                                        </p:tav>
                                        <p:tav tm="100000">
                                          <p:val>
                                            <p:strVal val="#ppt_x"/>
                                          </p:val>
                                        </p:tav>
                                      </p:tavLst>
                                    </p:anim>
                                    <p:anim calcmode="lin" valueType="num">
                                      <p:cBhvr>
                                        <p:cTn id="20" dur="1000" fill="hold"/>
                                        <p:tgtEl>
                                          <p:spTgt spid="74"/>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9" presetClass="entr" presetSubtype="10" repeatCount="6000" fill="hold" nodeType="clickEffect">
                                  <p:stCondLst>
                                    <p:cond delay="0"/>
                                  </p:stCondLst>
                                  <p:childTnLst>
                                    <p:set>
                                      <p:cBhvr>
                                        <p:cTn id="24" dur="1" fill="hold">
                                          <p:stCondLst>
                                            <p:cond delay="0"/>
                                          </p:stCondLst>
                                        </p:cTn>
                                        <p:tgtEl>
                                          <p:spTgt spid="60"/>
                                        </p:tgtEl>
                                        <p:attrNameLst>
                                          <p:attrName>style.visibility</p:attrName>
                                        </p:attrNameLst>
                                      </p:cBhvr>
                                      <p:to>
                                        <p:strVal val="visible"/>
                                      </p:to>
                                    </p:set>
                                    <p:anim calcmode="lin" valueType="num">
                                      <p:cBhvr>
                                        <p:cTn id="25" dur="10" fill="hold"/>
                                        <p:tgtEl>
                                          <p:spTgt spid="60"/>
                                        </p:tgtEl>
                                        <p:attrNameLst>
                                          <p:attrName>ppt_w</p:attrName>
                                        </p:attrNameLst>
                                      </p:cBhvr>
                                      <p:tavLst>
                                        <p:tav tm="0" fmla="#ppt_w*sin(2.5*pi*$)">
                                          <p:val>
                                            <p:fltVal val="0"/>
                                          </p:val>
                                        </p:tav>
                                        <p:tav tm="100000">
                                          <p:val>
                                            <p:fltVal val="1"/>
                                          </p:val>
                                        </p:tav>
                                      </p:tavLst>
                                    </p:anim>
                                    <p:anim calcmode="lin" valueType="num">
                                      <p:cBhvr>
                                        <p:cTn id="26" dur="10" fill="hold"/>
                                        <p:tgtEl>
                                          <p:spTgt spid="60"/>
                                        </p:tgtEl>
                                        <p:attrNameLst>
                                          <p:attrName>ppt_h</p:attrName>
                                        </p:attrNameLst>
                                      </p:cBhvr>
                                      <p:tavLst>
                                        <p:tav tm="0">
                                          <p:val>
                                            <p:strVal val="#ppt_h"/>
                                          </p:val>
                                        </p:tav>
                                        <p:tav tm="100000">
                                          <p:val>
                                            <p:strVal val="#ppt_h"/>
                                          </p:val>
                                        </p:tav>
                                      </p:tavLst>
                                    </p:anim>
                                  </p:childTnLst>
                                </p:cTn>
                              </p:par>
                              <p:par>
                                <p:cTn id="27" presetID="21" presetClass="entr" presetSubtype="1" fill="hold" nodeType="withEffect">
                                  <p:stCondLst>
                                    <p:cond delay="10"/>
                                  </p:stCondLst>
                                  <p:childTnLst>
                                    <p:set>
                                      <p:cBhvr>
                                        <p:cTn id="28" dur="1" fill="hold">
                                          <p:stCondLst>
                                            <p:cond delay="0"/>
                                          </p:stCondLst>
                                        </p:cTn>
                                        <p:tgtEl>
                                          <p:spTgt spid="60"/>
                                        </p:tgtEl>
                                        <p:attrNameLst>
                                          <p:attrName>style.visibility</p:attrName>
                                        </p:attrNameLst>
                                      </p:cBhvr>
                                      <p:to>
                                        <p:strVal val="visible"/>
                                      </p:to>
                                    </p:set>
                                    <p:animEffect transition="in" filter="wheel(1)">
                                      <p:cBhvr>
                                        <p:cTn id="29" dur="2000"/>
                                        <p:tgtEl>
                                          <p:spTgt spid="60"/>
                                        </p:tgtEl>
                                      </p:cBhvr>
                                    </p:animEffect>
                                  </p:childTnLst>
                                </p:cTn>
                              </p:par>
                            </p:childTnLst>
                          </p:cTn>
                        </p:par>
                        <p:par>
                          <p:cTn id="30" fill="hold">
                            <p:stCondLst>
                              <p:cond delay="500"/>
                            </p:stCondLst>
                            <p:childTnLst>
                              <p:par>
                                <p:cTn id="31" presetID="22" presetClass="entr" presetSubtype="4" fill="hold" grpId="0" nodeType="after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wipe(down)">
                                      <p:cBhvr>
                                        <p:cTn id="33" dur="1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Line 201"/>
          <p:cNvSpPr>
            <a:spLocks noChangeShapeType="1"/>
          </p:cNvSpPr>
          <p:nvPr/>
        </p:nvSpPr>
        <p:spPr bwMode="auto">
          <a:xfrm flipV="1">
            <a:off x="3086530" y="1128218"/>
            <a:ext cx="6379633" cy="4034367"/>
          </a:xfrm>
          <a:prstGeom prst="line">
            <a:avLst/>
          </a:prstGeom>
          <a:noFill/>
          <a:ln w="38100">
            <a:solidFill>
              <a:srgbClr val="254061"/>
            </a:solidFill>
            <a:round/>
          </a:ln>
          <a:extLst>
            <a:ext uri="{909E8E84-426E-40DD-AFC4-6F175D3DCCD1}">
              <a14:hiddenFill xmlns:a14="http://schemas.microsoft.com/office/drawing/2010/main">
                <a:noFill/>
              </a14:hiddenFill>
            </a:ext>
          </a:extLst>
        </p:spPr>
        <p:txBody>
          <a:bodyPr wrap="none" anchor="ctr"/>
          <a:lstStyle/>
          <a:p>
            <a:endParaRPr lang="zh-CN" altLang="en-US" sz="2400">
              <a:cs typeface="+mn-ea"/>
            </a:endParaRPr>
          </a:p>
        </p:txBody>
      </p:sp>
      <p:grpSp>
        <p:nvGrpSpPr>
          <p:cNvPr id="25" name="Group 202"/>
          <p:cNvGrpSpPr/>
          <p:nvPr/>
        </p:nvGrpSpPr>
        <p:grpSpPr bwMode="auto">
          <a:xfrm>
            <a:off x="3063877" y="4999600"/>
            <a:ext cx="257609" cy="254000"/>
            <a:chOff x="1364" y="3452"/>
            <a:chExt cx="174" cy="172"/>
          </a:xfrm>
        </p:grpSpPr>
        <p:pic>
          <p:nvPicPr>
            <p:cNvPr id="26" name="Picture 203" descr="circuler_1"/>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gray">
            <a:xfrm>
              <a:off x="1364" y="3452"/>
              <a:ext cx="174"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Oval 204"/>
            <p:cNvSpPr>
              <a:spLocks noChangeArrowheads="1"/>
            </p:cNvSpPr>
            <p:nvPr/>
          </p:nvSpPr>
          <p:spPr bwMode="gray">
            <a:xfrm>
              <a:off x="1364" y="3452"/>
              <a:ext cx="173" cy="172"/>
            </a:xfrm>
            <a:prstGeom prst="ellipse">
              <a:avLst/>
            </a:prstGeom>
            <a:solidFill>
              <a:srgbClr val="25406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defRPr/>
              </a:pPr>
              <a:endParaRPr lang="zh-CN" altLang="en-US" sz="2400">
                <a:latin typeface="Arial" panose="020B0604020202020204" pitchFamily="34" charset="0"/>
                <a:cs typeface="+mn-ea"/>
              </a:endParaRPr>
            </a:p>
          </p:txBody>
        </p:sp>
        <p:grpSp>
          <p:nvGrpSpPr>
            <p:cNvPr id="28" name="Group 205"/>
            <p:cNvGrpSpPr/>
            <p:nvPr/>
          </p:nvGrpSpPr>
          <p:grpSpPr bwMode="auto">
            <a:xfrm rot="-1297425" flipH="1" flipV="1">
              <a:off x="1380" y="3581"/>
              <a:ext cx="150" cy="36"/>
              <a:chOff x="2528" y="1060"/>
              <a:chExt cx="894" cy="236"/>
            </a:xfrm>
          </p:grpSpPr>
          <p:grpSp>
            <p:nvGrpSpPr>
              <p:cNvPr id="29" name="Group 206"/>
              <p:cNvGrpSpPr/>
              <p:nvPr/>
            </p:nvGrpSpPr>
            <p:grpSpPr bwMode="auto">
              <a:xfrm>
                <a:off x="2528" y="1060"/>
                <a:ext cx="742" cy="186"/>
                <a:chOff x="1565" y="2568"/>
                <a:chExt cx="1118" cy="279"/>
              </a:xfrm>
            </p:grpSpPr>
            <p:sp>
              <p:nvSpPr>
                <p:cNvPr id="38" name="AutoShape 207"/>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39" name="AutoShape 208"/>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40" name="AutoShape 209"/>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41" name="AutoShape 210"/>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grpSp>
          <p:grpSp>
            <p:nvGrpSpPr>
              <p:cNvPr id="30" name="Group 211"/>
              <p:cNvGrpSpPr/>
              <p:nvPr/>
            </p:nvGrpSpPr>
            <p:grpSpPr bwMode="auto">
              <a:xfrm rot="1353540">
                <a:off x="2680" y="1110"/>
                <a:ext cx="742" cy="186"/>
                <a:chOff x="1565" y="2568"/>
                <a:chExt cx="1118" cy="279"/>
              </a:xfrm>
            </p:grpSpPr>
            <p:sp>
              <p:nvSpPr>
                <p:cNvPr id="34" name="AutoShape 212"/>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35" name="AutoShape 213"/>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36" name="AutoShape 214"/>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37" name="AutoShape 215"/>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grpSp>
        </p:grpSp>
      </p:grpSp>
      <p:grpSp>
        <p:nvGrpSpPr>
          <p:cNvPr id="42" name="Group 217"/>
          <p:cNvGrpSpPr/>
          <p:nvPr/>
        </p:nvGrpSpPr>
        <p:grpSpPr bwMode="auto">
          <a:xfrm>
            <a:off x="5307544" y="3539100"/>
            <a:ext cx="257609" cy="254000"/>
            <a:chOff x="1364" y="3452"/>
            <a:chExt cx="174" cy="172"/>
          </a:xfrm>
        </p:grpSpPr>
        <p:pic>
          <p:nvPicPr>
            <p:cNvPr id="43" name="Picture 218" descr="circuler_1"/>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gray">
            <a:xfrm>
              <a:off x="1364" y="3452"/>
              <a:ext cx="174"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Oval 219"/>
            <p:cNvSpPr>
              <a:spLocks noChangeArrowheads="1"/>
            </p:cNvSpPr>
            <p:nvPr/>
          </p:nvSpPr>
          <p:spPr bwMode="gray">
            <a:xfrm>
              <a:off x="1364" y="3452"/>
              <a:ext cx="173" cy="172"/>
            </a:xfrm>
            <a:prstGeom prst="ellipse">
              <a:avLst/>
            </a:prstGeom>
            <a:solidFill>
              <a:srgbClr val="E46C0A"/>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defRPr/>
              </a:pPr>
              <a:endParaRPr lang="zh-CN" altLang="en-US" sz="2400">
                <a:latin typeface="Arial" panose="020B0604020202020204" pitchFamily="34" charset="0"/>
                <a:cs typeface="+mn-ea"/>
              </a:endParaRPr>
            </a:p>
          </p:txBody>
        </p:sp>
        <p:grpSp>
          <p:nvGrpSpPr>
            <p:cNvPr id="45" name="Group 220"/>
            <p:cNvGrpSpPr/>
            <p:nvPr/>
          </p:nvGrpSpPr>
          <p:grpSpPr bwMode="auto">
            <a:xfrm rot="-1297425" flipH="1" flipV="1">
              <a:off x="1380" y="3581"/>
              <a:ext cx="150" cy="36"/>
              <a:chOff x="2528" y="1060"/>
              <a:chExt cx="894" cy="236"/>
            </a:xfrm>
          </p:grpSpPr>
          <p:grpSp>
            <p:nvGrpSpPr>
              <p:cNvPr id="46" name="Group 221"/>
              <p:cNvGrpSpPr/>
              <p:nvPr/>
            </p:nvGrpSpPr>
            <p:grpSpPr bwMode="auto">
              <a:xfrm>
                <a:off x="2528" y="1060"/>
                <a:ext cx="742" cy="186"/>
                <a:chOff x="1565" y="2568"/>
                <a:chExt cx="1118" cy="279"/>
              </a:xfrm>
            </p:grpSpPr>
            <p:sp>
              <p:nvSpPr>
                <p:cNvPr id="52" name="AutoShape 222"/>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53" name="AutoShape 223"/>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54" name="AutoShape 224"/>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55" name="AutoShape 225"/>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grpSp>
          <p:grpSp>
            <p:nvGrpSpPr>
              <p:cNvPr id="47" name="Group 226"/>
              <p:cNvGrpSpPr/>
              <p:nvPr/>
            </p:nvGrpSpPr>
            <p:grpSpPr bwMode="auto">
              <a:xfrm rot="1353540">
                <a:off x="2680" y="1110"/>
                <a:ext cx="742" cy="186"/>
                <a:chOff x="1565" y="2568"/>
                <a:chExt cx="1118" cy="279"/>
              </a:xfrm>
            </p:grpSpPr>
            <p:sp>
              <p:nvSpPr>
                <p:cNvPr id="48" name="AutoShape 227"/>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49" name="AutoShape 228"/>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50" name="AutoShape 229"/>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51" name="AutoShape 230"/>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grpSp>
        </p:grpSp>
      </p:grpSp>
      <p:grpSp>
        <p:nvGrpSpPr>
          <p:cNvPr id="56" name="Group 232"/>
          <p:cNvGrpSpPr/>
          <p:nvPr/>
        </p:nvGrpSpPr>
        <p:grpSpPr bwMode="auto">
          <a:xfrm>
            <a:off x="7451726" y="2207717"/>
            <a:ext cx="257609" cy="254000"/>
            <a:chOff x="1364" y="3452"/>
            <a:chExt cx="174" cy="172"/>
          </a:xfrm>
        </p:grpSpPr>
        <p:pic>
          <p:nvPicPr>
            <p:cNvPr id="57" name="Picture 233" descr="circuler_1"/>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gray">
            <a:xfrm>
              <a:off x="1364" y="3452"/>
              <a:ext cx="174"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 name="Oval 234"/>
            <p:cNvSpPr>
              <a:spLocks noChangeArrowheads="1"/>
            </p:cNvSpPr>
            <p:nvPr/>
          </p:nvSpPr>
          <p:spPr bwMode="gray">
            <a:xfrm>
              <a:off x="1364" y="3452"/>
              <a:ext cx="173" cy="172"/>
            </a:xfrm>
            <a:prstGeom prst="ellipse">
              <a:avLst/>
            </a:prstGeom>
            <a:solidFill>
              <a:srgbClr val="25406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defRPr/>
              </a:pPr>
              <a:endParaRPr lang="zh-CN" altLang="en-US" sz="2400">
                <a:latin typeface="Arial" panose="020B0604020202020204" pitchFamily="34" charset="0"/>
                <a:cs typeface="+mn-ea"/>
              </a:endParaRPr>
            </a:p>
          </p:txBody>
        </p:sp>
        <p:grpSp>
          <p:nvGrpSpPr>
            <p:cNvPr id="59" name="Group 235"/>
            <p:cNvGrpSpPr/>
            <p:nvPr/>
          </p:nvGrpSpPr>
          <p:grpSpPr bwMode="auto">
            <a:xfrm rot="-1297425" flipH="1" flipV="1">
              <a:off x="1380" y="3581"/>
              <a:ext cx="150" cy="36"/>
              <a:chOff x="2528" y="1060"/>
              <a:chExt cx="894" cy="236"/>
            </a:xfrm>
          </p:grpSpPr>
          <p:grpSp>
            <p:nvGrpSpPr>
              <p:cNvPr id="79" name="Group 236"/>
              <p:cNvGrpSpPr/>
              <p:nvPr/>
            </p:nvGrpSpPr>
            <p:grpSpPr bwMode="auto">
              <a:xfrm>
                <a:off x="2528" y="1060"/>
                <a:ext cx="742" cy="186"/>
                <a:chOff x="1565" y="2568"/>
                <a:chExt cx="1118" cy="279"/>
              </a:xfrm>
            </p:grpSpPr>
            <p:sp>
              <p:nvSpPr>
                <p:cNvPr id="85" name="AutoShape 237"/>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86" name="AutoShape 238"/>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87" name="AutoShape 239"/>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88" name="AutoShape 240"/>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grpSp>
          <p:grpSp>
            <p:nvGrpSpPr>
              <p:cNvPr id="80" name="Group 241"/>
              <p:cNvGrpSpPr/>
              <p:nvPr/>
            </p:nvGrpSpPr>
            <p:grpSpPr bwMode="auto">
              <a:xfrm rot="1353540">
                <a:off x="2680" y="1110"/>
                <a:ext cx="742" cy="186"/>
                <a:chOff x="1565" y="2568"/>
                <a:chExt cx="1118" cy="279"/>
              </a:xfrm>
            </p:grpSpPr>
            <p:sp>
              <p:nvSpPr>
                <p:cNvPr id="81" name="AutoShape 242"/>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82" name="AutoShape 243"/>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83" name="AutoShape 244"/>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84" name="AutoShape 245"/>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grpSp>
        </p:grpSp>
      </p:grpSp>
      <p:grpSp>
        <p:nvGrpSpPr>
          <p:cNvPr id="89" name="Group 247"/>
          <p:cNvGrpSpPr/>
          <p:nvPr/>
        </p:nvGrpSpPr>
        <p:grpSpPr bwMode="auto">
          <a:xfrm>
            <a:off x="9246030" y="1028733"/>
            <a:ext cx="270933" cy="254000"/>
            <a:chOff x="1355" y="3452"/>
            <a:chExt cx="183" cy="172"/>
          </a:xfrm>
        </p:grpSpPr>
        <p:pic>
          <p:nvPicPr>
            <p:cNvPr id="90" name="Picture 248" descr="circuler_1"/>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gray">
            <a:xfrm>
              <a:off x="1364" y="3452"/>
              <a:ext cx="174"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Oval 249"/>
            <p:cNvSpPr>
              <a:spLocks noChangeArrowheads="1"/>
            </p:cNvSpPr>
            <p:nvPr/>
          </p:nvSpPr>
          <p:spPr bwMode="gray">
            <a:xfrm>
              <a:off x="1364" y="3452"/>
              <a:ext cx="173" cy="172"/>
            </a:xfrm>
            <a:prstGeom prst="ellipse">
              <a:avLst/>
            </a:prstGeom>
            <a:solidFill>
              <a:srgbClr val="E46C0A"/>
            </a:solidFill>
            <a:ln w="9525" algn="ctr">
              <a:noFill/>
              <a:round/>
            </a:ln>
            <a:effectLst/>
          </p:spPr>
          <p:txBody>
            <a:bodyPr wrap="none" anchor="ctr"/>
            <a:lstStyle/>
            <a:p>
              <a:pPr>
                <a:defRPr/>
              </a:pPr>
              <a:endParaRPr lang="zh-CN" altLang="en-US" sz="2400">
                <a:latin typeface="Arial" panose="020B0604020202020204" pitchFamily="34" charset="0"/>
                <a:cs typeface="+mn-ea"/>
              </a:endParaRPr>
            </a:p>
          </p:txBody>
        </p:sp>
        <p:grpSp>
          <p:nvGrpSpPr>
            <p:cNvPr id="92" name="Group 250"/>
            <p:cNvGrpSpPr/>
            <p:nvPr/>
          </p:nvGrpSpPr>
          <p:grpSpPr bwMode="auto">
            <a:xfrm rot="-1297425" flipH="1" flipV="1">
              <a:off x="1380" y="3581"/>
              <a:ext cx="150" cy="36"/>
              <a:chOff x="2528" y="1060"/>
              <a:chExt cx="894" cy="236"/>
            </a:xfrm>
          </p:grpSpPr>
          <p:grpSp>
            <p:nvGrpSpPr>
              <p:cNvPr id="94" name="Group 251"/>
              <p:cNvGrpSpPr/>
              <p:nvPr/>
            </p:nvGrpSpPr>
            <p:grpSpPr bwMode="auto">
              <a:xfrm>
                <a:off x="2528" y="1060"/>
                <a:ext cx="742" cy="186"/>
                <a:chOff x="1565" y="2568"/>
                <a:chExt cx="1118" cy="279"/>
              </a:xfrm>
            </p:grpSpPr>
            <p:sp>
              <p:nvSpPr>
                <p:cNvPr id="100" name="AutoShape 252"/>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101" name="AutoShape 253"/>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102" name="AutoShape 254"/>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103" name="AutoShape 255"/>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grpSp>
          <p:grpSp>
            <p:nvGrpSpPr>
              <p:cNvPr id="95" name="Group 256"/>
              <p:cNvGrpSpPr/>
              <p:nvPr/>
            </p:nvGrpSpPr>
            <p:grpSpPr bwMode="auto">
              <a:xfrm rot="1353540">
                <a:off x="2680" y="1110"/>
                <a:ext cx="742" cy="186"/>
                <a:chOff x="1565" y="2568"/>
                <a:chExt cx="1118" cy="279"/>
              </a:xfrm>
            </p:grpSpPr>
            <p:sp>
              <p:nvSpPr>
                <p:cNvPr id="96" name="AutoShape 257"/>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97" name="AutoShape 258"/>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98" name="AutoShape 259"/>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99" name="AutoShape 260"/>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grpSp>
        </p:grpSp>
        <p:pic>
          <p:nvPicPr>
            <p:cNvPr id="93" name="Picture 261" descr="light_shadow1"/>
            <p:cNvPicPr>
              <a:picLocks noChangeAspect="1" noChangeArrowheads="1"/>
            </p:cNvPicPr>
            <p:nvPr/>
          </p:nvPicPr>
          <p:blipFill>
            <a:blip r:embed="rId2">
              <a:extLst>
                <a:ext uri="{28A0092B-C50C-407E-A947-70E740481C1C}">
                  <a14:useLocalDpi xmlns:a14="http://schemas.microsoft.com/office/drawing/2010/main" val="0"/>
                </a:ext>
              </a:extLst>
            </a:blip>
            <a:srcRect t="23740"/>
            <a:stretch>
              <a:fillRect/>
            </a:stretch>
          </p:blipFill>
          <p:spPr bwMode="gray">
            <a:xfrm rot="-2569845">
              <a:off x="1355" y="3467"/>
              <a:ext cx="129" cy="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4" name="AutoShape 262"/>
          <p:cNvSpPr>
            <a:spLocks noChangeArrowheads="1"/>
          </p:cNvSpPr>
          <p:nvPr/>
        </p:nvSpPr>
        <p:spPr bwMode="gray">
          <a:xfrm>
            <a:off x="1249263" y="4559334"/>
            <a:ext cx="1786467" cy="436033"/>
          </a:xfrm>
          <a:prstGeom prst="roundRect">
            <a:avLst>
              <a:gd name="adj" fmla="val 22815"/>
            </a:avLst>
          </a:prstGeom>
          <a:solidFill>
            <a:srgbClr val="254061"/>
          </a:solidFill>
          <a:ln w="28575" algn="ctr">
            <a:solidFill>
              <a:srgbClr val="F2F2F2"/>
            </a:solidFill>
            <a:round/>
          </a:ln>
          <a:effectLst>
            <a:outerShdw blurRad="88900" dist="75434" dir="2699996" algn="ctr" rotWithShape="0">
              <a:srgbClr val="000000">
                <a:alpha val="23000"/>
              </a:srgbClr>
            </a:outerShdw>
          </a:effec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105" name="AutoShape 263"/>
          <p:cNvSpPr>
            <a:spLocks noChangeArrowheads="1"/>
          </p:cNvSpPr>
          <p:nvPr/>
        </p:nvSpPr>
        <p:spPr bwMode="gray">
          <a:xfrm>
            <a:off x="3507747" y="3103068"/>
            <a:ext cx="1786467" cy="436033"/>
          </a:xfrm>
          <a:prstGeom prst="roundRect">
            <a:avLst>
              <a:gd name="adj" fmla="val 22815"/>
            </a:avLst>
          </a:prstGeom>
          <a:solidFill>
            <a:srgbClr val="E46C0A"/>
          </a:solidFill>
          <a:ln w="28575" algn="ctr">
            <a:solidFill>
              <a:srgbClr val="F2F2F2"/>
            </a:solidFill>
            <a:round/>
          </a:ln>
          <a:effectLst>
            <a:outerShdw blurRad="88900" dist="75434" dir="2699996" algn="ctr" rotWithShape="0">
              <a:srgbClr val="000000">
                <a:alpha val="23000"/>
              </a:srgbClr>
            </a:outerShdw>
          </a:effec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106" name="AutoShape 264"/>
          <p:cNvSpPr>
            <a:spLocks noChangeArrowheads="1"/>
          </p:cNvSpPr>
          <p:nvPr/>
        </p:nvSpPr>
        <p:spPr bwMode="gray">
          <a:xfrm>
            <a:off x="5565147" y="1771685"/>
            <a:ext cx="1786467" cy="436033"/>
          </a:xfrm>
          <a:prstGeom prst="roundRect">
            <a:avLst>
              <a:gd name="adj" fmla="val 22815"/>
            </a:avLst>
          </a:prstGeom>
          <a:solidFill>
            <a:srgbClr val="254061"/>
          </a:solidFill>
          <a:ln w="28575" algn="ctr">
            <a:solidFill>
              <a:srgbClr val="F2F2F2"/>
            </a:solidFill>
            <a:round/>
          </a:ln>
          <a:effectLst>
            <a:outerShdw blurRad="88900" dist="75434" dir="2699996" algn="ctr" rotWithShape="0">
              <a:srgbClr val="000000">
                <a:alpha val="23000"/>
              </a:srgbClr>
            </a:outerShdw>
          </a:effec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107" name="Text Box 265"/>
          <p:cNvSpPr txBox="1">
            <a:spLocks noChangeArrowheads="1"/>
          </p:cNvSpPr>
          <p:nvPr/>
        </p:nvSpPr>
        <p:spPr bwMode="white">
          <a:xfrm>
            <a:off x="1585813" y="4538168"/>
            <a:ext cx="1075267" cy="42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zh-CN" altLang="en-US" sz="2135">
                <a:solidFill>
                  <a:srgbClr val="FFFFFF"/>
                </a:solidFill>
                <a:cs typeface="+mn-ea"/>
              </a:rPr>
              <a:t>第一步</a:t>
            </a:r>
            <a:endParaRPr lang="zh-CN" altLang="en-US" sz="2135">
              <a:solidFill>
                <a:srgbClr val="FFFFFF"/>
              </a:solidFill>
              <a:cs typeface="+mn-ea"/>
            </a:endParaRPr>
          </a:p>
        </p:txBody>
      </p:sp>
      <p:sp>
        <p:nvSpPr>
          <p:cNvPr id="108" name="Text Box 266"/>
          <p:cNvSpPr txBox="1">
            <a:spLocks noChangeArrowheads="1"/>
          </p:cNvSpPr>
          <p:nvPr/>
        </p:nvSpPr>
        <p:spPr bwMode="white">
          <a:xfrm>
            <a:off x="3808313" y="3086134"/>
            <a:ext cx="1075267" cy="42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zh-CN" altLang="en-US" sz="2135">
                <a:solidFill>
                  <a:srgbClr val="FFFFFF"/>
                </a:solidFill>
                <a:cs typeface="+mn-ea"/>
              </a:rPr>
              <a:t>第二步</a:t>
            </a:r>
            <a:endParaRPr lang="zh-CN" altLang="en-US" sz="2135">
              <a:solidFill>
                <a:srgbClr val="FFFFFF"/>
              </a:solidFill>
              <a:cs typeface="+mn-ea"/>
            </a:endParaRPr>
          </a:p>
        </p:txBody>
      </p:sp>
      <p:sp>
        <p:nvSpPr>
          <p:cNvPr id="109" name="Text Box 267"/>
          <p:cNvSpPr txBox="1">
            <a:spLocks noChangeArrowheads="1"/>
          </p:cNvSpPr>
          <p:nvPr/>
        </p:nvSpPr>
        <p:spPr bwMode="white">
          <a:xfrm>
            <a:off x="5946147" y="1748401"/>
            <a:ext cx="1075267" cy="42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zh-CN" altLang="en-US" sz="2135">
                <a:solidFill>
                  <a:srgbClr val="FFFFFF"/>
                </a:solidFill>
                <a:cs typeface="+mn-ea"/>
              </a:rPr>
              <a:t>第三步</a:t>
            </a:r>
            <a:endParaRPr lang="zh-CN" altLang="en-US" sz="2135">
              <a:solidFill>
                <a:srgbClr val="FFFFFF"/>
              </a:solidFill>
              <a:cs typeface="+mn-ea"/>
            </a:endParaRPr>
          </a:p>
        </p:txBody>
      </p:sp>
      <p:sp>
        <p:nvSpPr>
          <p:cNvPr id="110" name="Text Box 269"/>
          <p:cNvSpPr txBox="1">
            <a:spLocks noChangeArrowheads="1"/>
          </p:cNvSpPr>
          <p:nvPr/>
        </p:nvSpPr>
        <p:spPr bwMode="black">
          <a:xfrm>
            <a:off x="3192363" y="5145651"/>
            <a:ext cx="4125384" cy="912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buFontTx/>
              <a:buChar char="•"/>
            </a:pPr>
            <a:r>
              <a:rPr lang="en-US" altLang="zh-CN" sz="2135" dirty="0">
                <a:solidFill>
                  <a:srgbClr val="969696"/>
                </a:solidFill>
                <a:cs typeface="+mn-ea"/>
              </a:rPr>
              <a:t> </a:t>
            </a:r>
            <a:r>
              <a:rPr lang="zh-CN" altLang="en-US" sz="2135">
                <a:solidFill>
                  <a:srgbClr val="969696"/>
                </a:solidFill>
                <a:cs typeface="+mn-ea"/>
              </a:rPr>
              <a:t>在此添加标题或目录索引</a:t>
            </a:r>
            <a:endParaRPr lang="zh-CN" altLang="en-US" sz="2135">
              <a:solidFill>
                <a:srgbClr val="969696"/>
              </a:solidFill>
              <a:cs typeface="+mn-ea"/>
            </a:endParaRPr>
          </a:p>
          <a:p>
            <a:pPr eaLnBrk="1" hangingPunct="1">
              <a:spcBef>
                <a:spcPct val="50000"/>
              </a:spcBef>
              <a:buFontTx/>
              <a:buChar char="•"/>
            </a:pPr>
            <a:r>
              <a:rPr lang="en-US" altLang="zh-CN" sz="2135" dirty="0">
                <a:solidFill>
                  <a:srgbClr val="969696"/>
                </a:solidFill>
                <a:cs typeface="+mn-ea"/>
              </a:rPr>
              <a:t> </a:t>
            </a:r>
            <a:r>
              <a:rPr lang="zh-CN" altLang="en-US" sz="2135">
                <a:solidFill>
                  <a:srgbClr val="969696"/>
                </a:solidFill>
                <a:cs typeface="+mn-ea"/>
              </a:rPr>
              <a:t>在此添加标题或目录索引</a:t>
            </a:r>
            <a:endParaRPr lang="zh-CN" altLang="en-US" sz="2135">
              <a:solidFill>
                <a:srgbClr val="969696"/>
              </a:solidFill>
              <a:cs typeface="+mn-ea"/>
            </a:endParaRPr>
          </a:p>
        </p:txBody>
      </p:sp>
      <p:sp>
        <p:nvSpPr>
          <p:cNvPr id="111" name="Text Box 270"/>
          <p:cNvSpPr txBox="1">
            <a:spLocks noChangeArrowheads="1"/>
          </p:cNvSpPr>
          <p:nvPr/>
        </p:nvSpPr>
        <p:spPr bwMode="black">
          <a:xfrm>
            <a:off x="5484714" y="3685151"/>
            <a:ext cx="4125383" cy="912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buFontTx/>
              <a:buChar char="•"/>
            </a:pPr>
            <a:r>
              <a:rPr lang="en-US" altLang="zh-CN" sz="2135" dirty="0">
                <a:solidFill>
                  <a:srgbClr val="969696"/>
                </a:solidFill>
                <a:cs typeface="+mn-ea"/>
              </a:rPr>
              <a:t> </a:t>
            </a:r>
            <a:r>
              <a:rPr lang="zh-CN" altLang="en-US" sz="2135">
                <a:solidFill>
                  <a:srgbClr val="969696"/>
                </a:solidFill>
                <a:cs typeface="+mn-ea"/>
              </a:rPr>
              <a:t>在此添加标题或目录索引</a:t>
            </a:r>
            <a:endParaRPr lang="zh-CN" altLang="en-US" sz="2135">
              <a:solidFill>
                <a:srgbClr val="969696"/>
              </a:solidFill>
              <a:cs typeface="+mn-ea"/>
            </a:endParaRPr>
          </a:p>
          <a:p>
            <a:pPr eaLnBrk="1" hangingPunct="1">
              <a:spcBef>
                <a:spcPct val="50000"/>
              </a:spcBef>
              <a:buFontTx/>
              <a:buChar char="•"/>
            </a:pPr>
            <a:r>
              <a:rPr lang="en-US" altLang="zh-CN" sz="2135" dirty="0">
                <a:solidFill>
                  <a:srgbClr val="969696"/>
                </a:solidFill>
                <a:cs typeface="+mn-ea"/>
              </a:rPr>
              <a:t> </a:t>
            </a:r>
            <a:r>
              <a:rPr lang="zh-CN" altLang="en-US" sz="2135">
                <a:solidFill>
                  <a:srgbClr val="969696"/>
                </a:solidFill>
                <a:cs typeface="+mn-ea"/>
              </a:rPr>
              <a:t>在此添加标题或目录索引</a:t>
            </a:r>
            <a:endParaRPr lang="zh-CN" altLang="en-US" sz="2135">
              <a:solidFill>
                <a:srgbClr val="969696"/>
              </a:solidFill>
              <a:cs typeface="+mn-ea"/>
            </a:endParaRPr>
          </a:p>
        </p:txBody>
      </p:sp>
      <p:sp>
        <p:nvSpPr>
          <p:cNvPr id="112" name="Text Box 271"/>
          <p:cNvSpPr txBox="1">
            <a:spLocks noChangeArrowheads="1"/>
          </p:cNvSpPr>
          <p:nvPr/>
        </p:nvSpPr>
        <p:spPr bwMode="black">
          <a:xfrm>
            <a:off x="7635247" y="2398217"/>
            <a:ext cx="4125383" cy="912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buFontTx/>
              <a:buChar char="•"/>
            </a:pPr>
            <a:r>
              <a:rPr lang="en-US" altLang="zh-CN" sz="2135" dirty="0">
                <a:solidFill>
                  <a:srgbClr val="969696"/>
                </a:solidFill>
                <a:cs typeface="+mn-ea"/>
              </a:rPr>
              <a:t> </a:t>
            </a:r>
            <a:r>
              <a:rPr lang="zh-CN" altLang="en-US" sz="2135">
                <a:solidFill>
                  <a:srgbClr val="969696"/>
                </a:solidFill>
                <a:cs typeface="+mn-ea"/>
              </a:rPr>
              <a:t>在此添加标题或目录索引</a:t>
            </a:r>
            <a:endParaRPr lang="zh-CN" altLang="en-US" sz="2135">
              <a:solidFill>
                <a:srgbClr val="969696"/>
              </a:solidFill>
              <a:cs typeface="+mn-ea"/>
            </a:endParaRPr>
          </a:p>
          <a:p>
            <a:pPr eaLnBrk="1" hangingPunct="1">
              <a:spcBef>
                <a:spcPct val="50000"/>
              </a:spcBef>
              <a:buFontTx/>
              <a:buChar char="•"/>
            </a:pPr>
            <a:r>
              <a:rPr lang="en-US" altLang="zh-CN" sz="2135" dirty="0">
                <a:solidFill>
                  <a:srgbClr val="969696"/>
                </a:solidFill>
                <a:cs typeface="+mn-ea"/>
              </a:rPr>
              <a:t> </a:t>
            </a:r>
            <a:r>
              <a:rPr lang="zh-CN" altLang="en-US" sz="2135">
                <a:solidFill>
                  <a:srgbClr val="969696"/>
                </a:solidFill>
                <a:cs typeface="+mn-ea"/>
              </a:rPr>
              <a:t>在此添加标题或目录索引</a:t>
            </a:r>
            <a:endParaRPr lang="zh-CN" altLang="en-US" sz="2135">
              <a:solidFill>
                <a:srgbClr val="969696"/>
              </a:solidFill>
              <a:cs typeface="+mn-ea"/>
            </a:endParaRPr>
          </a:p>
        </p:txBody>
      </p:sp>
      <p:sp>
        <p:nvSpPr>
          <p:cNvPr id="72"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73" name="文本框 72"/>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wipe(down)">
                                      <p:cBhvr>
                                        <p:cTn id="7" dur="125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C:\Users\shangdongying\Desktop\chicago-illinois-night.jpg"/>
          <p:cNvPicPr>
            <a:picLocks noChangeAspect="1" noChangeArrowheads="1"/>
          </p:cNvPicPr>
          <p:nvPr/>
        </p:nvPicPr>
        <p:blipFill>
          <a:blip r:embed="rId1" cstate="print"/>
          <a:srcRect/>
          <a:stretch>
            <a:fillRect/>
          </a:stretch>
        </p:blipFill>
        <p:spPr bwMode="auto">
          <a:xfrm>
            <a:off x="-48683" y="0"/>
            <a:ext cx="12240683" cy="6858000"/>
          </a:xfrm>
          <a:prstGeom prst="rect">
            <a:avLst/>
          </a:prstGeom>
          <a:noFill/>
        </p:spPr>
      </p:pic>
      <p:sp>
        <p:nvSpPr>
          <p:cNvPr id="7" name="梯形 6"/>
          <p:cNvSpPr/>
          <p:nvPr/>
        </p:nvSpPr>
        <p:spPr>
          <a:xfrm rot="5400000">
            <a:off x="2614789" y="-2667000"/>
            <a:ext cx="6858000" cy="12192000"/>
          </a:xfrm>
          <a:prstGeom prst="trapezoid">
            <a:avLst>
              <a:gd name="adj" fmla="val 27989"/>
            </a:avLst>
          </a:prstGeom>
          <a:solidFill>
            <a:schemeClr val="accent6">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8" name="直角三角形 7"/>
          <p:cNvSpPr/>
          <p:nvPr/>
        </p:nvSpPr>
        <p:spPr>
          <a:xfrm flipH="1">
            <a:off x="0" y="4773149"/>
            <a:ext cx="12192000" cy="20848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9" name="直角三角形 8"/>
          <p:cNvSpPr/>
          <p:nvPr/>
        </p:nvSpPr>
        <p:spPr>
          <a:xfrm flipH="1" flipV="1">
            <a:off x="0" y="0"/>
            <a:ext cx="12192000" cy="198884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0" name="TextBox 9"/>
          <p:cNvSpPr txBox="1"/>
          <p:nvPr/>
        </p:nvSpPr>
        <p:spPr>
          <a:xfrm>
            <a:off x="527381" y="1700809"/>
            <a:ext cx="2016224" cy="2533899"/>
          </a:xfrm>
          <a:prstGeom prst="rect">
            <a:avLst/>
          </a:prstGeom>
          <a:noFill/>
        </p:spPr>
        <p:txBody>
          <a:bodyPr wrap="square" rtlCol="0">
            <a:spAutoFit/>
          </a:bodyPr>
          <a:lstStyle/>
          <a:p>
            <a:r>
              <a:rPr lang="en-US" altLang="zh-CN" sz="15865" dirty="0">
                <a:solidFill>
                  <a:schemeClr val="bg1"/>
                </a:solidFill>
                <a:latin typeface="+mn-ea"/>
                <a:cs typeface="+mn-ea"/>
              </a:rPr>
              <a:t>P</a:t>
            </a:r>
            <a:endParaRPr lang="zh-CN" altLang="en-US" sz="15865" dirty="0">
              <a:solidFill>
                <a:schemeClr val="bg1"/>
              </a:solidFill>
              <a:latin typeface="+mn-ea"/>
              <a:cs typeface="+mn-ea"/>
            </a:endParaRPr>
          </a:p>
        </p:txBody>
      </p:sp>
      <p:sp>
        <p:nvSpPr>
          <p:cNvPr id="11" name="TextBox 10"/>
          <p:cNvSpPr txBox="1"/>
          <p:nvPr/>
        </p:nvSpPr>
        <p:spPr>
          <a:xfrm>
            <a:off x="1487488" y="2334931"/>
            <a:ext cx="3360373" cy="1733680"/>
          </a:xfrm>
          <a:prstGeom prst="rect">
            <a:avLst/>
          </a:prstGeom>
          <a:noFill/>
        </p:spPr>
        <p:txBody>
          <a:bodyPr wrap="square" rtlCol="0">
            <a:spAutoFit/>
          </a:bodyPr>
          <a:lstStyle/>
          <a:p>
            <a:r>
              <a:rPr lang="en-US" altLang="zh-CN" sz="10665" dirty="0">
                <a:solidFill>
                  <a:schemeClr val="bg1"/>
                </a:solidFill>
                <a:latin typeface="+mn-ea"/>
                <a:cs typeface="+mn-ea"/>
              </a:rPr>
              <a:t>art</a:t>
            </a:r>
            <a:endParaRPr lang="zh-CN" altLang="en-US" sz="10665" dirty="0">
              <a:solidFill>
                <a:schemeClr val="bg1"/>
              </a:solidFill>
              <a:latin typeface="+mn-ea"/>
              <a:cs typeface="+mn-ea"/>
            </a:endParaRPr>
          </a:p>
        </p:txBody>
      </p:sp>
      <p:sp>
        <p:nvSpPr>
          <p:cNvPr id="12" name="TextBox 11"/>
          <p:cNvSpPr txBox="1"/>
          <p:nvPr/>
        </p:nvSpPr>
        <p:spPr>
          <a:xfrm>
            <a:off x="3599723" y="2336490"/>
            <a:ext cx="4224469" cy="1733680"/>
          </a:xfrm>
          <a:prstGeom prst="rect">
            <a:avLst/>
          </a:prstGeom>
          <a:noFill/>
        </p:spPr>
        <p:txBody>
          <a:bodyPr wrap="square" rtlCol="0">
            <a:spAutoFit/>
          </a:bodyPr>
          <a:lstStyle/>
          <a:p>
            <a:r>
              <a:rPr lang="en-US" altLang="zh-CN" sz="10665" dirty="0">
                <a:solidFill>
                  <a:schemeClr val="bg1"/>
                </a:solidFill>
                <a:latin typeface="+mn-ea"/>
                <a:cs typeface="+mn-ea"/>
              </a:rPr>
              <a:t>two</a:t>
            </a:r>
            <a:endParaRPr lang="zh-CN" altLang="en-US" sz="10665" dirty="0">
              <a:solidFill>
                <a:schemeClr val="bg1"/>
              </a:solidFill>
              <a:latin typeface="+mn-ea"/>
              <a:cs typeface="+mn-ea"/>
            </a:endParaRPr>
          </a:p>
        </p:txBody>
      </p:sp>
      <p:sp>
        <p:nvSpPr>
          <p:cNvPr id="13" name="直角三角形 12"/>
          <p:cNvSpPr/>
          <p:nvPr/>
        </p:nvSpPr>
        <p:spPr>
          <a:xfrm rot="10800000">
            <a:off x="0" y="-3"/>
            <a:ext cx="12192000" cy="20848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nvGrpSpPr>
          <p:cNvPr id="2" name="组合 1"/>
          <p:cNvGrpSpPr/>
          <p:nvPr/>
        </p:nvGrpSpPr>
        <p:grpSpPr>
          <a:xfrm>
            <a:off x="8592275" y="0"/>
            <a:ext cx="3599725" cy="6316257"/>
            <a:chOff x="8592275" y="0"/>
            <a:chExt cx="3599725" cy="6316257"/>
          </a:xfrm>
        </p:grpSpPr>
        <p:sp>
          <p:nvSpPr>
            <p:cNvPr id="15" name="平行四边形 14"/>
            <p:cNvSpPr/>
            <p:nvPr/>
          </p:nvSpPr>
          <p:spPr>
            <a:xfrm rot="5400000" flipH="1">
              <a:off x="8197585" y="394692"/>
              <a:ext cx="4389107" cy="3599723"/>
            </a:xfrm>
            <a:prstGeom prst="parallelogram">
              <a:avLst>
                <a:gd name="adj" fmla="val 63758"/>
              </a:avLst>
            </a:prstGeom>
            <a:solidFill>
              <a:schemeClr val="accent6">
                <a:lumMod val="50000"/>
                <a:alpha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6" name="平行四边形 15"/>
            <p:cNvSpPr/>
            <p:nvPr/>
          </p:nvSpPr>
          <p:spPr>
            <a:xfrm rot="5400000">
              <a:off x="8380937" y="2505195"/>
              <a:ext cx="4022400" cy="3599723"/>
            </a:xfrm>
            <a:prstGeom prst="parallelogram">
              <a:avLst>
                <a:gd name="adj" fmla="val 54036"/>
              </a:avLst>
            </a:prstGeom>
            <a:solidFill>
              <a:schemeClr val="accent6">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sp>
        <p:nvSpPr>
          <p:cNvPr id="17" name="TextBox 51"/>
          <p:cNvSpPr txBox="1"/>
          <p:nvPr/>
        </p:nvSpPr>
        <p:spPr>
          <a:xfrm>
            <a:off x="719403" y="883547"/>
            <a:ext cx="2592288" cy="913007"/>
          </a:xfrm>
          <a:prstGeom prst="rect">
            <a:avLst/>
          </a:prstGeom>
          <a:noFill/>
        </p:spPr>
        <p:txBody>
          <a:bodyPr wrap="square" rtlCol="0">
            <a:spAutoFit/>
          </a:bodyPr>
          <a:lstStyle/>
          <a:p>
            <a:r>
              <a:rPr lang="en-US" altLang="zh-CN" sz="5335" b="1" dirty="0">
                <a:solidFill>
                  <a:schemeClr val="bg1"/>
                </a:solidFill>
                <a:latin typeface="+mn-ea"/>
                <a:cs typeface="+mn-ea"/>
              </a:rPr>
              <a:t>LOGO</a:t>
            </a:r>
            <a:endParaRPr lang="zh-CN" altLang="en-US" sz="5335" b="1" dirty="0">
              <a:solidFill>
                <a:schemeClr val="bg1"/>
              </a:solidFill>
              <a:latin typeface="+mn-ea"/>
              <a:cs typeface="+mn-ea"/>
            </a:endParaRPr>
          </a:p>
        </p:txBody>
      </p:sp>
      <p:sp>
        <p:nvSpPr>
          <p:cNvPr id="14" name="文本框 13"/>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randombar(horizontal)">
                                      <p:cBhvr>
                                        <p:cTn id="7" dur="500"/>
                                        <p:tgtEl>
                                          <p:spTgt spid="11"/>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randombar(horizontal)">
                                      <p:cBhvr>
                                        <p:cTn id="10" dur="500"/>
                                        <p:tgtEl>
                                          <p:spTgt spid="12"/>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randombar(horizontal)">
                                      <p:cBhvr>
                                        <p:cTn id="13" dur="500"/>
                                        <p:tgtEl>
                                          <p:spTgt spid="1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up)">
                                      <p:cBhvr>
                                        <p:cTn id="17" dur="500"/>
                                        <p:tgtEl>
                                          <p:spTgt spid="2"/>
                                        </p:tgtEl>
                                      </p:cBhvr>
                                    </p:animEffect>
                                  </p:childTnLst>
                                </p:cTn>
                              </p:par>
                            </p:childTnLst>
                          </p:cTn>
                        </p:par>
                        <p:par>
                          <p:cTn id="18" fill="hold">
                            <p:stCondLst>
                              <p:cond delay="1000"/>
                            </p:stCondLst>
                            <p:childTnLst>
                              <p:par>
                                <p:cTn id="19" presetID="22" presetClass="entr" presetSubtype="4"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down)">
                                      <p:cBhvr>
                                        <p:cTn id="21"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7" grpId="0"/>
      <p:bldP spid="1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3490385" y="1140884"/>
            <a:ext cx="4740924" cy="4893733"/>
            <a:chOff x="2617788" y="855663"/>
            <a:chExt cx="3555499" cy="3670299"/>
          </a:xfrm>
        </p:grpSpPr>
        <p:sp>
          <p:nvSpPr>
            <p:cNvPr id="6" name="Freeform 14"/>
            <p:cNvSpPr/>
            <p:nvPr/>
          </p:nvSpPr>
          <p:spPr bwMode="auto">
            <a:xfrm>
              <a:off x="4451350" y="855663"/>
              <a:ext cx="1712913" cy="3152774"/>
            </a:xfrm>
            <a:custGeom>
              <a:avLst/>
              <a:gdLst>
                <a:gd name="T0" fmla="*/ 0 w 457"/>
                <a:gd name="T1" fmla="*/ 0 h 841"/>
                <a:gd name="T2" fmla="*/ 0 w 457"/>
                <a:gd name="T3" fmla="*/ 2147483647 h 841"/>
                <a:gd name="T4" fmla="*/ 702436760 w 457"/>
                <a:gd name="T5" fmla="*/ 2147483647 h 841"/>
                <a:gd name="T6" fmla="*/ 2147483647 w 457"/>
                <a:gd name="T7" fmla="*/ 2147483647 h 841"/>
                <a:gd name="T8" fmla="*/ 2147483647 w 457"/>
                <a:gd name="T9" fmla="*/ 2147483647 h 841"/>
                <a:gd name="T10" fmla="*/ 2147483647 w 457"/>
                <a:gd name="T11" fmla="*/ 2147483647 h 841"/>
                <a:gd name="T12" fmla="*/ 2147483647 w 457"/>
                <a:gd name="T13" fmla="*/ 2147483647 h 841"/>
                <a:gd name="T14" fmla="*/ 0 w 457"/>
                <a:gd name="T15" fmla="*/ 0 h 84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57" h="841">
                  <a:moveTo>
                    <a:pt x="0" y="0"/>
                  </a:moveTo>
                  <a:cubicBezTo>
                    <a:pt x="0" y="192"/>
                    <a:pt x="0" y="192"/>
                    <a:pt x="0" y="192"/>
                  </a:cubicBezTo>
                  <a:cubicBezTo>
                    <a:pt x="16" y="190"/>
                    <a:pt x="33" y="188"/>
                    <a:pt x="50" y="188"/>
                  </a:cubicBezTo>
                  <a:cubicBezTo>
                    <a:pt x="229" y="188"/>
                    <a:pt x="374" y="333"/>
                    <a:pt x="374" y="512"/>
                  </a:cubicBezTo>
                  <a:cubicBezTo>
                    <a:pt x="374" y="630"/>
                    <a:pt x="311" y="734"/>
                    <a:pt x="216" y="791"/>
                  </a:cubicBezTo>
                  <a:cubicBezTo>
                    <a:pt x="249" y="841"/>
                    <a:pt x="249" y="841"/>
                    <a:pt x="249" y="841"/>
                  </a:cubicBezTo>
                  <a:cubicBezTo>
                    <a:pt x="385" y="753"/>
                    <a:pt x="457" y="619"/>
                    <a:pt x="457" y="458"/>
                  </a:cubicBezTo>
                  <a:cubicBezTo>
                    <a:pt x="457" y="205"/>
                    <a:pt x="253" y="0"/>
                    <a:pt x="0" y="0"/>
                  </a:cubicBezTo>
                  <a:close/>
                </a:path>
              </a:pathLst>
            </a:custGeom>
            <a:solidFill>
              <a:schemeClr val="accent6">
                <a:lumMod val="75000"/>
              </a:schemeClr>
            </a:solidFill>
            <a:ln w="28575">
              <a:solidFill>
                <a:srgbClr val="F2F2F2"/>
              </a:solidFill>
              <a:round/>
            </a:ln>
            <a:effectLst>
              <a:outerShdw blurRad="88900" dist="75434" dir="2699985" rotWithShape="0">
                <a:scrgbClr r="0" g="0" b="0">
                  <a:alpha val="23000"/>
                </a:scrgbClr>
              </a:outerShdw>
            </a:effectLst>
          </p:spPr>
          <p:txBody>
            <a:bodyPr/>
            <a:lstStyle/>
            <a:p>
              <a:endParaRPr lang="zh-CN" altLang="en-US" sz="2400">
                <a:cs typeface="+mn-ea"/>
              </a:endParaRPr>
            </a:p>
          </p:txBody>
        </p:sp>
        <p:sp>
          <p:nvSpPr>
            <p:cNvPr id="7" name="Freeform 15"/>
            <p:cNvSpPr/>
            <p:nvPr/>
          </p:nvSpPr>
          <p:spPr bwMode="auto">
            <a:xfrm>
              <a:off x="2617788" y="855663"/>
              <a:ext cx="1833563" cy="1952624"/>
            </a:xfrm>
            <a:custGeom>
              <a:avLst/>
              <a:gdLst>
                <a:gd name="T0" fmla="*/ 2147483647 w 489"/>
                <a:gd name="T1" fmla="*/ 2147483647 h 521"/>
                <a:gd name="T2" fmla="*/ 2147483647 w 489"/>
                <a:gd name="T3" fmla="*/ 0 h 521"/>
                <a:gd name="T4" fmla="*/ 2147483647 w 489"/>
                <a:gd name="T5" fmla="*/ 56183851 h 521"/>
                <a:gd name="T6" fmla="*/ 492088563 w 489"/>
                <a:gd name="T7" fmla="*/ 2147483647 h 521"/>
                <a:gd name="T8" fmla="*/ 2147483647 w 489"/>
                <a:gd name="T9" fmla="*/ 2147483647 h 521"/>
                <a:gd name="T10" fmla="*/ 2147483647 w 489"/>
                <a:gd name="T11" fmla="*/ 2147483647 h 52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9" h="521">
                  <a:moveTo>
                    <a:pt x="489" y="192"/>
                  </a:moveTo>
                  <a:cubicBezTo>
                    <a:pt x="489" y="0"/>
                    <a:pt x="489" y="0"/>
                    <a:pt x="489" y="0"/>
                  </a:cubicBezTo>
                  <a:cubicBezTo>
                    <a:pt x="468" y="0"/>
                    <a:pt x="445" y="2"/>
                    <a:pt x="425" y="4"/>
                  </a:cubicBezTo>
                  <a:cubicBezTo>
                    <a:pt x="175" y="40"/>
                    <a:pt x="0" y="271"/>
                    <a:pt x="35" y="521"/>
                  </a:cubicBezTo>
                  <a:cubicBezTo>
                    <a:pt x="216" y="496"/>
                    <a:pt x="216" y="496"/>
                    <a:pt x="216" y="496"/>
                  </a:cubicBezTo>
                  <a:cubicBezTo>
                    <a:pt x="223" y="342"/>
                    <a:pt x="339" y="216"/>
                    <a:pt x="489" y="192"/>
                  </a:cubicBezTo>
                  <a:close/>
                </a:path>
              </a:pathLst>
            </a:custGeom>
            <a:solidFill>
              <a:srgbClr val="254061"/>
            </a:solidFill>
            <a:ln w="28575">
              <a:solidFill>
                <a:srgbClr val="F2F2F2"/>
              </a:solidFill>
              <a:round/>
            </a:ln>
            <a:effectLst>
              <a:outerShdw blurRad="88900" dist="75434" dir="2699985" rotWithShape="0">
                <a:scrgbClr r="0" g="0" b="0">
                  <a:alpha val="23000"/>
                </a:scrgbClr>
              </a:outerShdw>
            </a:effectLst>
          </p:spPr>
          <p:txBody>
            <a:bodyPr/>
            <a:lstStyle/>
            <a:p>
              <a:endParaRPr lang="zh-CN" altLang="en-US" sz="2400">
                <a:cs typeface="+mn-ea"/>
              </a:endParaRPr>
            </a:p>
          </p:txBody>
        </p:sp>
        <p:sp>
          <p:nvSpPr>
            <p:cNvPr id="8" name="Freeform 16"/>
            <p:cNvSpPr/>
            <p:nvPr/>
          </p:nvSpPr>
          <p:spPr bwMode="auto">
            <a:xfrm>
              <a:off x="2747963" y="2714625"/>
              <a:ext cx="2636838" cy="1811337"/>
            </a:xfrm>
            <a:custGeom>
              <a:avLst/>
              <a:gdLst>
                <a:gd name="T0" fmla="*/ 2147483647 w 703"/>
                <a:gd name="T1" fmla="*/ 2147483647 h 483"/>
                <a:gd name="T2" fmla="*/ 2147483647 w 703"/>
                <a:gd name="T3" fmla="*/ 225022058 h 483"/>
                <a:gd name="T4" fmla="*/ 2147483647 w 703"/>
                <a:gd name="T5" fmla="*/ 0 h 483"/>
                <a:gd name="T6" fmla="*/ 0 w 703"/>
                <a:gd name="T7" fmla="*/ 351598138 h 483"/>
                <a:gd name="T8" fmla="*/ 984815858 w 703"/>
                <a:gd name="T9" fmla="*/ 2147483647 h 483"/>
                <a:gd name="T10" fmla="*/ 2147483647 w 703"/>
                <a:gd name="T11" fmla="*/ 2147483647 h 483"/>
                <a:gd name="T12" fmla="*/ 2147483647 w 703"/>
                <a:gd name="T13" fmla="*/ 2147483647 h 483"/>
                <a:gd name="T14" fmla="*/ 2147483647 w 703"/>
                <a:gd name="T15" fmla="*/ 2147483647 h 48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03" h="483">
                  <a:moveTo>
                    <a:pt x="504" y="340"/>
                  </a:moveTo>
                  <a:cubicBezTo>
                    <a:pt x="325" y="340"/>
                    <a:pt x="180" y="195"/>
                    <a:pt x="180" y="16"/>
                  </a:cubicBezTo>
                  <a:cubicBezTo>
                    <a:pt x="180" y="11"/>
                    <a:pt x="181" y="5"/>
                    <a:pt x="181" y="0"/>
                  </a:cubicBezTo>
                  <a:cubicBezTo>
                    <a:pt x="0" y="25"/>
                    <a:pt x="0" y="25"/>
                    <a:pt x="0" y="25"/>
                  </a:cubicBezTo>
                  <a:cubicBezTo>
                    <a:pt x="10" y="95"/>
                    <a:pt x="31" y="152"/>
                    <a:pt x="70" y="211"/>
                  </a:cubicBezTo>
                  <a:cubicBezTo>
                    <a:pt x="207" y="423"/>
                    <a:pt x="491" y="483"/>
                    <a:pt x="703" y="345"/>
                  </a:cubicBezTo>
                  <a:cubicBezTo>
                    <a:pt x="670" y="295"/>
                    <a:pt x="670" y="295"/>
                    <a:pt x="670" y="295"/>
                  </a:cubicBezTo>
                  <a:cubicBezTo>
                    <a:pt x="621" y="323"/>
                    <a:pt x="565" y="340"/>
                    <a:pt x="504" y="340"/>
                  </a:cubicBezTo>
                  <a:close/>
                </a:path>
              </a:pathLst>
            </a:custGeom>
            <a:solidFill>
              <a:schemeClr val="bg1">
                <a:lumMod val="65000"/>
              </a:schemeClr>
            </a:solidFill>
            <a:ln w="28575">
              <a:solidFill>
                <a:srgbClr val="F2F2F2"/>
              </a:solidFill>
              <a:round/>
            </a:ln>
            <a:effectLst>
              <a:outerShdw blurRad="88900" dist="75434" dir="2699985" rotWithShape="0">
                <a:scrgbClr r="0" g="0" b="0">
                  <a:alpha val="23000"/>
                </a:scrgbClr>
              </a:outerShdw>
            </a:effectLst>
          </p:spPr>
          <p:txBody>
            <a:bodyPr/>
            <a:lstStyle/>
            <a:p>
              <a:endParaRPr lang="zh-CN" altLang="en-US" sz="2400">
                <a:cs typeface="+mn-ea"/>
              </a:endParaRPr>
            </a:p>
          </p:txBody>
        </p:sp>
        <p:sp>
          <p:nvSpPr>
            <p:cNvPr id="9" name="TextBox 682"/>
            <p:cNvSpPr txBox="1">
              <a:spLocks noChangeArrowheads="1"/>
            </p:cNvSpPr>
            <p:nvPr/>
          </p:nvSpPr>
          <p:spPr bwMode="auto">
            <a:xfrm>
              <a:off x="3192348" y="1385714"/>
              <a:ext cx="659039" cy="43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en-US" altLang="zh-CN" sz="3200" dirty="0">
                  <a:solidFill>
                    <a:schemeClr val="bg1"/>
                  </a:solidFill>
                  <a:latin typeface="+mn-ea"/>
                  <a:ea typeface="+mn-ea"/>
                  <a:cs typeface="+mn-ea"/>
                </a:rPr>
                <a:t>28</a:t>
              </a:r>
              <a:r>
                <a:rPr lang="en-US" altLang="zh-CN" sz="1865" dirty="0">
                  <a:solidFill>
                    <a:schemeClr val="bg1"/>
                  </a:solidFill>
                  <a:latin typeface="+mn-ea"/>
                  <a:ea typeface="+mn-ea"/>
                  <a:cs typeface="+mn-ea"/>
                </a:rPr>
                <a:t>%</a:t>
              </a:r>
              <a:endParaRPr lang="zh-CN" altLang="en-US" sz="2665" dirty="0">
                <a:solidFill>
                  <a:schemeClr val="bg1"/>
                </a:solidFill>
                <a:latin typeface="+mn-ea"/>
                <a:ea typeface="+mn-ea"/>
                <a:cs typeface="+mn-ea"/>
              </a:endParaRPr>
            </a:p>
          </p:txBody>
        </p:sp>
        <p:sp>
          <p:nvSpPr>
            <p:cNvPr id="10" name="TextBox 682"/>
            <p:cNvSpPr txBox="1">
              <a:spLocks noChangeArrowheads="1"/>
            </p:cNvSpPr>
            <p:nvPr/>
          </p:nvSpPr>
          <p:spPr bwMode="auto">
            <a:xfrm>
              <a:off x="5514248" y="1714134"/>
              <a:ext cx="659039" cy="43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en-US" altLang="zh-CN" sz="3200">
                  <a:solidFill>
                    <a:schemeClr val="bg1"/>
                  </a:solidFill>
                  <a:latin typeface="+mn-ea"/>
                  <a:ea typeface="+mn-ea"/>
                  <a:cs typeface="+mn-ea"/>
                </a:rPr>
                <a:t>39</a:t>
              </a:r>
              <a:r>
                <a:rPr lang="en-US" altLang="zh-CN" sz="1865">
                  <a:solidFill>
                    <a:schemeClr val="bg1"/>
                  </a:solidFill>
                  <a:latin typeface="+mn-ea"/>
                  <a:ea typeface="+mn-ea"/>
                  <a:cs typeface="+mn-ea"/>
                </a:rPr>
                <a:t>%</a:t>
              </a:r>
              <a:endParaRPr lang="zh-CN" altLang="en-US" sz="1865">
                <a:solidFill>
                  <a:schemeClr val="bg1"/>
                </a:solidFill>
                <a:latin typeface="+mn-ea"/>
                <a:ea typeface="+mn-ea"/>
                <a:cs typeface="+mn-ea"/>
              </a:endParaRPr>
            </a:p>
          </p:txBody>
        </p:sp>
        <p:sp>
          <p:nvSpPr>
            <p:cNvPr id="11" name="TextBox 682"/>
            <p:cNvSpPr txBox="1">
              <a:spLocks noChangeArrowheads="1"/>
            </p:cNvSpPr>
            <p:nvPr/>
          </p:nvSpPr>
          <p:spPr bwMode="auto">
            <a:xfrm>
              <a:off x="3472829" y="3653250"/>
              <a:ext cx="659039" cy="43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en-US" altLang="zh-CN" sz="3200">
                  <a:solidFill>
                    <a:schemeClr val="bg1"/>
                  </a:solidFill>
                  <a:latin typeface="+mn-ea"/>
                  <a:ea typeface="+mn-ea"/>
                  <a:cs typeface="+mn-ea"/>
                </a:rPr>
                <a:t>33</a:t>
              </a:r>
              <a:r>
                <a:rPr lang="en-US" altLang="zh-CN" sz="1865">
                  <a:solidFill>
                    <a:schemeClr val="bg1"/>
                  </a:solidFill>
                  <a:latin typeface="+mn-ea"/>
                  <a:ea typeface="+mn-ea"/>
                  <a:cs typeface="+mn-ea"/>
                </a:rPr>
                <a:t>%</a:t>
              </a:r>
              <a:endParaRPr lang="zh-CN" altLang="en-US" sz="2665">
                <a:solidFill>
                  <a:schemeClr val="bg1"/>
                </a:solidFill>
                <a:latin typeface="+mn-ea"/>
                <a:ea typeface="+mn-ea"/>
                <a:cs typeface="+mn-ea"/>
              </a:endParaRPr>
            </a:p>
          </p:txBody>
        </p:sp>
        <p:sp>
          <p:nvSpPr>
            <p:cNvPr id="12" name="Freeform 21"/>
            <p:cNvSpPr>
              <a:spLocks noEditPoints="1"/>
            </p:cNvSpPr>
            <p:nvPr/>
          </p:nvSpPr>
          <p:spPr bwMode="auto">
            <a:xfrm>
              <a:off x="3924687" y="2133147"/>
              <a:ext cx="1289864" cy="1261154"/>
            </a:xfrm>
            <a:custGeom>
              <a:avLst/>
              <a:gdLst>
                <a:gd name="T0" fmla="*/ 2147483647 w 266"/>
                <a:gd name="T1" fmla="*/ 0 h 260"/>
                <a:gd name="T2" fmla="*/ 2147483647 w 266"/>
                <a:gd name="T3" fmla="*/ 0 h 260"/>
                <a:gd name="T4" fmla="*/ 2147483647 w 266"/>
                <a:gd name="T5" fmla="*/ 588207076 h 260"/>
                <a:gd name="T6" fmla="*/ 2147483647 w 266"/>
                <a:gd name="T7" fmla="*/ 588207076 h 260"/>
                <a:gd name="T8" fmla="*/ 2147483647 w 266"/>
                <a:gd name="T9" fmla="*/ 2023429432 h 260"/>
                <a:gd name="T10" fmla="*/ 2147483647 w 266"/>
                <a:gd name="T11" fmla="*/ 2147483647 h 260"/>
                <a:gd name="T12" fmla="*/ 2147483647 w 266"/>
                <a:gd name="T13" fmla="*/ 2147483647 h 260"/>
                <a:gd name="T14" fmla="*/ 2147483647 w 266"/>
                <a:gd name="T15" fmla="*/ 2147483647 h 260"/>
                <a:gd name="T16" fmla="*/ 2147483647 w 266"/>
                <a:gd name="T17" fmla="*/ 2147483647 h 260"/>
                <a:gd name="T18" fmla="*/ 2147483647 w 266"/>
                <a:gd name="T19" fmla="*/ 2147483647 h 260"/>
                <a:gd name="T20" fmla="*/ 2147483647 w 266"/>
                <a:gd name="T21" fmla="*/ 2147483647 h 260"/>
                <a:gd name="T22" fmla="*/ 2147483647 w 266"/>
                <a:gd name="T23" fmla="*/ 2147483647 h 260"/>
                <a:gd name="T24" fmla="*/ 1834084777 w 266"/>
                <a:gd name="T25" fmla="*/ 2147483647 h 260"/>
                <a:gd name="T26" fmla="*/ 2147483647 w 266"/>
                <a:gd name="T27" fmla="*/ 2147483647 h 260"/>
                <a:gd name="T28" fmla="*/ 2147483647 w 266"/>
                <a:gd name="T29" fmla="*/ 2147483647 h 260"/>
                <a:gd name="T30" fmla="*/ 2147483647 w 266"/>
                <a:gd name="T31" fmla="*/ 2147483647 h 260"/>
                <a:gd name="T32" fmla="*/ 2147483647 w 266"/>
                <a:gd name="T33" fmla="*/ 2147483647 h 260"/>
                <a:gd name="T34" fmla="*/ 1645973144 w 266"/>
                <a:gd name="T35" fmla="*/ 2147483647 h 260"/>
                <a:gd name="T36" fmla="*/ 1434348164 w 266"/>
                <a:gd name="T37" fmla="*/ 2147483647 h 260"/>
                <a:gd name="T38" fmla="*/ 1081638248 w 266"/>
                <a:gd name="T39" fmla="*/ 2147483647 h 260"/>
                <a:gd name="T40" fmla="*/ 1316776576 w 266"/>
                <a:gd name="T41" fmla="*/ 2147483647 h 260"/>
                <a:gd name="T42" fmla="*/ 0 w 266"/>
                <a:gd name="T43" fmla="*/ 752904087 h 260"/>
                <a:gd name="T44" fmla="*/ 188111632 w 266"/>
                <a:gd name="T45" fmla="*/ 588207076 h 260"/>
                <a:gd name="T46" fmla="*/ 1481374860 w 266"/>
                <a:gd name="T47" fmla="*/ 588207076 h 260"/>
                <a:gd name="T48" fmla="*/ 2139763148 w 266"/>
                <a:gd name="T49" fmla="*/ 376449618 h 260"/>
                <a:gd name="T50" fmla="*/ 2147483647 w 266"/>
                <a:gd name="T51" fmla="*/ 2147483647 h 260"/>
                <a:gd name="T52" fmla="*/ 2139763148 w 266"/>
                <a:gd name="T53" fmla="*/ 376449618 h 260"/>
                <a:gd name="T54" fmla="*/ 2147483647 w 266"/>
                <a:gd name="T55" fmla="*/ 2147483647 h 260"/>
                <a:gd name="T56" fmla="*/ 2147483647 w 266"/>
                <a:gd name="T57" fmla="*/ 941131322 h 260"/>
                <a:gd name="T58" fmla="*/ 2147483647 w 266"/>
                <a:gd name="T59" fmla="*/ 1411696983 h 260"/>
                <a:gd name="T60" fmla="*/ 1481374860 w 266"/>
                <a:gd name="T61" fmla="*/ 2147483647 h 260"/>
                <a:gd name="T62" fmla="*/ 1246236532 w 266"/>
                <a:gd name="T63" fmla="*/ 1411696983 h 260"/>
                <a:gd name="T64" fmla="*/ 352709916 w 266"/>
                <a:gd name="T65" fmla="*/ 941131322 h 260"/>
                <a:gd name="T66" fmla="*/ 1481374860 w 266"/>
                <a:gd name="T67" fmla="*/ 2147483647 h 26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66" h="260">
                  <a:moveTo>
                    <a:pt x="53" y="0"/>
                  </a:moveTo>
                  <a:cubicBezTo>
                    <a:pt x="132" y="0"/>
                    <a:pt x="132" y="0"/>
                    <a:pt x="132" y="0"/>
                  </a:cubicBezTo>
                  <a:cubicBezTo>
                    <a:pt x="135" y="0"/>
                    <a:pt x="135" y="0"/>
                    <a:pt x="135" y="0"/>
                  </a:cubicBezTo>
                  <a:cubicBezTo>
                    <a:pt x="214" y="0"/>
                    <a:pt x="214" y="0"/>
                    <a:pt x="214" y="0"/>
                  </a:cubicBezTo>
                  <a:cubicBezTo>
                    <a:pt x="210" y="9"/>
                    <a:pt x="206" y="17"/>
                    <a:pt x="204" y="25"/>
                  </a:cubicBezTo>
                  <a:cubicBezTo>
                    <a:pt x="205" y="25"/>
                    <a:pt x="205" y="25"/>
                    <a:pt x="205" y="25"/>
                  </a:cubicBezTo>
                  <a:cubicBezTo>
                    <a:pt x="258" y="25"/>
                    <a:pt x="258" y="25"/>
                    <a:pt x="258" y="25"/>
                  </a:cubicBezTo>
                  <a:cubicBezTo>
                    <a:pt x="265" y="25"/>
                    <a:pt x="265" y="25"/>
                    <a:pt x="265" y="25"/>
                  </a:cubicBezTo>
                  <a:cubicBezTo>
                    <a:pt x="265" y="32"/>
                    <a:pt x="265" y="32"/>
                    <a:pt x="265" y="32"/>
                  </a:cubicBezTo>
                  <a:cubicBezTo>
                    <a:pt x="266" y="47"/>
                    <a:pt x="265" y="67"/>
                    <a:pt x="257" y="86"/>
                  </a:cubicBezTo>
                  <a:cubicBezTo>
                    <a:pt x="250" y="105"/>
                    <a:pt x="236" y="122"/>
                    <a:pt x="210" y="133"/>
                  </a:cubicBezTo>
                  <a:cubicBezTo>
                    <a:pt x="210" y="140"/>
                    <a:pt x="210" y="140"/>
                    <a:pt x="210" y="140"/>
                  </a:cubicBezTo>
                  <a:cubicBezTo>
                    <a:pt x="220" y="137"/>
                    <a:pt x="220" y="137"/>
                    <a:pt x="220" y="137"/>
                  </a:cubicBezTo>
                  <a:cubicBezTo>
                    <a:pt x="224" y="151"/>
                    <a:pt x="224" y="151"/>
                    <a:pt x="224" y="151"/>
                  </a:cubicBezTo>
                  <a:cubicBezTo>
                    <a:pt x="205" y="158"/>
                    <a:pt x="205" y="158"/>
                    <a:pt x="205" y="158"/>
                  </a:cubicBezTo>
                  <a:cubicBezTo>
                    <a:pt x="196" y="160"/>
                    <a:pt x="196" y="160"/>
                    <a:pt x="196" y="160"/>
                  </a:cubicBezTo>
                  <a:cubicBezTo>
                    <a:pt x="195" y="150"/>
                    <a:pt x="195" y="150"/>
                    <a:pt x="195" y="150"/>
                  </a:cubicBezTo>
                  <a:cubicBezTo>
                    <a:pt x="195" y="143"/>
                    <a:pt x="195" y="143"/>
                    <a:pt x="195" y="143"/>
                  </a:cubicBezTo>
                  <a:cubicBezTo>
                    <a:pt x="190" y="149"/>
                    <a:pt x="182" y="154"/>
                    <a:pt x="170" y="159"/>
                  </a:cubicBezTo>
                  <a:cubicBezTo>
                    <a:pt x="170" y="185"/>
                    <a:pt x="170" y="185"/>
                    <a:pt x="170" y="185"/>
                  </a:cubicBezTo>
                  <a:cubicBezTo>
                    <a:pt x="157" y="185"/>
                    <a:pt x="157" y="185"/>
                    <a:pt x="157" y="185"/>
                  </a:cubicBezTo>
                  <a:cubicBezTo>
                    <a:pt x="155" y="200"/>
                    <a:pt x="161" y="219"/>
                    <a:pt x="171" y="228"/>
                  </a:cubicBezTo>
                  <a:cubicBezTo>
                    <a:pt x="193" y="228"/>
                    <a:pt x="193" y="228"/>
                    <a:pt x="193" y="228"/>
                  </a:cubicBezTo>
                  <a:cubicBezTo>
                    <a:pt x="205" y="260"/>
                    <a:pt x="205" y="260"/>
                    <a:pt x="205" y="260"/>
                  </a:cubicBezTo>
                  <a:cubicBezTo>
                    <a:pt x="69" y="260"/>
                    <a:pt x="69" y="260"/>
                    <a:pt x="69" y="260"/>
                  </a:cubicBezTo>
                  <a:cubicBezTo>
                    <a:pt x="78" y="228"/>
                    <a:pt x="78" y="228"/>
                    <a:pt x="78" y="228"/>
                  </a:cubicBezTo>
                  <a:cubicBezTo>
                    <a:pt x="94" y="228"/>
                    <a:pt x="94" y="228"/>
                    <a:pt x="94" y="228"/>
                  </a:cubicBezTo>
                  <a:cubicBezTo>
                    <a:pt x="101" y="228"/>
                    <a:pt x="101" y="228"/>
                    <a:pt x="101" y="228"/>
                  </a:cubicBezTo>
                  <a:cubicBezTo>
                    <a:pt x="131" y="228"/>
                    <a:pt x="131" y="228"/>
                    <a:pt x="131" y="228"/>
                  </a:cubicBezTo>
                  <a:cubicBezTo>
                    <a:pt x="131" y="222"/>
                    <a:pt x="131" y="222"/>
                    <a:pt x="131" y="222"/>
                  </a:cubicBezTo>
                  <a:cubicBezTo>
                    <a:pt x="110" y="217"/>
                    <a:pt x="110" y="217"/>
                    <a:pt x="110" y="217"/>
                  </a:cubicBezTo>
                  <a:cubicBezTo>
                    <a:pt x="116" y="207"/>
                    <a:pt x="116" y="197"/>
                    <a:pt x="116" y="185"/>
                  </a:cubicBezTo>
                  <a:cubicBezTo>
                    <a:pt x="104" y="185"/>
                    <a:pt x="104" y="185"/>
                    <a:pt x="104" y="185"/>
                  </a:cubicBezTo>
                  <a:cubicBezTo>
                    <a:pt x="104" y="162"/>
                    <a:pt x="104" y="162"/>
                    <a:pt x="104" y="162"/>
                  </a:cubicBezTo>
                  <a:cubicBezTo>
                    <a:pt x="87" y="156"/>
                    <a:pt x="76" y="149"/>
                    <a:pt x="70" y="141"/>
                  </a:cubicBezTo>
                  <a:cubicBezTo>
                    <a:pt x="70" y="150"/>
                    <a:pt x="70" y="150"/>
                    <a:pt x="70" y="150"/>
                  </a:cubicBezTo>
                  <a:cubicBezTo>
                    <a:pt x="70" y="160"/>
                    <a:pt x="70" y="160"/>
                    <a:pt x="70" y="160"/>
                  </a:cubicBezTo>
                  <a:cubicBezTo>
                    <a:pt x="61" y="158"/>
                    <a:pt x="61" y="158"/>
                    <a:pt x="61" y="158"/>
                  </a:cubicBezTo>
                  <a:cubicBezTo>
                    <a:pt x="42" y="151"/>
                    <a:pt x="42" y="151"/>
                    <a:pt x="42" y="151"/>
                  </a:cubicBezTo>
                  <a:cubicBezTo>
                    <a:pt x="46" y="137"/>
                    <a:pt x="46" y="137"/>
                    <a:pt x="46" y="137"/>
                  </a:cubicBezTo>
                  <a:cubicBezTo>
                    <a:pt x="56" y="140"/>
                    <a:pt x="56" y="140"/>
                    <a:pt x="56" y="140"/>
                  </a:cubicBezTo>
                  <a:cubicBezTo>
                    <a:pt x="56" y="133"/>
                    <a:pt x="56" y="133"/>
                    <a:pt x="56" y="133"/>
                  </a:cubicBezTo>
                  <a:cubicBezTo>
                    <a:pt x="30" y="122"/>
                    <a:pt x="16" y="105"/>
                    <a:pt x="8" y="86"/>
                  </a:cubicBezTo>
                  <a:cubicBezTo>
                    <a:pt x="1" y="67"/>
                    <a:pt x="0" y="47"/>
                    <a:pt x="0" y="32"/>
                  </a:cubicBezTo>
                  <a:cubicBezTo>
                    <a:pt x="0" y="25"/>
                    <a:pt x="0" y="25"/>
                    <a:pt x="0" y="25"/>
                  </a:cubicBezTo>
                  <a:cubicBezTo>
                    <a:pt x="8" y="25"/>
                    <a:pt x="8" y="25"/>
                    <a:pt x="8" y="25"/>
                  </a:cubicBezTo>
                  <a:cubicBezTo>
                    <a:pt x="61" y="25"/>
                    <a:pt x="61" y="25"/>
                    <a:pt x="61" y="25"/>
                  </a:cubicBezTo>
                  <a:cubicBezTo>
                    <a:pt x="63" y="25"/>
                    <a:pt x="63" y="25"/>
                    <a:pt x="63" y="25"/>
                  </a:cubicBezTo>
                  <a:cubicBezTo>
                    <a:pt x="61" y="17"/>
                    <a:pt x="57" y="9"/>
                    <a:pt x="53" y="0"/>
                  </a:cubicBezTo>
                  <a:close/>
                  <a:moveTo>
                    <a:pt x="91" y="16"/>
                  </a:moveTo>
                  <a:cubicBezTo>
                    <a:pt x="92" y="52"/>
                    <a:pt x="91" y="81"/>
                    <a:pt x="86" y="113"/>
                  </a:cubicBezTo>
                  <a:cubicBezTo>
                    <a:pt x="89" y="128"/>
                    <a:pt x="101" y="131"/>
                    <a:pt x="112" y="135"/>
                  </a:cubicBezTo>
                  <a:cubicBezTo>
                    <a:pt x="113" y="16"/>
                    <a:pt x="113" y="16"/>
                    <a:pt x="113" y="16"/>
                  </a:cubicBezTo>
                  <a:cubicBezTo>
                    <a:pt x="105" y="16"/>
                    <a:pt x="99" y="16"/>
                    <a:pt x="91" y="16"/>
                  </a:cubicBezTo>
                  <a:close/>
                  <a:moveTo>
                    <a:pt x="199" y="60"/>
                  </a:moveTo>
                  <a:cubicBezTo>
                    <a:pt x="199" y="83"/>
                    <a:pt x="205" y="102"/>
                    <a:pt x="204" y="118"/>
                  </a:cubicBezTo>
                  <a:cubicBezTo>
                    <a:pt x="226" y="110"/>
                    <a:pt x="238" y="95"/>
                    <a:pt x="244" y="80"/>
                  </a:cubicBezTo>
                  <a:cubicBezTo>
                    <a:pt x="250" y="67"/>
                    <a:pt x="251" y="52"/>
                    <a:pt x="251" y="40"/>
                  </a:cubicBezTo>
                  <a:cubicBezTo>
                    <a:pt x="212" y="40"/>
                    <a:pt x="212" y="40"/>
                    <a:pt x="212" y="40"/>
                  </a:cubicBezTo>
                  <a:cubicBezTo>
                    <a:pt x="212" y="60"/>
                    <a:pt x="212" y="60"/>
                    <a:pt x="212" y="60"/>
                  </a:cubicBezTo>
                  <a:cubicBezTo>
                    <a:pt x="199" y="60"/>
                    <a:pt x="199" y="60"/>
                    <a:pt x="199" y="60"/>
                  </a:cubicBezTo>
                  <a:close/>
                  <a:moveTo>
                    <a:pt x="63" y="119"/>
                  </a:moveTo>
                  <a:cubicBezTo>
                    <a:pt x="62" y="103"/>
                    <a:pt x="68" y="83"/>
                    <a:pt x="68" y="60"/>
                  </a:cubicBezTo>
                  <a:cubicBezTo>
                    <a:pt x="53" y="60"/>
                    <a:pt x="53" y="60"/>
                    <a:pt x="53" y="60"/>
                  </a:cubicBezTo>
                  <a:cubicBezTo>
                    <a:pt x="53" y="40"/>
                    <a:pt x="53" y="40"/>
                    <a:pt x="53" y="40"/>
                  </a:cubicBezTo>
                  <a:cubicBezTo>
                    <a:pt x="15" y="40"/>
                    <a:pt x="15" y="40"/>
                    <a:pt x="15" y="40"/>
                  </a:cubicBezTo>
                  <a:cubicBezTo>
                    <a:pt x="15" y="52"/>
                    <a:pt x="16" y="67"/>
                    <a:pt x="22" y="80"/>
                  </a:cubicBezTo>
                  <a:cubicBezTo>
                    <a:pt x="28" y="96"/>
                    <a:pt x="40" y="110"/>
                    <a:pt x="63" y="119"/>
                  </a:cubicBezTo>
                  <a:close/>
                </a:path>
              </a:pathLst>
            </a:custGeom>
            <a:solidFill>
              <a:srgbClr val="E46C0A"/>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cs typeface="+mn-ea"/>
              </a:endParaRPr>
            </a:p>
          </p:txBody>
        </p:sp>
      </p:grpSp>
      <p:grpSp>
        <p:nvGrpSpPr>
          <p:cNvPr id="13" name="组合 12"/>
          <p:cNvGrpSpPr/>
          <p:nvPr/>
        </p:nvGrpSpPr>
        <p:grpSpPr bwMode="auto">
          <a:xfrm>
            <a:off x="787401" y="1109134"/>
            <a:ext cx="3551767" cy="1754717"/>
            <a:chOff x="590947" y="832101"/>
            <a:chExt cx="2662744" cy="1315376"/>
          </a:xfrm>
        </p:grpSpPr>
        <p:sp>
          <p:nvSpPr>
            <p:cNvPr id="14" name="TextBox 13"/>
            <p:cNvSpPr txBox="1"/>
            <p:nvPr/>
          </p:nvSpPr>
          <p:spPr bwMode="auto">
            <a:xfrm rot="18450410">
              <a:off x="2426726" y="1320512"/>
              <a:ext cx="1315376" cy="338554"/>
            </a:xfrm>
            <a:prstGeom prst="rect">
              <a:avLst/>
            </a:prstGeom>
            <a:noFill/>
          </p:spPr>
          <p:txBody>
            <a:bodyPr spcFirstLastPara="1" wrap="none">
              <a:prstTxWarp prst="textArchUp">
                <a:avLst/>
              </a:prstTxWarp>
              <a:spAutoFit/>
            </a:bodyPr>
            <a:lstStyle>
              <a:defPPr>
                <a:defRPr lang="zh-CN"/>
              </a:defPPr>
              <a:lvl1pPr algn="ctr" fontAlgn="auto">
                <a:spcBef>
                  <a:spcPts val="0"/>
                </a:spcBef>
                <a:spcAft>
                  <a:spcPts val="0"/>
                </a:spcAft>
                <a:defRPr sz="1600" spc="300">
                  <a:solidFill>
                    <a:srgbClr val="F83003"/>
                  </a:solidFill>
                  <a:latin typeface="微软雅黑" panose="020B0503020204020204" pitchFamily="34" charset="-122"/>
                  <a:ea typeface="微软雅黑" panose="020B0503020204020204" pitchFamily="34" charset="-122"/>
                  <a:cs typeface="Arial" panose="020B0604020202020204" pitchFamily="34" charset="0"/>
                </a:defRPr>
              </a:lvl1pPr>
            </a:lstStyle>
            <a:p>
              <a:pPr>
                <a:defRPr/>
              </a:pPr>
              <a:r>
                <a:rPr lang="zh-CN" altLang="en-US" sz="2135" spc="800" dirty="0">
                  <a:solidFill>
                    <a:srgbClr val="969696"/>
                  </a:solidFill>
                  <a:ea typeface="+mn-ea"/>
                  <a:cs typeface="+mn-ea"/>
                </a:rPr>
                <a:t>添加标题</a:t>
              </a:r>
              <a:endParaRPr lang="zh-CN" altLang="en-US" sz="2135" spc="800" dirty="0">
                <a:solidFill>
                  <a:srgbClr val="969696"/>
                </a:solidFill>
                <a:ea typeface="+mn-ea"/>
                <a:cs typeface="+mn-ea"/>
              </a:endParaRPr>
            </a:p>
          </p:txBody>
        </p:sp>
        <p:sp>
          <p:nvSpPr>
            <p:cNvPr id="15" name="矩形 1"/>
            <p:cNvSpPr>
              <a:spLocks noChangeArrowheads="1"/>
            </p:cNvSpPr>
            <p:nvPr/>
          </p:nvSpPr>
          <p:spPr bwMode="auto">
            <a:xfrm>
              <a:off x="590947" y="1086803"/>
              <a:ext cx="1958745" cy="761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335">
                  <a:solidFill>
                    <a:srgbClr val="969696"/>
                  </a:solidFill>
                  <a:latin typeface="+mn-ea"/>
                  <a:ea typeface="+mn-ea"/>
                  <a:cs typeface="+mn-ea"/>
                </a:rPr>
                <a:t>单击此处添加段落文本单击此处添加段落文本单击此处添加段落文本单击此处添加段落</a:t>
              </a:r>
              <a:endParaRPr lang="zh-CN" altLang="en-US" sz="1335">
                <a:solidFill>
                  <a:srgbClr val="969696"/>
                </a:solidFill>
                <a:latin typeface="+mn-ea"/>
                <a:ea typeface="+mn-ea"/>
                <a:cs typeface="+mn-ea"/>
              </a:endParaRPr>
            </a:p>
          </p:txBody>
        </p:sp>
        <p:cxnSp>
          <p:nvCxnSpPr>
            <p:cNvPr id="16" name="直接连接符 15"/>
            <p:cNvCxnSpPr/>
            <p:nvPr/>
          </p:nvCxnSpPr>
          <p:spPr>
            <a:xfrm flipH="1">
              <a:off x="611577" y="1006638"/>
              <a:ext cx="2434237"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flipH="1">
              <a:off x="611577" y="1909472"/>
              <a:ext cx="1937550"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grpSp>
      <p:grpSp>
        <p:nvGrpSpPr>
          <p:cNvPr id="18" name="组合 17"/>
          <p:cNvGrpSpPr/>
          <p:nvPr/>
        </p:nvGrpSpPr>
        <p:grpSpPr bwMode="auto">
          <a:xfrm>
            <a:off x="7814734" y="1727200"/>
            <a:ext cx="3577167" cy="1898650"/>
            <a:chOff x="5860697" y="1294821"/>
            <a:chExt cx="2683247" cy="1423974"/>
          </a:xfrm>
        </p:grpSpPr>
        <p:sp>
          <p:nvSpPr>
            <p:cNvPr id="19" name="TextBox 18"/>
            <p:cNvSpPr txBox="1"/>
            <p:nvPr/>
          </p:nvSpPr>
          <p:spPr bwMode="auto">
            <a:xfrm rot="4301572">
              <a:off x="5317987" y="1837531"/>
              <a:ext cx="1423974" cy="338554"/>
            </a:xfrm>
            <a:prstGeom prst="rect">
              <a:avLst/>
            </a:prstGeom>
            <a:noFill/>
          </p:spPr>
          <p:txBody>
            <a:bodyPr spcFirstLastPara="1" wrap="none">
              <a:prstTxWarp prst="textArchUp">
                <a:avLst/>
              </a:prstTxWarp>
              <a:spAutoFit/>
            </a:bodyPr>
            <a:lstStyle>
              <a:defPPr>
                <a:defRPr lang="zh-CN"/>
              </a:defPPr>
              <a:lvl1pPr algn="ctr" fontAlgn="auto">
                <a:spcBef>
                  <a:spcPts val="0"/>
                </a:spcBef>
                <a:spcAft>
                  <a:spcPts val="0"/>
                </a:spcAft>
                <a:defRPr sz="1600" spc="300">
                  <a:solidFill>
                    <a:srgbClr val="EBAC07"/>
                  </a:solidFill>
                  <a:latin typeface="微软雅黑" panose="020B0503020204020204" pitchFamily="34" charset="-122"/>
                  <a:ea typeface="微软雅黑" panose="020B0503020204020204" pitchFamily="34" charset="-122"/>
                  <a:cs typeface="Arial" panose="020B0604020202020204" pitchFamily="34" charset="0"/>
                </a:defRPr>
              </a:lvl1pPr>
            </a:lstStyle>
            <a:p>
              <a:pPr>
                <a:defRPr/>
              </a:pPr>
              <a:r>
                <a:rPr lang="zh-CN" altLang="en-US" sz="2135" spc="800" dirty="0">
                  <a:solidFill>
                    <a:srgbClr val="969696"/>
                  </a:solidFill>
                  <a:ea typeface="+mn-ea"/>
                  <a:cs typeface="+mn-ea"/>
                </a:rPr>
                <a:t>添加标题</a:t>
              </a:r>
              <a:endParaRPr lang="zh-CN" altLang="en-US" sz="2135" spc="800" dirty="0">
                <a:solidFill>
                  <a:srgbClr val="969696"/>
                </a:solidFill>
                <a:ea typeface="+mn-ea"/>
                <a:cs typeface="+mn-ea"/>
              </a:endParaRPr>
            </a:p>
          </p:txBody>
        </p:sp>
        <p:cxnSp>
          <p:nvCxnSpPr>
            <p:cNvPr id="20" name="直接连接符 19"/>
            <p:cNvCxnSpPr/>
            <p:nvPr/>
          </p:nvCxnSpPr>
          <p:spPr>
            <a:xfrm flipH="1">
              <a:off x="6233812" y="1420233"/>
              <a:ext cx="2310132"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flipH="1">
              <a:off x="6419574" y="2434635"/>
              <a:ext cx="2124370"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sp>
          <p:nvSpPr>
            <p:cNvPr id="22" name="矩形 1"/>
            <p:cNvSpPr>
              <a:spLocks noChangeArrowheads="1"/>
            </p:cNvSpPr>
            <p:nvPr/>
          </p:nvSpPr>
          <p:spPr bwMode="auto">
            <a:xfrm>
              <a:off x="6502524" y="1530112"/>
              <a:ext cx="1958745" cy="761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335">
                  <a:solidFill>
                    <a:srgbClr val="969696"/>
                  </a:solidFill>
                  <a:latin typeface="+mn-ea"/>
                  <a:ea typeface="+mn-ea"/>
                  <a:cs typeface="+mn-ea"/>
                </a:rPr>
                <a:t>单击此处添加段落文本单击此处添加段落文本单击此处添加段落文本单击此处添加段落</a:t>
              </a:r>
              <a:endParaRPr lang="zh-CN" altLang="en-US" sz="1335">
                <a:solidFill>
                  <a:srgbClr val="969696"/>
                </a:solidFill>
                <a:latin typeface="+mn-ea"/>
                <a:ea typeface="+mn-ea"/>
                <a:cs typeface="+mn-ea"/>
              </a:endParaRPr>
            </a:p>
          </p:txBody>
        </p:sp>
      </p:grpSp>
      <p:grpSp>
        <p:nvGrpSpPr>
          <p:cNvPr id="23" name="组合 22"/>
          <p:cNvGrpSpPr/>
          <p:nvPr/>
        </p:nvGrpSpPr>
        <p:grpSpPr bwMode="auto">
          <a:xfrm>
            <a:off x="814918" y="4999569"/>
            <a:ext cx="4599516" cy="1039819"/>
            <a:chOff x="611188" y="3750067"/>
            <a:chExt cx="3449858" cy="779469"/>
          </a:xfrm>
        </p:grpSpPr>
        <p:sp>
          <p:nvSpPr>
            <p:cNvPr id="24" name="TextBox 23"/>
            <p:cNvSpPr txBox="1"/>
            <p:nvPr/>
          </p:nvSpPr>
          <p:spPr bwMode="auto">
            <a:xfrm rot="12890949">
              <a:off x="2860170" y="3848127"/>
              <a:ext cx="1200876" cy="338554"/>
            </a:xfrm>
            <a:prstGeom prst="rect">
              <a:avLst/>
            </a:prstGeom>
            <a:noFill/>
          </p:spPr>
          <p:txBody>
            <a:bodyPr spcFirstLastPara="1" wrap="none">
              <a:prstTxWarp prst="textArchUp">
                <a:avLst/>
              </a:prstTxWarp>
              <a:spAutoFit/>
            </a:bodyPr>
            <a:lstStyle>
              <a:defPPr>
                <a:defRPr lang="zh-CN"/>
              </a:defPPr>
              <a:lvl1pPr algn="ctr" fontAlgn="auto">
                <a:spcBef>
                  <a:spcPts val="0"/>
                </a:spcBef>
                <a:spcAft>
                  <a:spcPts val="0"/>
                </a:spcAft>
                <a:defRPr sz="1600" spc="300">
                  <a:solidFill>
                    <a:srgbClr val="8BC925"/>
                  </a:solidFill>
                  <a:latin typeface="微软雅黑" panose="020B0503020204020204" pitchFamily="34" charset="-122"/>
                  <a:ea typeface="微软雅黑" panose="020B0503020204020204" pitchFamily="34" charset="-122"/>
                  <a:cs typeface="Arial" panose="020B0604020202020204" pitchFamily="34" charset="0"/>
                </a:defRPr>
              </a:lvl1pPr>
            </a:lstStyle>
            <a:p>
              <a:pPr>
                <a:defRPr/>
              </a:pPr>
              <a:r>
                <a:rPr lang="zh-CN" altLang="en-US" sz="2135" spc="800" dirty="0">
                  <a:solidFill>
                    <a:srgbClr val="969696"/>
                  </a:solidFill>
                  <a:ea typeface="+mn-ea"/>
                  <a:cs typeface="+mn-ea"/>
                </a:rPr>
                <a:t>添加标题</a:t>
              </a:r>
              <a:endParaRPr lang="zh-CN" altLang="en-US" sz="2135" spc="800" dirty="0">
                <a:solidFill>
                  <a:srgbClr val="969696"/>
                </a:solidFill>
                <a:ea typeface="+mn-ea"/>
                <a:cs typeface="+mn-ea"/>
              </a:endParaRPr>
            </a:p>
          </p:txBody>
        </p:sp>
        <p:cxnSp>
          <p:nvCxnSpPr>
            <p:cNvPr id="25" name="直接连接符 24"/>
            <p:cNvCxnSpPr/>
            <p:nvPr/>
          </p:nvCxnSpPr>
          <p:spPr>
            <a:xfrm flipH="1">
              <a:off x="611188" y="3750067"/>
              <a:ext cx="2435381"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flipH="1">
              <a:off x="611188" y="4516442"/>
              <a:ext cx="3097410"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sp>
          <p:nvSpPr>
            <p:cNvPr id="27" name="矩形 1"/>
            <p:cNvSpPr>
              <a:spLocks noChangeArrowheads="1"/>
            </p:cNvSpPr>
            <p:nvPr/>
          </p:nvSpPr>
          <p:spPr bwMode="auto">
            <a:xfrm>
              <a:off x="659043" y="3768319"/>
              <a:ext cx="1958745" cy="761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335">
                  <a:solidFill>
                    <a:srgbClr val="969696"/>
                  </a:solidFill>
                  <a:latin typeface="+mn-ea"/>
                  <a:ea typeface="+mn-ea"/>
                  <a:cs typeface="+mn-ea"/>
                </a:rPr>
                <a:t>单击此处添加段落文本单击此处添加段落文本单击此处添加段落文本单击此处添加段落</a:t>
              </a:r>
              <a:endParaRPr lang="zh-CN" altLang="en-US" sz="1335">
                <a:solidFill>
                  <a:srgbClr val="969696"/>
                </a:solidFill>
                <a:latin typeface="+mn-ea"/>
                <a:ea typeface="+mn-ea"/>
                <a:cs typeface="+mn-ea"/>
              </a:endParaRPr>
            </a:p>
          </p:txBody>
        </p:sp>
      </p:grpSp>
      <p:sp>
        <p:nvSpPr>
          <p:cNvPr id="28"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9" name="文本框 28"/>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500"/>
                            </p:stCondLst>
                            <p:childTnLst>
                              <p:par>
                                <p:cTn id="11" presetID="12" presetClass="entr" presetSubtype="8" fill="hold" nodeType="after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p:tgtEl>
                                          <p:spTgt spid="18"/>
                                        </p:tgtEl>
                                        <p:attrNameLst>
                                          <p:attrName>ppt_x</p:attrName>
                                        </p:attrNameLst>
                                      </p:cBhvr>
                                      <p:tavLst>
                                        <p:tav tm="0">
                                          <p:val>
                                            <p:strVal val="#ppt_x-#ppt_w*1.125000"/>
                                          </p:val>
                                        </p:tav>
                                        <p:tav tm="100000">
                                          <p:val>
                                            <p:strVal val="#ppt_x"/>
                                          </p:val>
                                        </p:tav>
                                      </p:tavLst>
                                    </p:anim>
                                    <p:animEffect transition="in" filter="wipe(right)">
                                      <p:cBhvr>
                                        <p:cTn id="14" dur="500"/>
                                        <p:tgtEl>
                                          <p:spTgt spid="18"/>
                                        </p:tgtEl>
                                      </p:cBhvr>
                                    </p:animEffect>
                                  </p:childTnLst>
                                </p:cTn>
                              </p:par>
                            </p:childTnLst>
                          </p:cTn>
                        </p:par>
                        <p:par>
                          <p:cTn id="15" fill="hold">
                            <p:stCondLst>
                              <p:cond delay="1000"/>
                            </p:stCondLst>
                            <p:childTnLst>
                              <p:par>
                                <p:cTn id="16" presetID="12" presetClass="entr" presetSubtype="8"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anim calcmode="lin" valueType="num">
                                      <p:cBhvr additive="base">
                                        <p:cTn id="18" dur="500"/>
                                        <p:tgtEl>
                                          <p:spTgt spid="13"/>
                                        </p:tgtEl>
                                        <p:attrNameLst>
                                          <p:attrName>ppt_x</p:attrName>
                                        </p:attrNameLst>
                                      </p:cBhvr>
                                      <p:tavLst>
                                        <p:tav tm="0">
                                          <p:val>
                                            <p:strVal val="#ppt_x-#ppt_w*1.125000"/>
                                          </p:val>
                                        </p:tav>
                                        <p:tav tm="100000">
                                          <p:val>
                                            <p:strVal val="#ppt_x"/>
                                          </p:val>
                                        </p:tav>
                                      </p:tavLst>
                                    </p:anim>
                                    <p:animEffect transition="in" filter="wipe(right)">
                                      <p:cBhvr>
                                        <p:cTn id="19" dur="500"/>
                                        <p:tgtEl>
                                          <p:spTgt spid="13"/>
                                        </p:tgtEl>
                                      </p:cBhvr>
                                    </p:animEffect>
                                  </p:childTnLst>
                                </p:cTn>
                              </p:par>
                            </p:childTnLst>
                          </p:cTn>
                        </p:par>
                        <p:par>
                          <p:cTn id="20" fill="hold">
                            <p:stCondLst>
                              <p:cond delay="1500"/>
                            </p:stCondLst>
                            <p:childTnLst>
                              <p:par>
                                <p:cTn id="21" presetID="12" presetClass="entr" presetSubtype="8"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 calcmode="lin" valueType="num">
                                      <p:cBhvr additive="base">
                                        <p:cTn id="23" dur="500"/>
                                        <p:tgtEl>
                                          <p:spTgt spid="23"/>
                                        </p:tgtEl>
                                        <p:attrNameLst>
                                          <p:attrName>ppt_x</p:attrName>
                                        </p:attrNameLst>
                                      </p:cBhvr>
                                      <p:tavLst>
                                        <p:tav tm="0">
                                          <p:val>
                                            <p:strVal val="#ppt_x-#ppt_w*1.125000"/>
                                          </p:val>
                                        </p:tav>
                                        <p:tav tm="100000">
                                          <p:val>
                                            <p:strVal val="#ppt_x"/>
                                          </p:val>
                                        </p:tav>
                                      </p:tavLst>
                                    </p:anim>
                                    <p:animEffect transition="in" filter="wipe(right)">
                                      <p:cBhvr>
                                        <p:cTn id="24" dur="500"/>
                                        <p:tgtEl>
                                          <p:spTgt spid="23"/>
                                        </p:tgtEl>
                                      </p:cBhvr>
                                    </p:animEffect>
                                  </p:childTnLst>
                                </p:cTn>
                              </p:par>
                            </p:childTnLst>
                          </p:cTn>
                        </p:par>
                        <p:par>
                          <p:cTn id="25" fill="hold">
                            <p:stCondLst>
                              <p:cond delay="2000"/>
                            </p:stCondLst>
                            <p:childTnLst>
                              <p:par>
                                <p:cTn id="26" presetID="22" presetClass="entr" presetSubtype="4" fill="hold" grpId="0" nodeType="after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wipe(down)">
                                      <p:cBhvr>
                                        <p:cTn id="28" dur="125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1345535" y="1604433"/>
            <a:ext cx="798650" cy="3870388"/>
            <a:chOff x="1009883" y="1203598"/>
            <a:chExt cx="598254" cy="2902813"/>
          </a:xfrm>
        </p:grpSpPr>
        <p:sp>
          <p:nvSpPr>
            <p:cNvPr id="6" name="TextBox 5"/>
            <p:cNvSpPr txBox="1"/>
            <p:nvPr/>
          </p:nvSpPr>
          <p:spPr bwMode="auto">
            <a:xfrm>
              <a:off x="1123956" y="3883319"/>
              <a:ext cx="404903"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0%</a:t>
              </a:r>
              <a:endParaRPr lang="zh-CN" altLang="en-US" sz="1335" spc="400" dirty="0">
                <a:solidFill>
                  <a:srgbClr val="969696"/>
                </a:solidFill>
                <a:latin typeface="+mn-ea"/>
                <a:cs typeface="+mn-ea"/>
              </a:endParaRPr>
            </a:p>
          </p:txBody>
        </p:sp>
        <p:sp>
          <p:nvSpPr>
            <p:cNvPr id="7" name="TextBox 6"/>
            <p:cNvSpPr txBox="1"/>
            <p:nvPr/>
          </p:nvSpPr>
          <p:spPr bwMode="auto">
            <a:xfrm>
              <a:off x="1009884" y="3221327"/>
              <a:ext cx="518977"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20%</a:t>
              </a:r>
              <a:endParaRPr lang="zh-CN" altLang="en-US" sz="1335" spc="400" dirty="0">
                <a:solidFill>
                  <a:srgbClr val="969696"/>
                </a:solidFill>
                <a:latin typeface="+mn-ea"/>
                <a:cs typeface="+mn-ea"/>
              </a:endParaRPr>
            </a:p>
          </p:txBody>
        </p:sp>
        <p:sp>
          <p:nvSpPr>
            <p:cNvPr id="8" name="TextBox 7"/>
            <p:cNvSpPr txBox="1"/>
            <p:nvPr/>
          </p:nvSpPr>
          <p:spPr bwMode="auto">
            <a:xfrm>
              <a:off x="1009883" y="2889536"/>
              <a:ext cx="518977"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30%</a:t>
              </a:r>
              <a:endParaRPr lang="zh-CN" altLang="en-US" sz="1335" spc="400" dirty="0">
                <a:solidFill>
                  <a:srgbClr val="969696"/>
                </a:solidFill>
                <a:latin typeface="+mn-ea"/>
                <a:cs typeface="+mn-ea"/>
              </a:endParaRPr>
            </a:p>
          </p:txBody>
        </p:sp>
        <p:sp>
          <p:nvSpPr>
            <p:cNvPr id="9" name="TextBox 8"/>
            <p:cNvSpPr txBox="1"/>
            <p:nvPr/>
          </p:nvSpPr>
          <p:spPr bwMode="auto">
            <a:xfrm>
              <a:off x="1009883" y="2557747"/>
              <a:ext cx="518977"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40%</a:t>
              </a:r>
              <a:endParaRPr lang="zh-CN" altLang="en-US" sz="1335" spc="400" dirty="0">
                <a:solidFill>
                  <a:srgbClr val="969696"/>
                </a:solidFill>
                <a:latin typeface="+mn-ea"/>
                <a:cs typeface="+mn-ea"/>
              </a:endParaRPr>
            </a:p>
          </p:txBody>
        </p:sp>
        <p:sp>
          <p:nvSpPr>
            <p:cNvPr id="10" name="TextBox 9"/>
            <p:cNvSpPr txBox="1"/>
            <p:nvPr/>
          </p:nvSpPr>
          <p:spPr bwMode="auto">
            <a:xfrm>
              <a:off x="1009883" y="2227544"/>
              <a:ext cx="518977"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50%</a:t>
              </a:r>
              <a:endParaRPr lang="zh-CN" altLang="en-US" sz="1335" spc="400" dirty="0">
                <a:solidFill>
                  <a:srgbClr val="969696"/>
                </a:solidFill>
                <a:latin typeface="+mn-ea"/>
                <a:cs typeface="+mn-ea"/>
              </a:endParaRPr>
            </a:p>
          </p:txBody>
        </p:sp>
        <p:sp>
          <p:nvSpPr>
            <p:cNvPr id="11" name="TextBox 10"/>
            <p:cNvSpPr txBox="1"/>
            <p:nvPr/>
          </p:nvSpPr>
          <p:spPr bwMode="auto">
            <a:xfrm>
              <a:off x="1009883" y="1895753"/>
              <a:ext cx="518977"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60%</a:t>
              </a:r>
              <a:endParaRPr lang="zh-CN" altLang="en-US" sz="1335" spc="400" dirty="0">
                <a:solidFill>
                  <a:srgbClr val="969696"/>
                </a:solidFill>
                <a:latin typeface="+mn-ea"/>
                <a:cs typeface="+mn-ea"/>
              </a:endParaRPr>
            </a:p>
          </p:txBody>
        </p:sp>
        <p:sp>
          <p:nvSpPr>
            <p:cNvPr id="12" name="TextBox 11"/>
            <p:cNvSpPr txBox="1"/>
            <p:nvPr/>
          </p:nvSpPr>
          <p:spPr bwMode="auto">
            <a:xfrm>
              <a:off x="1009883" y="3551529"/>
              <a:ext cx="518977"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10%</a:t>
              </a:r>
              <a:endParaRPr lang="zh-CN" altLang="en-US" sz="1335" spc="400" dirty="0">
                <a:solidFill>
                  <a:srgbClr val="969696"/>
                </a:solidFill>
                <a:latin typeface="+mn-ea"/>
                <a:cs typeface="+mn-ea"/>
              </a:endParaRPr>
            </a:p>
          </p:txBody>
        </p:sp>
        <p:cxnSp>
          <p:nvCxnSpPr>
            <p:cNvPr id="13" name="直接连接符 14"/>
            <p:cNvCxnSpPr>
              <a:cxnSpLocks noChangeShapeType="1"/>
            </p:cNvCxnSpPr>
            <p:nvPr/>
          </p:nvCxnSpPr>
          <p:spPr bwMode="auto">
            <a:xfrm>
              <a:off x="1608137" y="1203598"/>
              <a:ext cx="0" cy="2880000"/>
            </a:xfrm>
            <a:prstGeom prst="line">
              <a:avLst/>
            </a:prstGeom>
            <a:noFill/>
            <a:ln w="19050">
              <a:solidFill>
                <a:srgbClr val="254061"/>
              </a:solidFill>
              <a:miter lim="800000"/>
            </a:ln>
          </p:spPr>
        </p:cxnSp>
        <p:cxnSp>
          <p:nvCxnSpPr>
            <p:cNvPr id="17" name="直接连接符 15"/>
            <p:cNvCxnSpPr>
              <a:cxnSpLocks noChangeShapeType="1"/>
            </p:cNvCxnSpPr>
            <p:nvPr/>
          </p:nvCxnSpPr>
          <p:spPr bwMode="auto">
            <a:xfrm>
              <a:off x="1500137" y="4036219"/>
              <a:ext cx="108000" cy="0"/>
            </a:xfrm>
            <a:prstGeom prst="line">
              <a:avLst/>
            </a:prstGeom>
            <a:noFill/>
            <a:ln w="9525">
              <a:solidFill>
                <a:srgbClr val="254061"/>
              </a:solidFill>
              <a:miter lim="800000"/>
            </a:ln>
          </p:spPr>
        </p:cxnSp>
        <p:cxnSp>
          <p:nvCxnSpPr>
            <p:cNvPr id="18" name="直接连接符 16"/>
            <p:cNvCxnSpPr>
              <a:cxnSpLocks noChangeShapeType="1"/>
            </p:cNvCxnSpPr>
            <p:nvPr/>
          </p:nvCxnSpPr>
          <p:spPr bwMode="auto">
            <a:xfrm>
              <a:off x="1500137" y="3700663"/>
              <a:ext cx="108000" cy="0"/>
            </a:xfrm>
            <a:prstGeom prst="line">
              <a:avLst/>
            </a:prstGeom>
            <a:noFill/>
            <a:ln w="9525">
              <a:solidFill>
                <a:srgbClr val="254061"/>
              </a:solidFill>
              <a:miter lim="800000"/>
            </a:ln>
          </p:spPr>
        </p:cxnSp>
        <p:cxnSp>
          <p:nvCxnSpPr>
            <p:cNvPr id="19" name="直接连接符 17"/>
            <p:cNvCxnSpPr>
              <a:cxnSpLocks noChangeShapeType="1"/>
            </p:cNvCxnSpPr>
            <p:nvPr/>
          </p:nvCxnSpPr>
          <p:spPr bwMode="auto">
            <a:xfrm>
              <a:off x="1500137" y="3365105"/>
              <a:ext cx="108000" cy="0"/>
            </a:xfrm>
            <a:prstGeom prst="line">
              <a:avLst/>
            </a:prstGeom>
            <a:noFill/>
            <a:ln w="9525">
              <a:solidFill>
                <a:srgbClr val="254061"/>
              </a:solidFill>
              <a:miter lim="800000"/>
            </a:ln>
          </p:spPr>
        </p:cxnSp>
        <p:cxnSp>
          <p:nvCxnSpPr>
            <p:cNvPr id="20" name="直接连接符 18"/>
            <p:cNvCxnSpPr>
              <a:cxnSpLocks noChangeShapeType="1"/>
            </p:cNvCxnSpPr>
            <p:nvPr/>
          </p:nvCxnSpPr>
          <p:spPr bwMode="auto">
            <a:xfrm>
              <a:off x="1500137" y="3029547"/>
              <a:ext cx="108000" cy="0"/>
            </a:xfrm>
            <a:prstGeom prst="line">
              <a:avLst/>
            </a:prstGeom>
            <a:noFill/>
            <a:ln w="9525">
              <a:solidFill>
                <a:srgbClr val="254061"/>
              </a:solidFill>
              <a:miter lim="800000"/>
            </a:ln>
          </p:spPr>
        </p:cxnSp>
        <p:cxnSp>
          <p:nvCxnSpPr>
            <p:cNvPr id="21" name="直接连接符 19"/>
            <p:cNvCxnSpPr>
              <a:cxnSpLocks noChangeShapeType="1"/>
            </p:cNvCxnSpPr>
            <p:nvPr/>
          </p:nvCxnSpPr>
          <p:spPr bwMode="auto">
            <a:xfrm>
              <a:off x="1500137" y="2693989"/>
              <a:ext cx="108000" cy="0"/>
            </a:xfrm>
            <a:prstGeom prst="line">
              <a:avLst/>
            </a:prstGeom>
            <a:noFill/>
            <a:ln w="9525">
              <a:solidFill>
                <a:srgbClr val="254061"/>
              </a:solidFill>
              <a:miter lim="800000"/>
            </a:ln>
          </p:spPr>
        </p:cxnSp>
        <p:cxnSp>
          <p:nvCxnSpPr>
            <p:cNvPr id="22" name="直接连接符 20"/>
            <p:cNvCxnSpPr>
              <a:cxnSpLocks noChangeShapeType="1"/>
            </p:cNvCxnSpPr>
            <p:nvPr/>
          </p:nvCxnSpPr>
          <p:spPr bwMode="auto">
            <a:xfrm>
              <a:off x="1500137" y="2358431"/>
              <a:ext cx="108000" cy="0"/>
            </a:xfrm>
            <a:prstGeom prst="line">
              <a:avLst/>
            </a:prstGeom>
            <a:noFill/>
            <a:ln w="9525">
              <a:solidFill>
                <a:srgbClr val="254061"/>
              </a:solidFill>
              <a:miter lim="800000"/>
            </a:ln>
          </p:spPr>
        </p:cxnSp>
        <p:cxnSp>
          <p:nvCxnSpPr>
            <p:cNvPr id="23" name="直接连接符 21"/>
            <p:cNvCxnSpPr>
              <a:cxnSpLocks noChangeShapeType="1"/>
            </p:cNvCxnSpPr>
            <p:nvPr/>
          </p:nvCxnSpPr>
          <p:spPr bwMode="auto">
            <a:xfrm>
              <a:off x="1500137" y="2022873"/>
              <a:ext cx="108000" cy="0"/>
            </a:xfrm>
            <a:prstGeom prst="line">
              <a:avLst/>
            </a:prstGeom>
            <a:noFill/>
            <a:ln w="9525">
              <a:solidFill>
                <a:srgbClr val="254061"/>
              </a:solidFill>
              <a:miter lim="800000"/>
            </a:ln>
          </p:spPr>
        </p:cxnSp>
        <p:sp>
          <p:nvSpPr>
            <p:cNvPr id="24" name="TextBox 23"/>
            <p:cNvSpPr txBox="1"/>
            <p:nvPr/>
          </p:nvSpPr>
          <p:spPr bwMode="auto">
            <a:xfrm>
              <a:off x="1009883" y="1565551"/>
              <a:ext cx="518977"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70%</a:t>
              </a:r>
              <a:endParaRPr lang="zh-CN" altLang="en-US" sz="1335" spc="400" dirty="0">
                <a:solidFill>
                  <a:srgbClr val="969696"/>
                </a:solidFill>
                <a:latin typeface="+mn-ea"/>
                <a:cs typeface="+mn-ea"/>
              </a:endParaRPr>
            </a:p>
          </p:txBody>
        </p:sp>
        <p:cxnSp>
          <p:nvCxnSpPr>
            <p:cNvPr id="25" name="直接连接符 23"/>
            <p:cNvCxnSpPr>
              <a:cxnSpLocks noChangeShapeType="1"/>
            </p:cNvCxnSpPr>
            <p:nvPr/>
          </p:nvCxnSpPr>
          <p:spPr bwMode="auto">
            <a:xfrm>
              <a:off x="1500137" y="1687315"/>
              <a:ext cx="108000" cy="0"/>
            </a:xfrm>
            <a:prstGeom prst="line">
              <a:avLst/>
            </a:prstGeom>
            <a:noFill/>
            <a:ln w="9525">
              <a:solidFill>
                <a:srgbClr val="254061"/>
              </a:solidFill>
              <a:miter lim="800000"/>
            </a:ln>
          </p:spPr>
        </p:cxnSp>
        <p:sp>
          <p:nvSpPr>
            <p:cNvPr id="26" name="TextBox 25"/>
            <p:cNvSpPr txBox="1"/>
            <p:nvPr/>
          </p:nvSpPr>
          <p:spPr bwMode="auto">
            <a:xfrm>
              <a:off x="1009883" y="1233761"/>
              <a:ext cx="518977"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80%</a:t>
              </a:r>
              <a:endParaRPr lang="zh-CN" altLang="en-US" sz="1335" spc="400" dirty="0">
                <a:solidFill>
                  <a:srgbClr val="969696"/>
                </a:solidFill>
                <a:latin typeface="+mn-ea"/>
                <a:cs typeface="+mn-ea"/>
              </a:endParaRPr>
            </a:p>
          </p:txBody>
        </p:sp>
        <p:cxnSp>
          <p:nvCxnSpPr>
            <p:cNvPr id="27" name="直接连接符 25"/>
            <p:cNvCxnSpPr>
              <a:cxnSpLocks noChangeShapeType="1"/>
            </p:cNvCxnSpPr>
            <p:nvPr/>
          </p:nvCxnSpPr>
          <p:spPr bwMode="auto">
            <a:xfrm>
              <a:off x="1500137" y="1351757"/>
              <a:ext cx="108000" cy="0"/>
            </a:xfrm>
            <a:prstGeom prst="line">
              <a:avLst/>
            </a:prstGeom>
            <a:noFill/>
            <a:ln w="9525">
              <a:solidFill>
                <a:srgbClr val="254061"/>
              </a:solidFill>
              <a:miter lim="800000"/>
            </a:ln>
          </p:spPr>
        </p:cxnSp>
      </p:grpSp>
      <p:grpSp>
        <p:nvGrpSpPr>
          <p:cNvPr id="28" name="组合 27"/>
          <p:cNvGrpSpPr/>
          <p:nvPr/>
        </p:nvGrpSpPr>
        <p:grpSpPr bwMode="auto">
          <a:xfrm>
            <a:off x="2316005" y="4292600"/>
            <a:ext cx="710451" cy="1404211"/>
            <a:chOff x="1737054" y="3218806"/>
            <a:chExt cx="532426" cy="1053706"/>
          </a:xfrm>
        </p:grpSpPr>
        <p:sp>
          <p:nvSpPr>
            <p:cNvPr id="29" name="Freeform 46"/>
            <p:cNvSpPr/>
            <p:nvPr/>
          </p:nvSpPr>
          <p:spPr bwMode="auto">
            <a:xfrm>
              <a:off x="1827212" y="3543300"/>
              <a:ext cx="347663" cy="498475"/>
            </a:xfrm>
            <a:custGeom>
              <a:avLst/>
              <a:gdLst>
                <a:gd name="T0" fmla="*/ 347663 w 219"/>
                <a:gd name="T1" fmla="*/ 498475 h 314"/>
                <a:gd name="T2" fmla="*/ 0 w 219"/>
                <a:gd name="T3" fmla="*/ 498475 h 314"/>
                <a:gd name="T4" fmla="*/ 0 w 219"/>
                <a:gd name="T5" fmla="*/ 0 h 314"/>
                <a:gd name="T6" fmla="*/ 347663 w 219"/>
                <a:gd name="T7" fmla="*/ 0 h 314"/>
                <a:gd name="T8" fmla="*/ 347663 w 219"/>
                <a:gd name="T9" fmla="*/ 498475 h 314"/>
                <a:gd name="T10" fmla="*/ 347663 w 219"/>
                <a:gd name="T11" fmla="*/ 498475 h 3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9" h="314">
                  <a:moveTo>
                    <a:pt x="219" y="314"/>
                  </a:moveTo>
                  <a:lnTo>
                    <a:pt x="0" y="314"/>
                  </a:lnTo>
                  <a:lnTo>
                    <a:pt x="0" y="0"/>
                  </a:lnTo>
                  <a:lnTo>
                    <a:pt x="219" y="0"/>
                  </a:lnTo>
                  <a:lnTo>
                    <a:pt x="219" y="314"/>
                  </a:lnTo>
                  <a:close/>
                </a:path>
              </a:pathLst>
            </a:custGeom>
            <a:solidFill>
              <a:srgbClr val="25406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cs typeface="+mn-ea"/>
              </a:endParaRPr>
            </a:p>
          </p:txBody>
        </p:sp>
        <p:sp>
          <p:nvSpPr>
            <p:cNvPr id="30" name="TextBox 29"/>
            <p:cNvSpPr txBox="1"/>
            <p:nvPr/>
          </p:nvSpPr>
          <p:spPr bwMode="auto">
            <a:xfrm>
              <a:off x="1761081" y="4041559"/>
              <a:ext cx="484373" cy="230953"/>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endParaRPr lang="zh-CN" altLang="en-US" sz="1400" spc="400" dirty="0">
                <a:solidFill>
                  <a:srgbClr val="969696"/>
                </a:solidFill>
                <a:latin typeface="+mn-ea"/>
                <a:cs typeface="+mn-ea"/>
              </a:endParaRPr>
            </a:p>
          </p:txBody>
        </p:sp>
        <p:sp>
          <p:nvSpPr>
            <p:cNvPr id="31" name="TextBox 30"/>
            <p:cNvSpPr txBox="1"/>
            <p:nvPr/>
          </p:nvSpPr>
          <p:spPr bwMode="auto">
            <a:xfrm>
              <a:off x="1737054" y="3218806"/>
              <a:ext cx="532426" cy="230953"/>
            </a:xfrm>
            <a:prstGeom prst="rect">
              <a:avLst/>
            </a:prstGeom>
            <a:noFill/>
          </p:spPr>
          <p:txBody>
            <a:bodyPr wrap="none">
              <a:spAutoFit/>
            </a:bodyPr>
            <a:lstStyle/>
            <a:p>
              <a:pPr algn="ctr">
                <a:defRPr/>
              </a:pPr>
              <a:r>
                <a:rPr lang="en-US" altLang="zh-CN" sz="1400" spc="400" dirty="0">
                  <a:solidFill>
                    <a:srgbClr val="969696"/>
                  </a:solidFill>
                  <a:latin typeface="+mn-ea"/>
                  <a:cs typeface="+mn-ea"/>
                </a:rPr>
                <a:t>15%</a:t>
              </a:r>
              <a:endParaRPr lang="zh-CN" altLang="en-US" sz="1400" spc="400" dirty="0">
                <a:solidFill>
                  <a:srgbClr val="969696"/>
                </a:solidFill>
                <a:latin typeface="+mn-ea"/>
                <a:cs typeface="+mn-ea"/>
              </a:endParaRPr>
            </a:p>
          </p:txBody>
        </p:sp>
      </p:grpSp>
      <p:grpSp>
        <p:nvGrpSpPr>
          <p:cNvPr id="32" name="组合 31"/>
          <p:cNvGrpSpPr/>
          <p:nvPr/>
        </p:nvGrpSpPr>
        <p:grpSpPr bwMode="auto">
          <a:xfrm>
            <a:off x="3361637" y="4051301"/>
            <a:ext cx="710451" cy="1645511"/>
            <a:chOff x="2521914" y="3037914"/>
            <a:chExt cx="532426" cy="1234601"/>
          </a:xfrm>
        </p:grpSpPr>
        <p:sp>
          <p:nvSpPr>
            <p:cNvPr id="33" name="Freeform 47"/>
            <p:cNvSpPr/>
            <p:nvPr/>
          </p:nvSpPr>
          <p:spPr bwMode="auto">
            <a:xfrm>
              <a:off x="2603500" y="3300413"/>
              <a:ext cx="336550" cy="741362"/>
            </a:xfrm>
            <a:custGeom>
              <a:avLst/>
              <a:gdLst>
                <a:gd name="T0" fmla="*/ 336550 w 212"/>
                <a:gd name="T1" fmla="*/ 741362 h 467"/>
                <a:gd name="T2" fmla="*/ 0 w 212"/>
                <a:gd name="T3" fmla="*/ 741362 h 467"/>
                <a:gd name="T4" fmla="*/ 0 w 212"/>
                <a:gd name="T5" fmla="*/ 0 h 467"/>
                <a:gd name="T6" fmla="*/ 336550 w 212"/>
                <a:gd name="T7" fmla="*/ 0 h 467"/>
                <a:gd name="T8" fmla="*/ 336550 w 212"/>
                <a:gd name="T9" fmla="*/ 741362 h 467"/>
                <a:gd name="T10" fmla="*/ 336550 w 212"/>
                <a:gd name="T11" fmla="*/ 741362 h 4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 h="467">
                  <a:moveTo>
                    <a:pt x="212" y="467"/>
                  </a:moveTo>
                  <a:lnTo>
                    <a:pt x="0" y="467"/>
                  </a:lnTo>
                  <a:lnTo>
                    <a:pt x="0" y="0"/>
                  </a:lnTo>
                  <a:lnTo>
                    <a:pt x="212" y="0"/>
                  </a:lnTo>
                  <a:lnTo>
                    <a:pt x="212" y="467"/>
                  </a:lnTo>
                  <a:close/>
                </a:path>
              </a:pathLst>
            </a:custGeom>
            <a:solidFill>
              <a:srgbClr val="E46C0A"/>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cs typeface="+mn-ea"/>
              </a:endParaRPr>
            </a:p>
          </p:txBody>
        </p:sp>
        <p:sp>
          <p:nvSpPr>
            <p:cNvPr id="34" name="TextBox 33"/>
            <p:cNvSpPr txBox="1"/>
            <p:nvPr/>
          </p:nvSpPr>
          <p:spPr bwMode="auto">
            <a:xfrm>
              <a:off x="2545941" y="4041595"/>
              <a:ext cx="484373" cy="230920"/>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endParaRPr lang="zh-CN" altLang="en-US" sz="1400" spc="400" dirty="0">
                <a:solidFill>
                  <a:srgbClr val="969696"/>
                </a:solidFill>
                <a:latin typeface="+mn-ea"/>
                <a:cs typeface="+mn-ea"/>
              </a:endParaRPr>
            </a:p>
          </p:txBody>
        </p:sp>
        <p:sp>
          <p:nvSpPr>
            <p:cNvPr id="35" name="TextBox 34"/>
            <p:cNvSpPr txBox="1"/>
            <p:nvPr/>
          </p:nvSpPr>
          <p:spPr bwMode="auto">
            <a:xfrm>
              <a:off x="2521914" y="3037914"/>
              <a:ext cx="532426" cy="230920"/>
            </a:xfrm>
            <a:prstGeom prst="rect">
              <a:avLst/>
            </a:prstGeom>
            <a:noFill/>
          </p:spPr>
          <p:txBody>
            <a:bodyPr wrap="none">
              <a:spAutoFit/>
            </a:bodyPr>
            <a:lstStyle/>
            <a:p>
              <a:pPr algn="ctr">
                <a:defRPr/>
              </a:pPr>
              <a:r>
                <a:rPr lang="en-US" altLang="zh-CN" sz="1400" spc="400" dirty="0">
                  <a:solidFill>
                    <a:srgbClr val="969696"/>
                  </a:solidFill>
                  <a:latin typeface="+mn-ea"/>
                  <a:cs typeface="+mn-ea"/>
                </a:rPr>
                <a:t>22%</a:t>
              </a:r>
              <a:endParaRPr lang="zh-CN" altLang="en-US" sz="1400" spc="400" dirty="0">
                <a:solidFill>
                  <a:srgbClr val="969696"/>
                </a:solidFill>
                <a:latin typeface="+mn-ea"/>
                <a:cs typeface="+mn-ea"/>
              </a:endParaRPr>
            </a:p>
          </p:txBody>
        </p:sp>
      </p:grpSp>
      <p:grpSp>
        <p:nvGrpSpPr>
          <p:cNvPr id="36" name="组合 35"/>
          <p:cNvGrpSpPr/>
          <p:nvPr/>
        </p:nvGrpSpPr>
        <p:grpSpPr bwMode="auto">
          <a:xfrm>
            <a:off x="4377634" y="3282952"/>
            <a:ext cx="710451" cy="2413860"/>
            <a:chOff x="3283914" y="2461850"/>
            <a:chExt cx="532426" cy="1810670"/>
          </a:xfrm>
        </p:grpSpPr>
        <p:sp>
          <p:nvSpPr>
            <p:cNvPr id="37" name="Freeform 48"/>
            <p:cNvSpPr/>
            <p:nvPr/>
          </p:nvSpPr>
          <p:spPr bwMode="auto">
            <a:xfrm>
              <a:off x="3368675" y="2687638"/>
              <a:ext cx="336550" cy="1354137"/>
            </a:xfrm>
            <a:custGeom>
              <a:avLst/>
              <a:gdLst>
                <a:gd name="T0" fmla="*/ 336550 w 212"/>
                <a:gd name="T1" fmla="*/ 1354137 h 853"/>
                <a:gd name="T2" fmla="*/ 0 w 212"/>
                <a:gd name="T3" fmla="*/ 1354137 h 853"/>
                <a:gd name="T4" fmla="*/ 0 w 212"/>
                <a:gd name="T5" fmla="*/ 0 h 853"/>
                <a:gd name="T6" fmla="*/ 336550 w 212"/>
                <a:gd name="T7" fmla="*/ 0 h 853"/>
                <a:gd name="T8" fmla="*/ 336550 w 212"/>
                <a:gd name="T9" fmla="*/ 1354137 h 853"/>
                <a:gd name="T10" fmla="*/ 336550 w 212"/>
                <a:gd name="T11" fmla="*/ 1354137 h 85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 h="853">
                  <a:moveTo>
                    <a:pt x="212" y="853"/>
                  </a:moveTo>
                  <a:lnTo>
                    <a:pt x="0" y="853"/>
                  </a:lnTo>
                  <a:lnTo>
                    <a:pt x="0" y="0"/>
                  </a:lnTo>
                  <a:lnTo>
                    <a:pt x="212" y="0"/>
                  </a:lnTo>
                  <a:lnTo>
                    <a:pt x="212" y="853"/>
                  </a:lnTo>
                  <a:close/>
                </a:path>
              </a:pathLst>
            </a:custGeom>
            <a:solidFill>
              <a:srgbClr val="25406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cs typeface="+mn-ea"/>
              </a:endParaRPr>
            </a:p>
          </p:txBody>
        </p:sp>
        <p:sp>
          <p:nvSpPr>
            <p:cNvPr id="38" name="TextBox 37"/>
            <p:cNvSpPr txBox="1"/>
            <p:nvPr/>
          </p:nvSpPr>
          <p:spPr bwMode="auto">
            <a:xfrm>
              <a:off x="3307941" y="4041652"/>
              <a:ext cx="484373" cy="230868"/>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endParaRPr lang="zh-CN" altLang="en-US" sz="1400" spc="400" dirty="0">
                <a:solidFill>
                  <a:srgbClr val="969696"/>
                </a:solidFill>
                <a:latin typeface="+mn-ea"/>
                <a:cs typeface="+mn-ea"/>
              </a:endParaRPr>
            </a:p>
          </p:txBody>
        </p:sp>
        <p:sp>
          <p:nvSpPr>
            <p:cNvPr id="39" name="TextBox 38"/>
            <p:cNvSpPr txBox="1"/>
            <p:nvPr/>
          </p:nvSpPr>
          <p:spPr bwMode="auto">
            <a:xfrm>
              <a:off x="3283914" y="2461850"/>
              <a:ext cx="532426" cy="230868"/>
            </a:xfrm>
            <a:prstGeom prst="rect">
              <a:avLst/>
            </a:prstGeom>
            <a:noFill/>
          </p:spPr>
          <p:txBody>
            <a:bodyPr wrap="none">
              <a:spAutoFit/>
            </a:bodyPr>
            <a:lstStyle/>
            <a:p>
              <a:pPr algn="ctr">
                <a:defRPr/>
              </a:pPr>
              <a:r>
                <a:rPr lang="en-US" altLang="zh-CN" sz="1400" spc="400" dirty="0">
                  <a:solidFill>
                    <a:srgbClr val="969696"/>
                  </a:solidFill>
                  <a:latin typeface="+mn-ea"/>
                  <a:cs typeface="+mn-ea"/>
                </a:rPr>
                <a:t>40%</a:t>
              </a:r>
              <a:endParaRPr lang="zh-CN" altLang="en-US" sz="1400" spc="400" dirty="0">
                <a:solidFill>
                  <a:srgbClr val="969696"/>
                </a:solidFill>
                <a:latin typeface="+mn-ea"/>
                <a:cs typeface="+mn-ea"/>
              </a:endParaRPr>
            </a:p>
          </p:txBody>
        </p:sp>
      </p:grpSp>
      <p:grpSp>
        <p:nvGrpSpPr>
          <p:cNvPr id="40" name="组合 39"/>
          <p:cNvGrpSpPr/>
          <p:nvPr/>
        </p:nvGrpSpPr>
        <p:grpSpPr bwMode="auto">
          <a:xfrm>
            <a:off x="5374583" y="3378200"/>
            <a:ext cx="710451" cy="2318610"/>
            <a:chOff x="4030674" y="2533858"/>
            <a:chExt cx="532426" cy="1738669"/>
          </a:xfrm>
        </p:grpSpPr>
        <p:sp>
          <p:nvSpPr>
            <p:cNvPr id="41" name="Freeform 49"/>
            <p:cNvSpPr/>
            <p:nvPr/>
          </p:nvSpPr>
          <p:spPr bwMode="auto">
            <a:xfrm>
              <a:off x="4133850" y="2838450"/>
              <a:ext cx="336550" cy="1203325"/>
            </a:xfrm>
            <a:custGeom>
              <a:avLst/>
              <a:gdLst>
                <a:gd name="T0" fmla="*/ 336550 w 212"/>
                <a:gd name="T1" fmla="*/ 1203325 h 758"/>
                <a:gd name="T2" fmla="*/ 0 w 212"/>
                <a:gd name="T3" fmla="*/ 1203325 h 758"/>
                <a:gd name="T4" fmla="*/ 0 w 212"/>
                <a:gd name="T5" fmla="*/ 0 h 758"/>
                <a:gd name="T6" fmla="*/ 336550 w 212"/>
                <a:gd name="T7" fmla="*/ 0 h 758"/>
                <a:gd name="T8" fmla="*/ 336550 w 212"/>
                <a:gd name="T9" fmla="*/ 1203325 h 758"/>
                <a:gd name="T10" fmla="*/ 336550 w 212"/>
                <a:gd name="T11" fmla="*/ 1203325 h 7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 h="758">
                  <a:moveTo>
                    <a:pt x="212" y="758"/>
                  </a:moveTo>
                  <a:lnTo>
                    <a:pt x="0" y="758"/>
                  </a:lnTo>
                  <a:lnTo>
                    <a:pt x="0" y="0"/>
                  </a:lnTo>
                  <a:lnTo>
                    <a:pt x="212" y="0"/>
                  </a:lnTo>
                  <a:lnTo>
                    <a:pt x="212" y="758"/>
                  </a:lnTo>
                  <a:close/>
                </a:path>
              </a:pathLst>
            </a:custGeom>
            <a:solidFill>
              <a:srgbClr val="E46C0A"/>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cs typeface="+mn-ea"/>
              </a:endParaRPr>
            </a:p>
          </p:txBody>
        </p:sp>
        <p:sp>
          <p:nvSpPr>
            <p:cNvPr id="42" name="TextBox 41"/>
            <p:cNvSpPr txBox="1"/>
            <p:nvPr/>
          </p:nvSpPr>
          <p:spPr bwMode="auto">
            <a:xfrm>
              <a:off x="4054700" y="4041733"/>
              <a:ext cx="484373" cy="230794"/>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endParaRPr lang="zh-CN" altLang="en-US" sz="1400" spc="400" dirty="0">
                <a:solidFill>
                  <a:srgbClr val="969696"/>
                </a:solidFill>
                <a:latin typeface="+mn-ea"/>
                <a:cs typeface="+mn-ea"/>
              </a:endParaRPr>
            </a:p>
          </p:txBody>
        </p:sp>
        <p:sp>
          <p:nvSpPr>
            <p:cNvPr id="43" name="TextBox 42"/>
            <p:cNvSpPr txBox="1"/>
            <p:nvPr/>
          </p:nvSpPr>
          <p:spPr bwMode="auto">
            <a:xfrm>
              <a:off x="4030674" y="2533858"/>
              <a:ext cx="532426" cy="230794"/>
            </a:xfrm>
            <a:prstGeom prst="rect">
              <a:avLst/>
            </a:prstGeom>
            <a:noFill/>
          </p:spPr>
          <p:txBody>
            <a:bodyPr wrap="none">
              <a:spAutoFit/>
            </a:bodyPr>
            <a:lstStyle/>
            <a:p>
              <a:pPr algn="ctr">
                <a:defRPr/>
              </a:pPr>
              <a:r>
                <a:rPr lang="en-US" altLang="zh-CN" sz="1400" spc="400" dirty="0">
                  <a:solidFill>
                    <a:srgbClr val="969696"/>
                  </a:solidFill>
                  <a:latin typeface="+mn-ea"/>
                  <a:cs typeface="+mn-ea"/>
                </a:rPr>
                <a:t>36%</a:t>
              </a:r>
              <a:endParaRPr lang="zh-CN" altLang="en-US" sz="1400" spc="400" dirty="0">
                <a:solidFill>
                  <a:srgbClr val="969696"/>
                </a:solidFill>
                <a:latin typeface="+mn-ea"/>
                <a:cs typeface="+mn-ea"/>
              </a:endParaRPr>
            </a:p>
          </p:txBody>
        </p:sp>
      </p:grpSp>
      <p:grpSp>
        <p:nvGrpSpPr>
          <p:cNvPr id="44" name="组合 43"/>
          <p:cNvGrpSpPr/>
          <p:nvPr/>
        </p:nvGrpSpPr>
        <p:grpSpPr bwMode="auto">
          <a:xfrm>
            <a:off x="6409632" y="2226734"/>
            <a:ext cx="710451" cy="3470077"/>
            <a:chOff x="4807914" y="1669762"/>
            <a:chExt cx="532426" cy="2602760"/>
          </a:xfrm>
        </p:grpSpPr>
        <p:sp>
          <p:nvSpPr>
            <p:cNvPr id="45" name="Freeform 50"/>
            <p:cNvSpPr/>
            <p:nvPr/>
          </p:nvSpPr>
          <p:spPr bwMode="auto">
            <a:xfrm>
              <a:off x="4899025" y="1946275"/>
              <a:ext cx="334963" cy="2095500"/>
            </a:xfrm>
            <a:custGeom>
              <a:avLst/>
              <a:gdLst>
                <a:gd name="T0" fmla="*/ 334963 w 211"/>
                <a:gd name="T1" fmla="*/ 2095500 h 1320"/>
                <a:gd name="T2" fmla="*/ 0 w 211"/>
                <a:gd name="T3" fmla="*/ 2095500 h 1320"/>
                <a:gd name="T4" fmla="*/ 0 w 211"/>
                <a:gd name="T5" fmla="*/ 0 h 1320"/>
                <a:gd name="T6" fmla="*/ 334963 w 211"/>
                <a:gd name="T7" fmla="*/ 0 h 1320"/>
                <a:gd name="T8" fmla="*/ 334963 w 211"/>
                <a:gd name="T9" fmla="*/ 2095500 h 1320"/>
                <a:gd name="T10" fmla="*/ 334963 w 211"/>
                <a:gd name="T11" fmla="*/ 2095500 h 13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1" h="1320">
                  <a:moveTo>
                    <a:pt x="211" y="1320"/>
                  </a:moveTo>
                  <a:lnTo>
                    <a:pt x="0" y="1320"/>
                  </a:lnTo>
                  <a:lnTo>
                    <a:pt x="0" y="0"/>
                  </a:lnTo>
                  <a:lnTo>
                    <a:pt x="211" y="0"/>
                  </a:lnTo>
                  <a:lnTo>
                    <a:pt x="211" y="1320"/>
                  </a:lnTo>
                  <a:close/>
                </a:path>
              </a:pathLst>
            </a:custGeom>
            <a:solidFill>
              <a:srgbClr val="25406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cs typeface="+mn-ea"/>
              </a:endParaRPr>
            </a:p>
          </p:txBody>
        </p:sp>
        <p:sp>
          <p:nvSpPr>
            <p:cNvPr id="46" name="TextBox 45"/>
            <p:cNvSpPr txBox="1"/>
            <p:nvPr/>
          </p:nvSpPr>
          <p:spPr bwMode="auto">
            <a:xfrm>
              <a:off x="4831941" y="4041671"/>
              <a:ext cx="484373" cy="230851"/>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endParaRPr lang="zh-CN" altLang="en-US" sz="1400" spc="400" dirty="0">
                <a:solidFill>
                  <a:srgbClr val="969696"/>
                </a:solidFill>
                <a:latin typeface="+mn-ea"/>
                <a:cs typeface="+mn-ea"/>
              </a:endParaRPr>
            </a:p>
          </p:txBody>
        </p:sp>
        <p:sp>
          <p:nvSpPr>
            <p:cNvPr id="47" name="TextBox 46"/>
            <p:cNvSpPr txBox="1"/>
            <p:nvPr/>
          </p:nvSpPr>
          <p:spPr bwMode="auto">
            <a:xfrm>
              <a:off x="4807914" y="1669762"/>
              <a:ext cx="532426" cy="230851"/>
            </a:xfrm>
            <a:prstGeom prst="rect">
              <a:avLst/>
            </a:prstGeom>
            <a:noFill/>
          </p:spPr>
          <p:txBody>
            <a:bodyPr wrap="none">
              <a:spAutoFit/>
            </a:bodyPr>
            <a:lstStyle/>
            <a:p>
              <a:pPr algn="ctr">
                <a:defRPr/>
              </a:pPr>
              <a:r>
                <a:rPr lang="en-US" altLang="zh-CN" sz="1400" spc="400" dirty="0">
                  <a:solidFill>
                    <a:srgbClr val="969696"/>
                  </a:solidFill>
                  <a:latin typeface="+mn-ea"/>
                  <a:cs typeface="+mn-ea"/>
                </a:rPr>
                <a:t>62%</a:t>
              </a:r>
              <a:endParaRPr lang="zh-CN" altLang="en-US" sz="1400" spc="400" dirty="0">
                <a:solidFill>
                  <a:srgbClr val="969696"/>
                </a:solidFill>
                <a:latin typeface="+mn-ea"/>
                <a:cs typeface="+mn-ea"/>
              </a:endParaRPr>
            </a:p>
          </p:txBody>
        </p:sp>
      </p:grpSp>
      <p:grpSp>
        <p:nvGrpSpPr>
          <p:cNvPr id="48" name="组合 47"/>
          <p:cNvGrpSpPr/>
          <p:nvPr/>
        </p:nvGrpSpPr>
        <p:grpSpPr bwMode="auto">
          <a:xfrm>
            <a:off x="7436215" y="1466852"/>
            <a:ext cx="710451" cy="4229960"/>
            <a:chOff x="5577534" y="1100867"/>
            <a:chExt cx="532426" cy="3171663"/>
          </a:xfrm>
        </p:grpSpPr>
        <p:sp>
          <p:nvSpPr>
            <p:cNvPr id="49" name="Freeform 51"/>
            <p:cNvSpPr/>
            <p:nvPr/>
          </p:nvSpPr>
          <p:spPr bwMode="auto">
            <a:xfrm>
              <a:off x="5662612" y="1438275"/>
              <a:ext cx="336550" cy="2603500"/>
            </a:xfrm>
            <a:custGeom>
              <a:avLst/>
              <a:gdLst>
                <a:gd name="T0" fmla="*/ 336550 w 212"/>
                <a:gd name="T1" fmla="*/ 2603500 h 1640"/>
                <a:gd name="T2" fmla="*/ 0 w 212"/>
                <a:gd name="T3" fmla="*/ 2603500 h 1640"/>
                <a:gd name="T4" fmla="*/ 0 w 212"/>
                <a:gd name="T5" fmla="*/ 0 h 1640"/>
                <a:gd name="T6" fmla="*/ 336550 w 212"/>
                <a:gd name="T7" fmla="*/ 0 h 1640"/>
                <a:gd name="T8" fmla="*/ 336550 w 212"/>
                <a:gd name="T9" fmla="*/ 2603500 h 1640"/>
                <a:gd name="T10" fmla="*/ 336550 w 212"/>
                <a:gd name="T11" fmla="*/ 2603500 h 164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 h="1640">
                  <a:moveTo>
                    <a:pt x="212" y="1640"/>
                  </a:moveTo>
                  <a:lnTo>
                    <a:pt x="0" y="1640"/>
                  </a:lnTo>
                  <a:lnTo>
                    <a:pt x="0" y="0"/>
                  </a:lnTo>
                  <a:lnTo>
                    <a:pt x="212" y="0"/>
                  </a:lnTo>
                  <a:lnTo>
                    <a:pt x="212" y="1640"/>
                  </a:lnTo>
                  <a:close/>
                </a:path>
              </a:pathLst>
            </a:custGeom>
            <a:solidFill>
              <a:srgbClr val="E46C0A"/>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cs typeface="+mn-ea"/>
              </a:endParaRPr>
            </a:p>
          </p:txBody>
        </p:sp>
        <p:sp>
          <p:nvSpPr>
            <p:cNvPr id="50" name="TextBox 49"/>
            <p:cNvSpPr txBox="1"/>
            <p:nvPr/>
          </p:nvSpPr>
          <p:spPr bwMode="auto">
            <a:xfrm>
              <a:off x="5601560" y="4041756"/>
              <a:ext cx="484373" cy="230774"/>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endParaRPr lang="zh-CN" altLang="en-US" sz="1400" spc="400" dirty="0">
                <a:solidFill>
                  <a:srgbClr val="969696"/>
                </a:solidFill>
                <a:latin typeface="+mn-ea"/>
                <a:cs typeface="+mn-ea"/>
              </a:endParaRPr>
            </a:p>
          </p:txBody>
        </p:sp>
        <p:sp>
          <p:nvSpPr>
            <p:cNvPr id="51" name="TextBox 50"/>
            <p:cNvSpPr txBox="1"/>
            <p:nvPr/>
          </p:nvSpPr>
          <p:spPr bwMode="auto">
            <a:xfrm>
              <a:off x="5577534" y="1100867"/>
              <a:ext cx="532426" cy="230774"/>
            </a:xfrm>
            <a:prstGeom prst="rect">
              <a:avLst/>
            </a:prstGeom>
            <a:noFill/>
          </p:spPr>
          <p:txBody>
            <a:bodyPr wrap="none">
              <a:spAutoFit/>
            </a:bodyPr>
            <a:lstStyle/>
            <a:p>
              <a:pPr algn="ctr">
                <a:defRPr/>
              </a:pPr>
              <a:r>
                <a:rPr lang="en-US" altLang="zh-CN" sz="1400" spc="400" dirty="0">
                  <a:solidFill>
                    <a:srgbClr val="969696"/>
                  </a:solidFill>
                  <a:latin typeface="+mn-ea"/>
                  <a:cs typeface="+mn-ea"/>
                </a:rPr>
                <a:t>78%</a:t>
              </a:r>
              <a:endParaRPr lang="zh-CN" altLang="en-US" sz="1400" spc="400" dirty="0">
                <a:solidFill>
                  <a:srgbClr val="969696"/>
                </a:solidFill>
                <a:latin typeface="+mn-ea"/>
                <a:cs typeface="+mn-ea"/>
              </a:endParaRPr>
            </a:p>
          </p:txBody>
        </p:sp>
      </p:grpSp>
      <p:sp>
        <p:nvSpPr>
          <p:cNvPr id="52" name="矩形 1"/>
          <p:cNvSpPr>
            <a:spLocks noChangeArrowheads="1"/>
          </p:cNvSpPr>
          <p:nvPr/>
        </p:nvSpPr>
        <p:spPr bwMode="auto">
          <a:xfrm>
            <a:off x="8496300" y="3526367"/>
            <a:ext cx="2880784"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150000"/>
              </a:lnSpc>
              <a:spcBef>
                <a:spcPts val="1335"/>
              </a:spcBef>
              <a:buFont typeface="Arial" panose="020B0604020202020204" pitchFamily="34" charset="0"/>
              <a:buChar char="•"/>
            </a:pPr>
            <a:r>
              <a:rPr lang="zh-CN" altLang="en-US" sz="1600" dirty="0">
                <a:solidFill>
                  <a:srgbClr val="969696"/>
                </a:solidFill>
                <a:latin typeface="+mn-ea"/>
                <a:cs typeface="+mn-ea"/>
              </a:rPr>
              <a:t>单击此处添加段落文本单击此处添加段落文本单击此处添加段落文本单击此处</a:t>
            </a:r>
            <a:endParaRPr lang="zh-CN" altLang="en-US" sz="1600" dirty="0">
              <a:solidFill>
                <a:srgbClr val="969696"/>
              </a:solidFill>
              <a:latin typeface="+mn-ea"/>
              <a:cs typeface="+mn-ea"/>
            </a:endParaRPr>
          </a:p>
        </p:txBody>
      </p:sp>
      <p:sp>
        <p:nvSpPr>
          <p:cNvPr id="53"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54" name="文本框 53"/>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28"/>
                                        </p:tgtEl>
                                        <p:attrNameLst>
                                          <p:attrName>style.visibility</p:attrName>
                                        </p:attrNameLst>
                                      </p:cBhvr>
                                      <p:to>
                                        <p:strVal val="visible"/>
                                      </p:to>
                                    </p:set>
                                    <p:anim calcmode="lin" valueType="num">
                                      <p:cBhvr additive="base">
                                        <p:cTn id="12" dur="500" fill="hold"/>
                                        <p:tgtEl>
                                          <p:spTgt spid="28"/>
                                        </p:tgtEl>
                                        <p:attrNameLst>
                                          <p:attrName>ppt_x</p:attrName>
                                        </p:attrNameLst>
                                      </p:cBhvr>
                                      <p:tavLst>
                                        <p:tav tm="0">
                                          <p:val>
                                            <p:strVal val="#ppt_x"/>
                                          </p:val>
                                        </p:tav>
                                        <p:tav tm="100000">
                                          <p:val>
                                            <p:strVal val="#ppt_x"/>
                                          </p:val>
                                        </p:tav>
                                      </p:tavLst>
                                    </p:anim>
                                    <p:anim calcmode="lin" valueType="num">
                                      <p:cBhvr additive="base">
                                        <p:cTn id="13" dur="500" fill="hold"/>
                                        <p:tgtEl>
                                          <p:spTgt spid="28"/>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32"/>
                                        </p:tgtEl>
                                        <p:attrNameLst>
                                          <p:attrName>style.visibility</p:attrName>
                                        </p:attrNameLst>
                                      </p:cBhvr>
                                      <p:to>
                                        <p:strVal val="visible"/>
                                      </p:to>
                                    </p:set>
                                    <p:anim calcmode="lin" valueType="num">
                                      <p:cBhvr additive="base">
                                        <p:cTn id="17" dur="500" fill="hold"/>
                                        <p:tgtEl>
                                          <p:spTgt spid="32"/>
                                        </p:tgtEl>
                                        <p:attrNameLst>
                                          <p:attrName>ppt_x</p:attrName>
                                        </p:attrNameLst>
                                      </p:cBhvr>
                                      <p:tavLst>
                                        <p:tav tm="0">
                                          <p:val>
                                            <p:strVal val="#ppt_x"/>
                                          </p:val>
                                        </p:tav>
                                        <p:tav tm="100000">
                                          <p:val>
                                            <p:strVal val="#ppt_x"/>
                                          </p:val>
                                        </p:tav>
                                      </p:tavLst>
                                    </p:anim>
                                    <p:anim calcmode="lin" valueType="num">
                                      <p:cBhvr additive="base">
                                        <p:cTn id="18" dur="500" fill="hold"/>
                                        <p:tgtEl>
                                          <p:spTgt spid="32"/>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36"/>
                                        </p:tgtEl>
                                        <p:attrNameLst>
                                          <p:attrName>style.visibility</p:attrName>
                                        </p:attrNameLst>
                                      </p:cBhvr>
                                      <p:to>
                                        <p:strVal val="visible"/>
                                      </p:to>
                                    </p:set>
                                    <p:anim calcmode="lin" valueType="num">
                                      <p:cBhvr additive="base">
                                        <p:cTn id="22" dur="500" fill="hold"/>
                                        <p:tgtEl>
                                          <p:spTgt spid="36"/>
                                        </p:tgtEl>
                                        <p:attrNameLst>
                                          <p:attrName>ppt_x</p:attrName>
                                        </p:attrNameLst>
                                      </p:cBhvr>
                                      <p:tavLst>
                                        <p:tav tm="0">
                                          <p:val>
                                            <p:strVal val="#ppt_x"/>
                                          </p:val>
                                        </p:tav>
                                        <p:tav tm="100000">
                                          <p:val>
                                            <p:strVal val="#ppt_x"/>
                                          </p:val>
                                        </p:tav>
                                      </p:tavLst>
                                    </p:anim>
                                    <p:anim calcmode="lin" valueType="num">
                                      <p:cBhvr additive="base">
                                        <p:cTn id="23" dur="500" fill="hold"/>
                                        <p:tgtEl>
                                          <p:spTgt spid="36"/>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4" fill="hold" nodeType="afterEffect">
                                  <p:stCondLst>
                                    <p:cond delay="0"/>
                                  </p:stCondLst>
                                  <p:childTnLst>
                                    <p:set>
                                      <p:cBhvr>
                                        <p:cTn id="26" dur="1" fill="hold">
                                          <p:stCondLst>
                                            <p:cond delay="0"/>
                                          </p:stCondLst>
                                        </p:cTn>
                                        <p:tgtEl>
                                          <p:spTgt spid="40"/>
                                        </p:tgtEl>
                                        <p:attrNameLst>
                                          <p:attrName>style.visibility</p:attrName>
                                        </p:attrNameLst>
                                      </p:cBhvr>
                                      <p:to>
                                        <p:strVal val="visible"/>
                                      </p:to>
                                    </p:set>
                                    <p:anim calcmode="lin" valueType="num">
                                      <p:cBhvr additive="base">
                                        <p:cTn id="27" dur="500" fill="hold"/>
                                        <p:tgtEl>
                                          <p:spTgt spid="40"/>
                                        </p:tgtEl>
                                        <p:attrNameLst>
                                          <p:attrName>ppt_x</p:attrName>
                                        </p:attrNameLst>
                                      </p:cBhvr>
                                      <p:tavLst>
                                        <p:tav tm="0">
                                          <p:val>
                                            <p:strVal val="#ppt_x"/>
                                          </p:val>
                                        </p:tav>
                                        <p:tav tm="100000">
                                          <p:val>
                                            <p:strVal val="#ppt_x"/>
                                          </p:val>
                                        </p:tav>
                                      </p:tavLst>
                                    </p:anim>
                                    <p:anim calcmode="lin" valueType="num">
                                      <p:cBhvr additive="base">
                                        <p:cTn id="28" dur="500" fill="hold"/>
                                        <p:tgtEl>
                                          <p:spTgt spid="40"/>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2" presetClass="entr" presetSubtype="4" fill="hold" nodeType="afterEffect">
                                  <p:stCondLst>
                                    <p:cond delay="0"/>
                                  </p:stCondLst>
                                  <p:childTnLst>
                                    <p:set>
                                      <p:cBhvr>
                                        <p:cTn id="31" dur="1" fill="hold">
                                          <p:stCondLst>
                                            <p:cond delay="0"/>
                                          </p:stCondLst>
                                        </p:cTn>
                                        <p:tgtEl>
                                          <p:spTgt spid="44"/>
                                        </p:tgtEl>
                                        <p:attrNameLst>
                                          <p:attrName>style.visibility</p:attrName>
                                        </p:attrNameLst>
                                      </p:cBhvr>
                                      <p:to>
                                        <p:strVal val="visible"/>
                                      </p:to>
                                    </p:set>
                                    <p:anim calcmode="lin" valueType="num">
                                      <p:cBhvr additive="base">
                                        <p:cTn id="32" dur="500" fill="hold"/>
                                        <p:tgtEl>
                                          <p:spTgt spid="44"/>
                                        </p:tgtEl>
                                        <p:attrNameLst>
                                          <p:attrName>ppt_x</p:attrName>
                                        </p:attrNameLst>
                                      </p:cBhvr>
                                      <p:tavLst>
                                        <p:tav tm="0">
                                          <p:val>
                                            <p:strVal val="#ppt_x"/>
                                          </p:val>
                                        </p:tav>
                                        <p:tav tm="100000">
                                          <p:val>
                                            <p:strVal val="#ppt_x"/>
                                          </p:val>
                                        </p:tav>
                                      </p:tavLst>
                                    </p:anim>
                                    <p:anim calcmode="lin" valueType="num">
                                      <p:cBhvr additive="base">
                                        <p:cTn id="33" dur="500" fill="hold"/>
                                        <p:tgtEl>
                                          <p:spTgt spid="44"/>
                                        </p:tgtEl>
                                        <p:attrNameLst>
                                          <p:attrName>ppt_y</p:attrName>
                                        </p:attrNameLst>
                                      </p:cBhvr>
                                      <p:tavLst>
                                        <p:tav tm="0">
                                          <p:val>
                                            <p:strVal val="1+#ppt_h/2"/>
                                          </p:val>
                                        </p:tav>
                                        <p:tav tm="100000">
                                          <p:val>
                                            <p:strVal val="#ppt_y"/>
                                          </p:val>
                                        </p:tav>
                                      </p:tavLst>
                                    </p:anim>
                                  </p:childTnLst>
                                </p:cTn>
                              </p:par>
                            </p:childTnLst>
                          </p:cTn>
                        </p:par>
                        <p:par>
                          <p:cTn id="34" fill="hold">
                            <p:stCondLst>
                              <p:cond delay="3000"/>
                            </p:stCondLst>
                            <p:childTnLst>
                              <p:par>
                                <p:cTn id="35" presetID="2" presetClass="entr" presetSubtype="4" fill="hold" nodeType="afterEffect">
                                  <p:stCondLst>
                                    <p:cond delay="0"/>
                                  </p:stCondLst>
                                  <p:childTnLst>
                                    <p:set>
                                      <p:cBhvr>
                                        <p:cTn id="36" dur="1" fill="hold">
                                          <p:stCondLst>
                                            <p:cond delay="0"/>
                                          </p:stCondLst>
                                        </p:cTn>
                                        <p:tgtEl>
                                          <p:spTgt spid="48"/>
                                        </p:tgtEl>
                                        <p:attrNameLst>
                                          <p:attrName>style.visibility</p:attrName>
                                        </p:attrNameLst>
                                      </p:cBhvr>
                                      <p:to>
                                        <p:strVal val="visible"/>
                                      </p:to>
                                    </p:set>
                                    <p:anim calcmode="lin" valueType="num">
                                      <p:cBhvr additive="base">
                                        <p:cTn id="37" dur="500" fill="hold"/>
                                        <p:tgtEl>
                                          <p:spTgt spid="48"/>
                                        </p:tgtEl>
                                        <p:attrNameLst>
                                          <p:attrName>ppt_x</p:attrName>
                                        </p:attrNameLst>
                                      </p:cBhvr>
                                      <p:tavLst>
                                        <p:tav tm="0">
                                          <p:val>
                                            <p:strVal val="#ppt_x"/>
                                          </p:val>
                                        </p:tav>
                                        <p:tav tm="100000">
                                          <p:val>
                                            <p:strVal val="#ppt_x"/>
                                          </p:val>
                                        </p:tav>
                                      </p:tavLst>
                                    </p:anim>
                                    <p:anim calcmode="lin" valueType="num">
                                      <p:cBhvr additive="base">
                                        <p:cTn id="38"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4" presetClass="entr" presetSubtype="10" fill="hold" grpId="0" nodeType="clickEffect">
                                  <p:stCondLst>
                                    <p:cond delay="0"/>
                                  </p:stCondLst>
                                  <p:iterate type="lt">
                                    <p:tmPct val="10000"/>
                                  </p:iterate>
                                  <p:childTnLst>
                                    <p:set>
                                      <p:cBhvr>
                                        <p:cTn id="42" dur="1" fill="hold">
                                          <p:stCondLst>
                                            <p:cond delay="0"/>
                                          </p:stCondLst>
                                        </p:cTn>
                                        <p:tgtEl>
                                          <p:spTgt spid="52"/>
                                        </p:tgtEl>
                                        <p:attrNameLst>
                                          <p:attrName>style.visibility</p:attrName>
                                        </p:attrNameLst>
                                      </p:cBhvr>
                                      <p:to>
                                        <p:strVal val="visible"/>
                                      </p:to>
                                    </p:set>
                                    <p:animEffect transition="in" filter="randombar(horizontal)">
                                      <p:cBhvr>
                                        <p:cTn id="43" dur="1250"/>
                                        <p:tgtEl>
                                          <p:spTgt spid="52"/>
                                        </p:tgtEl>
                                      </p:cBhvr>
                                    </p:animEffect>
                                  </p:childTnLst>
                                </p:cTn>
                              </p:par>
                            </p:childTnLst>
                          </p:cTn>
                        </p:par>
                        <p:par>
                          <p:cTn id="44" fill="hold">
                            <p:stCondLst>
                              <p:cond delay="5375"/>
                            </p:stCondLst>
                            <p:childTnLst>
                              <p:par>
                                <p:cTn id="45" presetID="22" presetClass="entr" presetSubtype="4" fill="hold" grpId="0" nodeType="afterEffect">
                                  <p:stCondLst>
                                    <p:cond delay="0"/>
                                  </p:stCondLst>
                                  <p:childTnLst>
                                    <p:set>
                                      <p:cBhvr>
                                        <p:cTn id="46" dur="1" fill="hold">
                                          <p:stCondLst>
                                            <p:cond delay="0"/>
                                          </p:stCondLst>
                                        </p:cTn>
                                        <p:tgtEl>
                                          <p:spTgt spid="54"/>
                                        </p:tgtEl>
                                        <p:attrNameLst>
                                          <p:attrName>style.visibility</p:attrName>
                                        </p:attrNameLst>
                                      </p:cBhvr>
                                      <p:to>
                                        <p:strVal val="visible"/>
                                      </p:to>
                                    </p:set>
                                    <p:animEffect transition="in" filter="wipe(down)">
                                      <p:cBhvr>
                                        <p:cTn id="47" dur="125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组合 27"/>
          <p:cNvGrpSpPr/>
          <p:nvPr/>
        </p:nvGrpSpPr>
        <p:grpSpPr>
          <a:xfrm>
            <a:off x="3409392" y="3310783"/>
            <a:ext cx="5378709" cy="1728191"/>
            <a:chOff x="2557044" y="2483087"/>
            <a:chExt cx="4034032" cy="1296143"/>
          </a:xfrm>
        </p:grpSpPr>
        <p:sp>
          <p:nvSpPr>
            <p:cNvPr id="29" name="Line 34"/>
            <p:cNvSpPr>
              <a:spLocks noChangeShapeType="1"/>
            </p:cNvSpPr>
            <p:nvPr/>
          </p:nvSpPr>
          <p:spPr bwMode="auto">
            <a:xfrm rot="618245" flipV="1">
              <a:off x="4879539" y="2483087"/>
              <a:ext cx="117053" cy="1046336"/>
            </a:xfrm>
            <a:prstGeom prst="line">
              <a:avLst/>
            </a:prstGeom>
            <a:noFill/>
            <a:ln w="9525">
              <a:solidFill>
                <a:srgbClr val="254061"/>
              </a:solidFill>
              <a:prstDash val="dash"/>
              <a:round/>
              <a:tailEnd type="triangle" w="med" len="med"/>
            </a:ln>
          </p:spPr>
          <p:txBody>
            <a:bodyPr/>
            <a:lstStyle/>
            <a:p>
              <a:endParaRPr lang="zh-CN" altLang="en-US" sz="2400">
                <a:cs typeface="+mn-ea"/>
              </a:endParaRPr>
            </a:p>
          </p:txBody>
        </p:sp>
        <p:sp>
          <p:nvSpPr>
            <p:cNvPr id="30" name="Line 35"/>
            <p:cNvSpPr>
              <a:spLocks noChangeShapeType="1"/>
            </p:cNvSpPr>
            <p:nvPr/>
          </p:nvSpPr>
          <p:spPr bwMode="auto">
            <a:xfrm rot="618245" flipH="1" flipV="1">
              <a:off x="4208628" y="2554460"/>
              <a:ext cx="432523" cy="849346"/>
            </a:xfrm>
            <a:prstGeom prst="line">
              <a:avLst/>
            </a:prstGeom>
            <a:noFill/>
            <a:ln w="9525">
              <a:solidFill>
                <a:srgbClr val="254061"/>
              </a:solidFill>
              <a:prstDash val="dash"/>
              <a:round/>
              <a:tailEnd type="triangle" w="med" len="med"/>
            </a:ln>
          </p:spPr>
          <p:txBody>
            <a:bodyPr/>
            <a:lstStyle/>
            <a:p>
              <a:endParaRPr lang="zh-CN" altLang="en-US" sz="2400">
                <a:cs typeface="+mn-ea"/>
              </a:endParaRPr>
            </a:p>
          </p:txBody>
        </p:sp>
        <p:sp>
          <p:nvSpPr>
            <p:cNvPr id="34" name="Line 36"/>
            <p:cNvSpPr>
              <a:spLocks noChangeShapeType="1"/>
            </p:cNvSpPr>
            <p:nvPr/>
          </p:nvSpPr>
          <p:spPr bwMode="auto">
            <a:xfrm rot="618245" flipH="1" flipV="1">
              <a:off x="3363565" y="2982702"/>
              <a:ext cx="1029206" cy="466783"/>
            </a:xfrm>
            <a:prstGeom prst="line">
              <a:avLst/>
            </a:prstGeom>
            <a:noFill/>
            <a:ln w="9525">
              <a:solidFill>
                <a:srgbClr val="254061"/>
              </a:solidFill>
              <a:prstDash val="dash"/>
              <a:round/>
              <a:tailEnd type="triangle" w="med" len="med"/>
            </a:ln>
          </p:spPr>
          <p:txBody>
            <a:bodyPr/>
            <a:lstStyle/>
            <a:p>
              <a:endParaRPr lang="zh-CN" altLang="en-US" sz="2400">
                <a:cs typeface="+mn-ea"/>
              </a:endParaRPr>
            </a:p>
          </p:txBody>
        </p:sp>
        <p:sp>
          <p:nvSpPr>
            <p:cNvPr id="35" name="Line 37"/>
            <p:cNvSpPr>
              <a:spLocks noChangeShapeType="1"/>
            </p:cNvSpPr>
            <p:nvPr/>
          </p:nvSpPr>
          <p:spPr bwMode="auto">
            <a:xfrm rot="618245" flipH="1">
              <a:off x="2557044" y="3566538"/>
              <a:ext cx="1750079" cy="24267"/>
            </a:xfrm>
            <a:prstGeom prst="line">
              <a:avLst/>
            </a:prstGeom>
            <a:noFill/>
            <a:ln w="9525">
              <a:solidFill>
                <a:srgbClr val="254061"/>
              </a:solidFill>
              <a:prstDash val="dash"/>
              <a:round/>
              <a:tailEnd type="triangle" w="med" len="med"/>
            </a:ln>
          </p:spPr>
          <p:txBody>
            <a:bodyPr/>
            <a:lstStyle/>
            <a:p>
              <a:endParaRPr lang="zh-CN" altLang="en-US" sz="2400">
                <a:cs typeface="+mn-ea"/>
              </a:endParaRPr>
            </a:p>
          </p:txBody>
        </p:sp>
        <p:sp>
          <p:nvSpPr>
            <p:cNvPr id="36" name="Line 38"/>
            <p:cNvSpPr>
              <a:spLocks noChangeShapeType="1"/>
            </p:cNvSpPr>
            <p:nvPr/>
          </p:nvSpPr>
          <p:spPr bwMode="auto">
            <a:xfrm rot="618245" flipV="1">
              <a:off x="5096515" y="2825680"/>
              <a:ext cx="662346" cy="765124"/>
            </a:xfrm>
            <a:prstGeom prst="line">
              <a:avLst/>
            </a:prstGeom>
            <a:noFill/>
            <a:ln w="9525">
              <a:solidFill>
                <a:srgbClr val="254061"/>
              </a:solidFill>
              <a:round/>
              <a:tailEnd type="triangle" w="med" len="med"/>
            </a:ln>
          </p:spPr>
          <p:txBody>
            <a:bodyPr/>
            <a:lstStyle/>
            <a:p>
              <a:endParaRPr lang="zh-CN" altLang="en-US" sz="2400">
                <a:cs typeface="+mn-ea"/>
              </a:endParaRPr>
            </a:p>
          </p:txBody>
        </p:sp>
        <p:sp>
          <p:nvSpPr>
            <p:cNvPr id="37" name="Line 39"/>
            <p:cNvSpPr>
              <a:spLocks noChangeShapeType="1"/>
            </p:cNvSpPr>
            <p:nvPr/>
          </p:nvSpPr>
          <p:spPr bwMode="auto">
            <a:xfrm rot="618245" flipV="1">
              <a:off x="5293506" y="3303883"/>
              <a:ext cx="1297570" cy="475347"/>
            </a:xfrm>
            <a:prstGeom prst="line">
              <a:avLst/>
            </a:prstGeom>
            <a:noFill/>
            <a:ln w="9525">
              <a:solidFill>
                <a:srgbClr val="254061"/>
              </a:solidFill>
              <a:prstDash val="dash"/>
              <a:round/>
              <a:tailEnd type="triangle" w="med" len="med"/>
            </a:ln>
          </p:spPr>
          <p:txBody>
            <a:bodyPr/>
            <a:lstStyle/>
            <a:p>
              <a:endParaRPr lang="zh-CN" altLang="en-US" sz="2400">
                <a:cs typeface="+mn-ea"/>
              </a:endParaRPr>
            </a:p>
          </p:txBody>
        </p:sp>
      </p:grpSp>
      <p:sp>
        <p:nvSpPr>
          <p:cNvPr id="38" name="Oval 20"/>
          <p:cNvSpPr>
            <a:spLocks noChangeArrowheads="1"/>
          </p:cNvSpPr>
          <p:nvPr/>
        </p:nvSpPr>
        <p:spPr bwMode="auto">
          <a:xfrm>
            <a:off x="5027192" y="2102191"/>
            <a:ext cx="1077264" cy="1073459"/>
          </a:xfrm>
          <a:prstGeom prst="ellipse">
            <a:avLst/>
          </a:prstGeom>
          <a:solidFill>
            <a:srgbClr val="254061"/>
          </a:solidFill>
          <a:ln w="28575" algn="ctr">
            <a:solidFill>
              <a:srgbClr val="F2F2F2"/>
            </a:solidFill>
            <a:round/>
          </a:ln>
          <a:effectLst>
            <a:outerShdw blurRad="88900" dist="75434" dir="2699985" rotWithShape="0">
              <a:scrgbClr r="0" g="0" b="0">
                <a:alpha val="23000"/>
              </a:scrgbClr>
            </a:outerShdw>
          </a:effectLst>
        </p:spPr>
        <p:txBody>
          <a:bodyPr wrap="none" anchor="ctr"/>
          <a:lstStyle/>
          <a:p>
            <a:pPr algn="ctr"/>
            <a:r>
              <a:rPr lang="en-US" altLang="zh-CN" sz="5335" dirty="0">
                <a:solidFill>
                  <a:schemeClr val="bg1"/>
                </a:solidFill>
                <a:cs typeface="+mn-ea"/>
              </a:rPr>
              <a:t>3</a:t>
            </a:r>
            <a:endParaRPr lang="en-US" altLang="zh-CN" sz="5335" dirty="0">
              <a:solidFill>
                <a:schemeClr val="bg1"/>
              </a:solidFill>
              <a:cs typeface="+mn-ea"/>
            </a:endParaRPr>
          </a:p>
        </p:txBody>
      </p:sp>
      <p:sp>
        <p:nvSpPr>
          <p:cNvPr id="39" name="Oval 25"/>
          <p:cNvSpPr>
            <a:spLocks noChangeArrowheads="1"/>
          </p:cNvSpPr>
          <p:nvPr/>
        </p:nvSpPr>
        <p:spPr bwMode="auto">
          <a:xfrm>
            <a:off x="6557442" y="2147872"/>
            <a:ext cx="1077265" cy="1073457"/>
          </a:xfrm>
          <a:prstGeom prst="ellipse">
            <a:avLst/>
          </a:prstGeom>
          <a:solidFill>
            <a:srgbClr val="E46C0A"/>
          </a:solidFill>
          <a:ln w="28575" algn="ctr">
            <a:solidFill>
              <a:srgbClr val="F2F2F2"/>
            </a:solidFill>
            <a:round/>
          </a:ln>
          <a:effectLst>
            <a:outerShdw blurRad="88900" dist="75434" dir="2699985" rotWithShape="0">
              <a:scrgbClr r="0" g="0" b="0">
                <a:alpha val="23000"/>
              </a:scrgbClr>
            </a:outerShdw>
          </a:effectLst>
        </p:spPr>
        <p:txBody>
          <a:bodyPr wrap="none" anchor="ctr"/>
          <a:lstStyle/>
          <a:p>
            <a:pPr algn="ctr"/>
            <a:r>
              <a:rPr lang="en-US" altLang="zh-CN" sz="5335" dirty="0">
                <a:solidFill>
                  <a:schemeClr val="bg1"/>
                </a:solidFill>
                <a:cs typeface="+mn-ea"/>
              </a:rPr>
              <a:t>4</a:t>
            </a:r>
            <a:endParaRPr lang="en-US" altLang="zh-CN" sz="5335" dirty="0">
              <a:solidFill>
                <a:schemeClr val="bg1"/>
              </a:solidFill>
              <a:cs typeface="+mn-ea"/>
            </a:endParaRPr>
          </a:p>
        </p:txBody>
      </p:sp>
      <p:sp>
        <p:nvSpPr>
          <p:cNvPr id="40" name="Oval 5"/>
          <p:cNvSpPr>
            <a:spLocks noChangeArrowheads="1"/>
          </p:cNvSpPr>
          <p:nvPr/>
        </p:nvSpPr>
        <p:spPr bwMode="auto">
          <a:xfrm>
            <a:off x="2286448" y="3929352"/>
            <a:ext cx="1077264" cy="1073459"/>
          </a:xfrm>
          <a:prstGeom prst="ellipse">
            <a:avLst/>
          </a:prstGeom>
          <a:solidFill>
            <a:srgbClr val="254061"/>
          </a:solidFill>
          <a:ln w="28575" algn="ctr">
            <a:solidFill>
              <a:srgbClr val="F2F2F2"/>
            </a:solidFill>
            <a:round/>
          </a:ln>
          <a:effectLst>
            <a:outerShdw blurRad="88900" dist="75434" dir="2699985" rotWithShape="0">
              <a:scrgbClr r="0" g="0" b="0">
                <a:alpha val="23000"/>
              </a:scrgbClr>
            </a:outerShdw>
          </a:effectLst>
        </p:spPr>
        <p:txBody>
          <a:bodyPr wrap="none" anchor="ctr"/>
          <a:lstStyle/>
          <a:p>
            <a:pPr algn="ctr"/>
            <a:r>
              <a:rPr lang="en-US" altLang="zh-CN" sz="5335" dirty="0">
                <a:solidFill>
                  <a:schemeClr val="bg1"/>
                </a:solidFill>
                <a:cs typeface="+mn-ea"/>
              </a:rPr>
              <a:t>1</a:t>
            </a:r>
            <a:endParaRPr lang="en-US" altLang="zh-CN" sz="5335" dirty="0">
              <a:solidFill>
                <a:schemeClr val="bg1"/>
              </a:solidFill>
              <a:cs typeface="+mn-ea"/>
            </a:endParaRPr>
          </a:p>
        </p:txBody>
      </p:sp>
      <p:sp>
        <p:nvSpPr>
          <p:cNvPr id="41" name="Oval 30"/>
          <p:cNvSpPr>
            <a:spLocks noChangeArrowheads="1"/>
          </p:cNvSpPr>
          <p:nvPr/>
        </p:nvSpPr>
        <p:spPr bwMode="auto">
          <a:xfrm>
            <a:off x="8978431" y="3975032"/>
            <a:ext cx="1077264" cy="1073459"/>
          </a:xfrm>
          <a:prstGeom prst="ellipse">
            <a:avLst/>
          </a:prstGeom>
          <a:solidFill>
            <a:srgbClr val="E46C0A"/>
          </a:solidFill>
          <a:ln w="28575" algn="ctr">
            <a:solidFill>
              <a:srgbClr val="F2F2F2"/>
            </a:solidFill>
            <a:round/>
          </a:ln>
          <a:effectLst>
            <a:outerShdw blurRad="88900" dist="75434" dir="2699985" rotWithShape="0">
              <a:scrgbClr r="0" g="0" b="0">
                <a:alpha val="23000"/>
              </a:scrgbClr>
            </a:outerShdw>
          </a:effectLst>
        </p:spPr>
        <p:txBody>
          <a:bodyPr wrap="none" anchor="ctr"/>
          <a:lstStyle/>
          <a:p>
            <a:pPr algn="ctr"/>
            <a:r>
              <a:rPr lang="en-US" altLang="zh-CN" sz="5335" dirty="0">
                <a:solidFill>
                  <a:schemeClr val="bg1"/>
                </a:solidFill>
                <a:cs typeface="+mn-ea"/>
              </a:rPr>
              <a:t>6</a:t>
            </a:r>
            <a:endParaRPr lang="en-US" altLang="zh-CN" sz="5335" dirty="0">
              <a:solidFill>
                <a:schemeClr val="bg1"/>
              </a:solidFill>
              <a:cs typeface="+mn-ea"/>
            </a:endParaRPr>
          </a:p>
        </p:txBody>
      </p:sp>
      <p:sp>
        <p:nvSpPr>
          <p:cNvPr id="42" name="Oval 10"/>
          <p:cNvSpPr>
            <a:spLocks noChangeArrowheads="1"/>
          </p:cNvSpPr>
          <p:nvPr/>
        </p:nvSpPr>
        <p:spPr bwMode="auto">
          <a:xfrm>
            <a:off x="3405590" y="2855894"/>
            <a:ext cx="1077265" cy="1073457"/>
          </a:xfrm>
          <a:prstGeom prst="ellipse">
            <a:avLst/>
          </a:prstGeom>
          <a:solidFill>
            <a:srgbClr val="E46C0A"/>
          </a:solidFill>
          <a:ln w="28575" algn="ctr">
            <a:solidFill>
              <a:srgbClr val="F2F2F2"/>
            </a:solidFill>
            <a:round/>
          </a:ln>
          <a:effectLst>
            <a:outerShdw blurRad="88900" dist="75434" dir="2699985" rotWithShape="0">
              <a:scrgbClr r="0" g="0" b="0">
                <a:alpha val="23000"/>
              </a:scrgbClr>
            </a:outerShdw>
          </a:effectLst>
        </p:spPr>
        <p:txBody>
          <a:bodyPr wrap="none" anchor="ctr"/>
          <a:lstStyle/>
          <a:p>
            <a:pPr algn="ctr"/>
            <a:r>
              <a:rPr lang="en-US" altLang="zh-CN" sz="5335" dirty="0">
                <a:solidFill>
                  <a:schemeClr val="bg1"/>
                </a:solidFill>
                <a:cs typeface="+mn-ea"/>
              </a:rPr>
              <a:t>2</a:t>
            </a:r>
            <a:endParaRPr lang="en-US" altLang="zh-CN" sz="5335" dirty="0">
              <a:solidFill>
                <a:schemeClr val="bg1"/>
              </a:solidFill>
              <a:cs typeface="+mn-ea"/>
            </a:endParaRPr>
          </a:p>
        </p:txBody>
      </p:sp>
      <p:sp>
        <p:nvSpPr>
          <p:cNvPr id="43" name="Oval 15"/>
          <p:cNvSpPr>
            <a:spLocks noChangeArrowheads="1"/>
          </p:cNvSpPr>
          <p:nvPr/>
        </p:nvSpPr>
        <p:spPr bwMode="auto">
          <a:xfrm>
            <a:off x="7855484" y="2823540"/>
            <a:ext cx="1077264" cy="1073459"/>
          </a:xfrm>
          <a:prstGeom prst="ellipse">
            <a:avLst/>
          </a:prstGeom>
          <a:solidFill>
            <a:srgbClr val="254061"/>
          </a:solidFill>
          <a:ln w="28575" algn="ctr">
            <a:solidFill>
              <a:srgbClr val="F2F2F2"/>
            </a:solidFill>
            <a:round/>
          </a:ln>
          <a:effectLst>
            <a:outerShdw blurRad="88900" dist="75434" dir="2699985" rotWithShape="0">
              <a:scrgbClr r="0" g="0" b="0">
                <a:alpha val="23000"/>
              </a:scrgbClr>
            </a:outerShdw>
          </a:effectLst>
        </p:spPr>
        <p:txBody>
          <a:bodyPr wrap="none" anchor="ctr"/>
          <a:lstStyle/>
          <a:p>
            <a:pPr algn="ctr"/>
            <a:r>
              <a:rPr lang="en-US" altLang="zh-CN" sz="5335" dirty="0">
                <a:solidFill>
                  <a:schemeClr val="bg1"/>
                </a:solidFill>
                <a:cs typeface="+mn-ea"/>
              </a:rPr>
              <a:t>5</a:t>
            </a:r>
            <a:endParaRPr lang="en-US" altLang="zh-CN" sz="5335" dirty="0">
              <a:solidFill>
                <a:schemeClr val="bg1"/>
              </a:solidFill>
              <a:cs typeface="+mn-ea"/>
            </a:endParaRPr>
          </a:p>
        </p:txBody>
      </p:sp>
      <p:grpSp>
        <p:nvGrpSpPr>
          <p:cNvPr id="44" name="组合 43"/>
          <p:cNvGrpSpPr/>
          <p:nvPr/>
        </p:nvGrpSpPr>
        <p:grpSpPr>
          <a:xfrm>
            <a:off x="623392" y="1300904"/>
            <a:ext cx="11041227" cy="2554234"/>
            <a:chOff x="467544" y="975678"/>
            <a:chExt cx="8280920" cy="1915675"/>
          </a:xfrm>
        </p:grpSpPr>
        <p:sp>
          <p:nvSpPr>
            <p:cNvPr id="45" name="Rectangle 58"/>
            <p:cNvSpPr>
              <a:spLocks noChangeArrowheads="1"/>
            </p:cNvSpPr>
            <p:nvPr/>
          </p:nvSpPr>
          <p:spPr bwMode="auto">
            <a:xfrm>
              <a:off x="2771800" y="1001374"/>
              <a:ext cx="1781483" cy="475515"/>
            </a:xfrm>
            <a:prstGeom prst="rect">
              <a:avLst/>
            </a:prstGeom>
            <a:noFill/>
            <a:ln w="9525">
              <a:noFill/>
              <a:miter lim="800000"/>
            </a:ln>
          </p:spPr>
          <p:txBody>
            <a:bodyPr>
              <a:spAutoFit/>
            </a:bodyPr>
            <a:lstStyle/>
            <a:p>
              <a:pPr algn="ct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endParaRPr lang="zh-CN" altLang="en-US" sz="1600" dirty="0">
                <a:solidFill>
                  <a:srgbClr val="969696"/>
                </a:solidFill>
                <a:latin typeface="微软雅黑" panose="020B0503020204020204" pitchFamily="34" charset="-122"/>
                <a:cs typeface="+mn-ea"/>
              </a:endParaRPr>
            </a:p>
            <a:p>
              <a:pPr algn="ct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endParaRPr lang="zh-CN" altLang="en-US" sz="1600" dirty="0">
                <a:solidFill>
                  <a:srgbClr val="969696"/>
                </a:solidFill>
                <a:latin typeface="微软雅黑" panose="020B0503020204020204" pitchFamily="34" charset="-122"/>
                <a:cs typeface="+mn-ea"/>
              </a:endParaRPr>
            </a:p>
          </p:txBody>
        </p:sp>
        <p:sp>
          <p:nvSpPr>
            <p:cNvPr id="46" name="Rectangle 61"/>
            <p:cNvSpPr>
              <a:spLocks noChangeArrowheads="1"/>
            </p:cNvSpPr>
            <p:nvPr/>
          </p:nvSpPr>
          <p:spPr bwMode="auto">
            <a:xfrm>
              <a:off x="5022765" y="975678"/>
              <a:ext cx="1781483" cy="475515"/>
            </a:xfrm>
            <a:prstGeom prst="rect">
              <a:avLst/>
            </a:prstGeom>
            <a:noFill/>
            <a:ln w="9525">
              <a:noFill/>
              <a:miter lim="800000"/>
            </a:ln>
          </p:spPr>
          <p:txBody>
            <a:bodyPr>
              <a:spAutoFit/>
            </a:bodyPr>
            <a:lstStyle/>
            <a:p>
              <a:pPr algn="ct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endParaRPr lang="zh-CN" altLang="en-US" sz="1600" dirty="0">
                <a:solidFill>
                  <a:srgbClr val="969696"/>
                </a:solidFill>
                <a:latin typeface="微软雅黑" panose="020B0503020204020204" pitchFamily="34" charset="-122"/>
                <a:cs typeface="+mn-ea"/>
              </a:endParaRPr>
            </a:p>
            <a:p>
              <a:pPr algn="ct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endParaRPr lang="zh-CN" altLang="en-US" sz="1600" dirty="0">
                <a:solidFill>
                  <a:srgbClr val="969696"/>
                </a:solidFill>
                <a:latin typeface="微软雅黑" panose="020B0503020204020204" pitchFamily="34" charset="-122"/>
                <a:cs typeface="+mn-ea"/>
              </a:endParaRPr>
            </a:p>
          </p:txBody>
        </p:sp>
        <p:sp>
          <p:nvSpPr>
            <p:cNvPr id="47" name="Rectangle 64"/>
            <p:cNvSpPr>
              <a:spLocks noChangeArrowheads="1"/>
            </p:cNvSpPr>
            <p:nvPr/>
          </p:nvSpPr>
          <p:spPr bwMode="auto">
            <a:xfrm>
              <a:off x="467544" y="2355726"/>
              <a:ext cx="1781483" cy="475515"/>
            </a:xfrm>
            <a:prstGeom prst="rect">
              <a:avLst/>
            </a:prstGeom>
            <a:noFill/>
            <a:ln w="9525">
              <a:noFill/>
              <a:miter lim="800000"/>
            </a:ln>
          </p:spPr>
          <p:txBody>
            <a:bodyPr>
              <a:spAutoFit/>
            </a:bodyPr>
            <a:lstStyle/>
            <a:p>
              <a:pPr algn="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endParaRPr lang="zh-CN" altLang="en-US" sz="1600" dirty="0">
                <a:solidFill>
                  <a:srgbClr val="969696"/>
                </a:solidFill>
                <a:latin typeface="微软雅黑" panose="020B0503020204020204" pitchFamily="34" charset="-122"/>
                <a:cs typeface="+mn-ea"/>
              </a:endParaRPr>
            </a:p>
            <a:p>
              <a:pPr algn="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endParaRPr lang="zh-CN" altLang="en-US" sz="1600" dirty="0">
                <a:solidFill>
                  <a:srgbClr val="969696"/>
                </a:solidFill>
                <a:latin typeface="微软雅黑" panose="020B0503020204020204" pitchFamily="34" charset="-122"/>
                <a:cs typeface="+mn-ea"/>
              </a:endParaRPr>
            </a:p>
          </p:txBody>
        </p:sp>
        <p:sp>
          <p:nvSpPr>
            <p:cNvPr id="48" name="Rectangle 67"/>
            <p:cNvSpPr>
              <a:spLocks noChangeArrowheads="1"/>
            </p:cNvSpPr>
            <p:nvPr/>
          </p:nvSpPr>
          <p:spPr bwMode="auto">
            <a:xfrm>
              <a:off x="6966981" y="2415838"/>
              <a:ext cx="1781483" cy="475515"/>
            </a:xfrm>
            <a:prstGeom prst="rect">
              <a:avLst/>
            </a:prstGeom>
            <a:noFill/>
            <a:ln w="9525">
              <a:noFill/>
              <a:miter lim="800000"/>
            </a:ln>
          </p:spPr>
          <p:txBody>
            <a:bodyPr>
              <a:spAutoFit/>
            </a:bodyPr>
            <a:lstStyle/>
            <a:p>
              <a:pP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endParaRPr lang="zh-CN" altLang="en-US" sz="1600" dirty="0">
                <a:solidFill>
                  <a:srgbClr val="969696"/>
                </a:solidFill>
                <a:latin typeface="微软雅黑" panose="020B0503020204020204" pitchFamily="34" charset="-122"/>
                <a:cs typeface="+mn-ea"/>
              </a:endParaRPr>
            </a:p>
            <a:p>
              <a:pP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endParaRPr lang="zh-CN" altLang="en-US" sz="1600" dirty="0">
                <a:solidFill>
                  <a:srgbClr val="969696"/>
                </a:solidFill>
                <a:latin typeface="微软雅黑" panose="020B0503020204020204" pitchFamily="34" charset="-122"/>
                <a:cs typeface="+mn-ea"/>
              </a:endParaRPr>
            </a:p>
          </p:txBody>
        </p:sp>
        <p:sp>
          <p:nvSpPr>
            <p:cNvPr id="49" name="Rectangle 70"/>
            <p:cNvSpPr>
              <a:spLocks noChangeArrowheads="1"/>
            </p:cNvSpPr>
            <p:nvPr/>
          </p:nvSpPr>
          <p:spPr bwMode="auto">
            <a:xfrm>
              <a:off x="1187624" y="1553754"/>
              <a:ext cx="1781484" cy="475515"/>
            </a:xfrm>
            <a:prstGeom prst="rect">
              <a:avLst/>
            </a:prstGeom>
            <a:noFill/>
            <a:ln w="9525">
              <a:noFill/>
              <a:miter lim="800000"/>
            </a:ln>
          </p:spPr>
          <p:txBody>
            <a:bodyPr>
              <a:spAutoFit/>
            </a:bodyPr>
            <a:lstStyle/>
            <a:p>
              <a:pPr algn="r">
                <a:spcBef>
                  <a:spcPct val="20000"/>
                </a:spcBef>
                <a:buClr>
                  <a:srgbClr val="E1B40C"/>
                </a:buClr>
                <a:buFont typeface="微软雅黑" panose="020B0503020204020204" pitchFamily="34" charset="-122"/>
                <a:buNone/>
              </a:pPr>
              <a:r>
                <a:rPr lang="zh-CN" altLang="en-US" sz="1600">
                  <a:solidFill>
                    <a:srgbClr val="969696"/>
                  </a:solidFill>
                  <a:latin typeface="微软雅黑" panose="020B0503020204020204" pitchFamily="34" charset="-122"/>
                  <a:cs typeface="+mn-ea"/>
                </a:rPr>
                <a:t>单击此处添加文字内容</a:t>
              </a:r>
              <a:endParaRPr lang="zh-CN" altLang="en-US" sz="1600">
                <a:solidFill>
                  <a:srgbClr val="969696"/>
                </a:solidFill>
                <a:latin typeface="微软雅黑" panose="020B0503020204020204" pitchFamily="34" charset="-122"/>
                <a:cs typeface="+mn-ea"/>
              </a:endParaRPr>
            </a:p>
            <a:p>
              <a:pPr algn="r">
                <a:spcBef>
                  <a:spcPct val="20000"/>
                </a:spcBef>
                <a:buClr>
                  <a:srgbClr val="E1B40C"/>
                </a:buClr>
                <a:buFont typeface="微软雅黑" panose="020B0503020204020204" pitchFamily="34" charset="-122"/>
                <a:buNone/>
              </a:pPr>
              <a:r>
                <a:rPr lang="zh-CN" altLang="en-US" sz="1600">
                  <a:solidFill>
                    <a:srgbClr val="969696"/>
                  </a:solidFill>
                  <a:latin typeface="微软雅黑" panose="020B0503020204020204" pitchFamily="34" charset="-122"/>
                  <a:cs typeface="+mn-ea"/>
                </a:rPr>
                <a:t>单击此处添加文字内容</a:t>
              </a:r>
              <a:endParaRPr lang="zh-CN" altLang="en-US" sz="1600">
                <a:solidFill>
                  <a:srgbClr val="969696"/>
                </a:solidFill>
                <a:latin typeface="微软雅黑" panose="020B0503020204020204" pitchFamily="34" charset="-122"/>
                <a:cs typeface="+mn-ea"/>
              </a:endParaRPr>
            </a:p>
          </p:txBody>
        </p:sp>
        <p:sp>
          <p:nvSpPr>
            <p:cNvPr id="50" name="Rectangle 73"/>
            <p:cNvSpPr>
              <a:spLocks noChangeArrowheads="1"/>
            </p:cNvSpPr>
            <p:nvPr/>
          </p:nvSpPr>
          <p:spPr bwMode="auto">
            <a:xfrm>
              <a:off x="6750958" y="1641105"/>
              <a:ext cx="1781482" cy="475515"/>
            </a:xfrm>
            <a:prstGeom prst="rect">
              <a:avLst/>
            </a:prstGeom>
            <a:noFill/>
            <a:ln w="9525">
              <a:noFill/>
              <a:miter lim="800000"/>
            </a:ln>
          </p:spPr>
          <p:txBody>
            <a:bodyPr>
              <a:spAutoFit/>
            </a:bodyPr>
            <a:lstStyle/>
            <a:p>
              <a:pP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endParaRPr lang="zh-CN" altLang="en-US" sz="1600" dirty="0">
                <a:solidFill>
                  <a:srgbClr val="969696"/>
                </a:solidFill>
                <a:latin typeface="微软雅黑" panose="020B0503020204020204" pitchFamily="34" charset="-122"/>
                <a:cs typeface="+mn-ea"/>
              </a:endParaRPr>
            </a:p>
            <a:p>
              <a:pP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endParaRPr lang="zh-CN" altLang="en-US" sz="1600" dirty="0">
                <a:solidFill>
                  <a:srgbClr val="969696"/>
                </a:solidFill>
                <a:latin typeface="微软雅黑" panose="020B0503020204020204" pitchFamily="34" charset="-122"/>
                <a:cs typeface="+mn-ea"/>
              </a:endParaRPr>
            </a:p>
          </p:txBody>
        </p:sp>
      </p:grpSp>
      <p:sp>
        <p:nvSpPr>
          <p:cNvPr id="51" name="Oval 44"/>
          <p:cNvSpPr>
            <a:spLocks noChangeArrowheads="1"/>
          </p:cNvSpPr>
          <p:nvPr/>
        </p:nvSpPr>
        <p:spPr bwMode="gray">
          <a:xfrm>
            <a:off x="5339336" y="4483215"/>
            <a:ext cx="1751032" cy="1730095"/>
          </a:xfrm>
          <a:prstGeom prst="ellipse">
            <a:avLst/>
          </a:prstGeom>
          <a:solidFill>
            <a:srgbClr val="254061"/>
          </a:solidFill>
          <a:ln w="28575" algn="ctr">
            <a:solidFill>
              <a:srgbClr val="F2F2F2"/>
            </a:solidFill>
            <a:round/>
          </a:ln>
          <a:effectLst>
            <a:outerShdw blurRad="88900" dist="75434" dir="2699985" rotWithShape="0">
              <a:scrgbClr r="0" g="0" b="0">
                <a:alpha val="23000"/>
              </a:scrgbClr>
            </a:outerShdw>
          </a:effectLst>
        </p:spPr>
        <p:txBody>
          <a:bodyPr wrap="none" anchor="ctr"/>
          <a:lstStyle/>
          <a:p>
            <a:pPr algn="ctr"/>
            <a:r>
              <a:rPr lang="zh-CN" altLang="en-US" sz="2400" dirty="0">
                <a:solidFill>
                  <a:schemeClr val="bg1"/>
                </a:solidFill>
                <a:cs typeface="+mn-ea"/>
              </a:rPr>
              <a:t>单击此处</a:t>
            </a:r>
            <a:endParaRPr lang="zh-CN" altLang="en-US" sz="2400" dirty="0">
              <a:solidFill>
                <a:schemeClr val="bg1"/>
              </a:solidFill>
              <a:cs typeface="+mn-ea"/>
            </a:endParaRPr>
          </a:p>
          <a:p>
            <a:pPr algn="ctr"/>
            <a:r>
              <a:rPr lang="zh-CN" altLang="en-US" sz="2400" dirty="0">
                <a:solidFill>
                  <a:schemeClr val="bg1"/>
                </a:solidFill>
                <a:cs typeface="+mn-ea"/>
              </a:rPr>
              <a:t>添加文字</a:t>
            </a:r>
            <a:endParaRPr lang="zh-CN" altLang="en-US" sz="2400" dirty="0">
              <a:solidFill>
                <a:schemeClr val="bg1"/>
              </a:solidFill>
              <a:cs typeface="+mn-ea"/>
            </a:endParaRPr>
          </a:p>
        </p:txBody>
      </p:sp>
      <p:sp>
        <p:nvSpPr>
          <p:cNvPr id="26"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7" name="文本框 26"/>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p:cTn id="7" dur="500" fill="hold"/>
                                        <p:tgtEl>
                                          <p:spTgt spid="51"/>
                                        </p:tgtEl>
                                        <p:attrNameLst>
                                          <p:attrName>ppt_w</p:attrName>
                                        </p:attrNameLst>
                                      </p:cBhvr>
                                      <p:tavLst>
                                        <p:tav tm="0">
                                          <p:val>
                                            <p:fltVal val="0"/>
                                          </p:val>
                                        </p:tav>
                                        <p:tav tm="100000">
                                          <p:val>
                                            <p:strVal val="#ppt_w"/>
                                          </p:val>
                                        </p:tav>
                                      </p:tavLst>
                                    </p:anim>
                                    <p:anim calcmode="lin" valueType="num">
                                      <p:cBhvr>
                                        <p:cTn id="8" dur="500" fill="hold"/>
                                        <p:tgtEl>
                                          <p:spTgt spid="51"/>
                                        </p:tgtEl>
                                        <p:attrNameLst>
                                          <p:attrName>ppt_h</p:attrName>
                                        </p:attrNameLst>
                                      </p:cBhvr>
                                      <p:tavLst>
                                        <p:tav tm="0">
                                          <p:val>
                                            <p:fltVal val="0"/>
                                          </p:val>
                                        </p:tav>
                                        <p:tav tm="100000">
                                          <p:val>
                                            <p:strVal val="#ppt_h"/>
                                          </p:val>
                                        </p:tav>
                                      </p:tavLst>
                                    </p:anim>
                                    <p:animEffect transition="in" filter="fade">
                                      <p:cBhvr>
                                        <p:cTn id="9" dur="500"/>
                                        <p:tgtEl>
                                          <p:spTgt spid="51"/>
                                        </p:tgtEl>
                                      </p:cBhvr>
                                    </p:animEffect>
                                  </p:childTnLst>
                                </p:cTn>
                              </p:par>
                            </p:childTnLst>
                          </p:cTn>
                        </p:par>
                        <p:par>
                          <p:cTn id="10" fill="hold">
                            <p:stCondLst>
                              <p:cond delay="500"/>
                            </p:stCondLst>
                            <p:childTnLst>
                              <p:par>
                                <p:cTn id="11" presetID="22" presetClass="entr" presetSubtype="4" fill="hold" nodeType="after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wipe(down)">
                                      <p:cBhvr>
                                        <p:cTn id="13" dur="500"/>
                                        <p:tgtEl>
                                          <p:spTgt spid="28"/>
                                        </p:tgtEl>
                                      </p:cBhvr>
                                    </p:animEffect>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fade">
                                      <p:cBhvr>
                                        <p:cTn id="25" dur="500"/>
                                        <p:tgtEl>
                                          <p:spTgt spid="38"/>
                                        </p:tgtEl>
                                      </p:cBhvr>
                                    </p:animEffect>
                                  </p:childTnLst>
                                </p:cTn>
                              </p:par>
                            </p:childTnLst>
                          </p:cTn>
                        </p:par>
                        <p:par>
                          <p:cTn id="26" fill="hold">
                            <p:stCondLst>
                              <p:cond delay="2500"/>
                            </p:stCondLst>
                            <p:childTnLst>
                              <p:par>
                                <p:cTn id="27" presetID="10" presetClass="entr" presetSubtype="0" fill="hold" grpId="0" nodeType="afterEffect">
                                  <p:stCondLst>
                                    <p:cond delay="0"/>
                                  </p:stCondLst>
                                  <p:childTnLst>
                                    <p:set>
                                      <p:cBhvr>
                                        <p:cTn id="28" dur="1" fill="hold">
                                          <p:stCondLst>
                                            <p:cond delay="0"/>
                                          </p:stCondLst>
                                        </p:cTn>
                                        <p:tgtEl>
                                          <p:spTgt spid="39"/>
                                        </p:tgtEl>
                                        <p:attrNameLst>
                                          <p:attrName>style.visibility</p:attrName>
                                        </p:attrNameLst>
                                      </p:cBhvr>
                                      <p:to>
                                        <p:strVal val="visible"/>
                                      </p:to>
                                    </p:set>
                                    <p:animEffect transition="in" filter="fade">
                                      <p:cBhvr>
                                        <p:cTn id="29" dur="500"/>
                                        <p:tgtEl>
                                          <p:spTgt spid="39"/>
                                        </p:tgtEl>
                                      </p:cBhvr>
                                    </p:animEffect>
                                  </p:childTnLst>
                                </p:cTn>
                              </p:par>
                            </p:childTnLst>
                          </p:cTn>
                        </p:par>
                        <p:par>
                          <p:cTn id="30" fill="hold">
                            <p:stCondLst>
                              <p:cond delay="3000"/>
                            </p:stCondLst>
                            <p:childTnLst>
                              <p:par>
                                <p:cTn id="31" presetID="10" presetClass="entr" presetSubtype="0" fill="hold" grpId="0" nodeType="after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fade">
                                      <p:cBhvr>
                                        <p:cTn id="33" dur="500"/>
                                        <p:tgtEl>
                                          <p:spTgt spid="43"/>
                                        </p:tgtEl>
                                      </p:cBhvr>
                                    </p:animEffect>
                                  </p:childTnLst>
                                </p:cTn>
                              </p:par>
                            </p:childTnLst>
                          </p:cTn>
                        </p:par>
                        <p:par>
                          <p:cTn id="34" fill="hold">
                            <p:stCondLst>
                              <p:cond delay="3500"/>
                            </p:stCondLst>
                            <p:childTnLst>
                              <p:par>
                                <p:cTn id="35" presetID="10" presetClass="entr" presetSubtype="0" fill="hold" grpId="0" nodeType="after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500"/>
                                        <p:tgtEl>
                                          <p:spTgt spid="41"/>
                                        </p:tgtEl>
                                      </p:cBhvr>
                                    </p:animEffect>
                                  </p:childTnLst>
                                </p:cTn>
                              </p:par>
                            </p:childTnLst>
                          </p:cTn>
                        </p:par>
                        <p:par>
                          <p:cTn id="38" fill="hold">
                            <p:stCondLst>
                              <p:cond delay="4000"/>
                            </p:stCondLst>
                            <p:childTnLst>
                              <p:par>
                                <p:cTn id="39" presetID="14" presetClass="entr" presetSubtype="10" fill="hold" nodeType="after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randombar(horizontal)">
                                      <p:cBhvr>
                                        <p:cTn id="41" dur="500"/>
                                        <p:tgtEl>
                                          <p:spTgt spid="44"/>
                                        </p:tgtEl>
                                      </p:cBhvr>
                                    </p:animEffect>
                                  </p:childTnLst>
                                </p:cTn>
                              </p:par>
                            </p:childTnLst>
                          </p:cTn>
                        </p:par>
                        <p:par>
                          <p:cTn id="42" fill="hold">
                            <p:stCondLst>
                              <p:cond delay="4500"/>
                            </p:stCondLst>
                            <p:childTnLst>
                              <p:par>
                                <p:cTn id="43" presetID="22" presetClass="entr" presetSubtype="4" fill="hold" grpId="0" nodeType="after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wipe(down)">
                                      <p:cBhvr>
                                        <p:cTn id="45" dur="1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P spid="40" grpId="0" animBg="1"/>
      <p:bldP spid="41" grpId="0" animBg="1"/>
      <p:bldP spid="42" grpId="0" animBg="1"/>
      <p:bldP spid="43" grpId="0" animBg="1"/>
      <p:bldP spid="51" grpId="0" animBg="1"/>
      <p:bldP spid="2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组合 81"/>
          <p:cNvGrpSpPr/>
          <p:nvPr/>
        </p:nvGrpSpPr>
        <p:grpSpPr>
          <a:xfrm>
            <a:off x="4620468" y="2113218"/>
            <a:ext cx="1716281" cy="2632740"/>
            <a:chOff x="4620464" y="2113215"/>
            <a:chExt cx="1716281" cy="2632740"/>
          </a:xfrm>
          <a:solidFill>
            <a:srgbClr val="0070C0"/>
          </a:solidFill>
        </p:grpSpPr>
        <p:sp>
          <p:nvSpPr>
            <p:cNvPr id="83" name="梯形 82"/>
            <p:cNvSpPr/>
            <p:nvPr/>
          </p:nvSpPr>
          <p:spPr>
            <a:xfrm rot="5400000">
              <a:off x="4072040" y="3142553"/>
              <a:ext cx="1669739" cy="572892"/>
            </a:xfrm>
            <a:prstGeom prst="trapezoid">
              <a:avLst>
                <a:gd name="adj" fmla="val 57643"/>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sp>
          <p:nvSpPr>
            <p:cNvPr id="84" name="梯形 83"/>
            <p:cNvSpPr/>
            <p:nvPr/>
          </p:nvSpPr>
          <p:spPr>
            <a:xfrm rot="8993242">
              <a:off x="4664982" y="2113215"/>
              <a:ext cx="1669739" cy="572892"/>
            </a:xfrm>
            <a:prstGeom prst="trapezoid">
              <a:avLst>
                <a:gd name="adj" fmla="val 57643"/>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sp>
          <p:nvSpPr>
            <p:cNvPr id="85" name="梯形 84"/>
            <p:cNvSpPr/>
            <p:nvPr/>
          </p:nvSpPr>
          <p:spPr>
            <a:xfrm rot="1800000">
              <a:off x="4667006" y="4173063"/>
              <a:ext cx="1669739" cy="572892"/>
            </a:xfrm>
            <a:prstGeom prst="trapezoid">
              <a:avLst>
                <a:gd name="adj" fmla="val 57643"/>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grpSp>
      <p:grpSp>
        <p:nvGrpSpPr>
          <p:cNvPr id="86" name="组合 85"/>
          <p:cNvGrpSpPr/>
          <p:nvPr/>
        </p:nvGrpSpPr>
        <p:grpSpPr>
          <a:xfrm>
            <a:off x="5856934" y="2112051"/>
            <a:ext cx="1716277" cy="2632728"/>
            <a:chOff x="5856933" y="2112051"/>
            <a:chExt cx="1716277" cy="2632728"/>
          </a:xfrm>
          <a:solidFill>
            <a:srgbClr val="0070C0"/>
          </a:solidFill>
        </p:grpSpPr>
        <p:sp>
          <p:nvSpPr>
            <p:cNvPr id="87" name="梯形 86"/>
            <p:cNvSpPr/>
            <p:nvPr/>
          </p:nvSpPr>
          <p:spPr>
            <a:xfrm rot="16200000" flipH="1">
              <a:off x="6451894" y="3142555"/>
              <a:ext cx="1669739" cy="572892"/>
            </a:xfrm>
            <a:prstGeom prst="trapezoid">
              <a:avLst>
                <a:gd name="adj" fmla="val 57643"/>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sp>
          <p:nvSpPr>
            <p:cNvPr id="88" name="梯形 87"/>
            <p:cNvSpPr/>
            <p:nvPr/>
          </p:nvSpPr>
          <p:spPr>
            <a:xfrm rot="19793242" flipH="1">
              <a:off x="5858956" y="4171887"/>
              <a:ext cx="1669739" cy="572892"/>
            </a:xfrm>
            <a:prstGeom prst="trapezoid">
              <a:avLst>
                <a:gd name="adj" fmla="val 57643"/>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sp>
          <p:nvSpPr>
            <p:cNvPr id="89" name="梯形 88"/>
            <p:cNvSpPr/>
            <p:nvPr/>
          </p:nvSpPr>
          <p:spPr>
            <a:xfrm rot="12600000" flipH="1">
              <a:off x="5856933" y="2112051"/>
              <a:ext cx="1669739" cy="572892"/>
            </a:xfrm>
            <a:prstGeom prst="trapezoid">
              <a:avLst>
                <a:gd name="adj" fmla="val 57643"/>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grpSp>
      <p:cxnSp>
        <p:nvCxnSpPr>
          <p:cNvPr id="90" name="直接连接符 89"/>
          <p:cNvCxnSpPr/>
          <p:nvPr/>
        </p:nvCxnSpPr>
        <p:spPr>
          <a:xfrm flipV="1">
            <a:off x="735710" y="3426084"/>
            <a:ext cx="3666516" cy="1"/>
          </a:xfrm>
          <a:prstGeom prst="line">
            <a:avLst/>
          </a:prstGeom>
          <a:ln w="12700">
            <a:solidFill>
              <a:srgbClr val="E46C0A"/>
            </a:solidFill>
            <a:tailEnd type="oval"/>
          </a:ln>
        </p:spPr>
        <p:style>
          <a:lnRef idx="1">
            <a:schemeClr val="accent1"/>
          </a:lnRef>
          <a:fillRef idx="0">
            <a:schemeClr val="accent1"/>
          </a:fillRef>
          <a:effectRef idx="0">
            <a:schemeClr val="accent1"/>
          </a:effectRef>
          <a:fontRef idx="minor">
            <a:schemeClr val="tx1"/>
          </a:fontRef>
        </p:style>
      </p:cxnSp>
      <p:sp>
        <p:nvSpPr>
          <p:cNvPr id="91" name="任意多边形 90"/>
          <p:cNvSpPr/>
          <p:nvPr/>
        </p:nvSpPr>
        <p:spPr>
          <a:xfrm>
            <a:off x="735712" y="1689082"/>
            <a:ext cx="4299209" cy="432087"/>
          </a:xfrm>
          <a:custGeom>
            <a:avLst/>
            <a:gdLst>
              <a:gd name="connsiteX0" fmla="*/ 0 w 3611880"/>
              <a:gd name="connsiteY0" fmla="*/ 0 h 678180"/>
              <a:gd name="connsiteX1" fmla="*/ 2933700 w 3611880"/>
              <a:gd name="connsiteY1" fmla="*/ 0 h 678180"/>
              <a:gd name="connsiteX2" fmla="*/ 3611880 w 3611880"/>
              <a:gd name="connsiteY2" fmla="*/ 678180 h 678180"/>
            </a:gdLst>
            <a:ahLst/>
            <a:cxnLst>
              <a:cxn ang="0">
                <a:pos x="connsiteX0" y="connsiteY0"/>
              </a:cxn>
              <a:cxn ang="0">
                <a:pos x="connsiteX1" y="connsiteY1"/>
              </a:cxn>
              <a:cxn ang="0">
                <a:pos x="connsiteX2" y="connsiteY2"/>
              </a:cxn>
            </a:cxnLst>
            <a:rect l="l" t="t" r="r" b="b"/>
            <a:pathLst>
              <a:path w="3611880" h="678180">
                <a:moveTo>
                  <a:pt x="0" y="0"/>
                </a:moveTo>
                <a:lnTo>
                  <a:pt x="2933700" y="0"/>
                </a:lnTo>
                <a:lnTo>
                  <a:pt x="3611880" y="678180"/>
                </a:lnTo>
              </a:path>
            </a:pathLst>
          </a:custGeom>
          <a:ln w="12700">
            <a:solidFill>
              <a:srgbClr val="0070C0"/>
            </a:solidFill>
            <a:tailEnd type="oval"/>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endParaRPr lang="zh-CN" altLang="en-US" sz="2400">
              <a:cs typeface="+mn-ea"/>
            </a:endParaRPr>
          </a:p>
        </p:txBody>
      </p:sp>
      <p:sp>
        <p:nvSpPr>
          <p:cNvPr id="92" name="任意多边形 91"/>
          <p:cNvSpPr/>
          <p:nvPr/>
        </p:nvSpPr>
        <p:spPr>
          <a:xfrm flipV="1">
            <a:off x="731842" y="4730997"/>
            <a:ext cx="4299209" cy="432087"/>
          </a:xfrm>
          <a:custGeom>
            <a:avLst/>
            <a:gdLst>
              <a:gd name="connsiteX0" fmla="*/ 0 w 3611880"/>
              <a:gd name="connsiteY0" fmla="*/ 0 h 678180"/>
              <a:gd name="connsiteX1" fmla="*/ 2933700 w 3611880"/>
              <a:gd name="connsiteY1" fmla="*/ 0 h 678180"/>
              <a:gd name="connsiteX2" fmla="*/ 3611880 w 3611880"/>
              <a:gd name="connsiteY2" fmla="*/ 678180 h 678180"/>
            </a:gdLst>
            <a:ahLst/>
            <a:cxnLst>
              <a:cxn ang="0">
                <a:pos x="connsiteX0" y="connsiteY0"/>
              </a:cxn>
              <a:cxn ang="0">
                <a:pos x="connsiteX1" y="connsiteY1"/>
              </a:cxn>
              <a:cxn ang="0">
                <a:pos x="connsiteX2" y="connsiteY2"/>
              </a:cxn>
            </a:cxnLst>
            <a:rect l="l" t="t" r="r" b="b"/>
            <a:pathLst>
              <a:path w="3611880" h="678180">
                <a:moveTo>
                  <a:pt x="0" y="0"/>
                </a:moveTo>
                <a:lnTo>
                  <a:pt x="2933700" y="0"/>
                </a:lnTo>
                <a:lnTo>
                  <a:pt x="3611880" y="678180"/>
                </a:lnTo>
              </a:path>
            </a:pathLst>
          </a:custGeom>
          <a:ln w="12700">
            <a:solidFill>
              <a:srgbClr val="0070C0"/>
            </a:solidFill>
            <a:tailEnd type="oval"/>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endParaRPr lang="zh-CN" altLang="en-US" sz="2400">
              <a:cs typeface="+mn-ea"/>
            </a:endParaRPr>
          </a:p>
        </p:txBody>
      </p:sp>
      <p:cxnSp>
        <p:nvCxnSpPr>
          <p:cNvPr id="93" name="直接连接符 92"/>
          <p:cNvCxnSpPr/>
          <p:nvPr/>
        </p:nvCxnSpPr>
        <p:spPr>
          <a:xfrm flipH="1">
            <a:off x="7791451" y="3426084"/>
            <a:ext cx="3664845" cy="2921"/>
          </a:xfrm>
          <a:prstGeom prst="line">
            <a:avLst/>
          </a:prstGeom>
          <a:ln w="12700">
            <a:solidFill>
              <a:srgbClr val="0070C0"/>
            </a:solidFill>
            <a:tailEnd type="oval"/>
          </a:ln>
        </p:spPr>
        <p:style>
          <a:lnRef idx="1">
            <a:schemeClr val="accent1"/>
          </a:lnRef>
          <a:fillRef idx="0">
            <a:schemeClr val="accent1"/>
          </a:fillRef>
          <a:effectRef idx="0">
            <a:schemeClr val="accent1"/>
          </a:effectRef>
          <a:fontRef idx="minor">
            <a:schemeClr val="tx1"/>
          </a:fontRef>
        </p:style>
      </p:cxnSp>
      <p:sp>
        <p:nvSpPr>
          <p:cNvPr id="94" name="任意多边形 93"/>
          <p:cNvSpPr/>
          <p:nvPr/>
        </p:nvSpPr>
        <p:spPr>
          <a:xfrm flipH="1">
            <a:off x="7158765" y="1689082"/>
            <a:ext cx="4297531" cy="432087"/>
          </a:xfrm>
          <a:custGeom>
            <a:avLst/>
            <a:gdLst>
              <a:gd name="connsiteX0" fmla="*/ 0 w 3611880"/>
              <a:gd name="connsiteY0" fmla="*/ 0 h 678180"/>
              <a:gd name="connsiteX1" fmla="*/ 2933700 w 3611880"/>
              <a:gd name="connsiteY1" fmla="*/ 0 h 678180"/>
              <a:gd name="connsiteX2" fmla="*/ 3611880 w 3611880"/>
              <a:gd name="connsiteY2" fmla="*/ 678180 h 678180"/>
            </a:gdLst>
            <a:ahLst/>
            <a:cxnLst>
              <a:cxn ang="0">
                <a:pos x="connsiteX0" y="connsiteY0"/>
              </a:cxn>
              <a:cxn ang="0">
                <a:pos x="connsiteX1" y="connsiteY1"/>
              </a:cxn>
              <a:cxn ang="0">
                <a:pos x="connsiteX2" y="connsiteY2"/>
              </a:cxn>
            </a:cxnLst>
            <a:rect l="l" t="t" r="r" b="b"/>
            <a:pathLst>
              <a:path w="3611880" h="678180">
                <a:moveTo>
                  <a:pt x="0" y="0"/>
                </a:moveTo>
                <a:lnTo>
                  <a:pt x="2933700" y="0"/>
                </a:lnTo>
                <a:lnTo>
                  <a:pt x="3611880" y="678180"/>
                </a:lnTo>
              </a:path>
            </a:pathLst>
          </a:custGeom>
          <a:ln w="12700">
            <a:solidFill>
              <a:srgbClr val="E46C0A"/>
            </a:solidFill>
            <a:tailEnd type="oval"/>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endParaRPr lang="zh-CN" altLang="en-US" sz="2400">
              <a:cs typeface="+mn-ea"/>
            </a:endParaRPr>
          </a:p>
        </p:txBody>
      </p:sp>
      <p:sp>
        <p:nvSpPr>
          <p:cNvPr id="95" name="任意多边形 94"/>
          <p:cNvSpPr/>
          <p:nvPr/>
        </p:nvSpPr>
        <p:spPr>
          <a:xfrm flipH="1" flipV="1">
            <a:off x="7162632" y="4730997"/>
            <a:ext cx="4297531" cy="432087"/>
          </a:xfrm>
          <a:custGeom>
            <a:avLst/>
            <a:gdLst>
              <a:gd name="connsiteX0" fmla="*/ 0 w 3611880"/>
              <a:gd name="connsiteY0" fmla="*/ 0 h 678180"/>
              <a:gd name="connsiteX1" fmla="*/ 2933700 w 3611880"/>
              <a:gd name="connsiteY1" fmla="*/ 0 h 678180"/>
              <a:gd name="connsiteX2" fmla="*/ 3611880 w 3611880"/>
              <a:gd name="connsiteY2" fmla="*/ 678180 h 678180"/>
            </a:gdLst>
            <a:ahLst/>
            <a:cxnLst>
              <a:cxn ang="0">
                <a:pos x="connsiteX0" y="connsiteY0"/>
              </a:cxn>
              <a:cxn ang="0">
                <a:pos x="connsiteX1" y="connsiteY1"/>
              </a:cxn>
              <a:cxn ang="0">
                <a:pos x="connsiteX2" y="connsiteY2"/>
              </a:cxn>
            </a:cxnLst>
            <a:rect l="l" t="t" r="r" b="b"/>
            <a:pathLst>
              <a:path w="3611880" h="678180">
                <a:moveTo>
                  <a:pt x="0" y="0"/>
                </a:moveTo>
                <a:lnTo>
                  <a:pt x="2933700" y="0"/>
                </a:lnTo>
                <a:lnTo>
                  <a:pt x="3611880" y="678180"/>
                </a:lnTo>
              </a:path>
            </a:pathLst>
          </a:custGeom>
          <a:ln w="12700">
            <a:solidFill>
              <a:srgbClr val="E46C0A"/>
            </a:solidFill>
            <a:tailEnd type="oval"/>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endParaRPr lang="zh-CN" altLang="en-US" sz="2400">
              <a:cs typeface="+mn-ea"/>
            </a:endParaRPr>
          </a:p>
        </p:txBody>
      </p:sp>
      <p:pic>
        <p:nvPicPr>
          <p:cNvPr id="96" name="图片 95"/>
          <p:cNvPicPr>
            <a:picLocks noChangeAspect="1"/>
          </p:cNvPicPr>
          <p:nvPr/>
        </p:nvPicPr>
        <p:blipFill>
          <a:blip r:embed="rId1"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8095252" y="4835440"/>
            <a:ext cx="255827" cy="255827"/>
          </a:xfrm>
          <a:prstGeom prst="rect">
            <a:avLst/>
          </a:prstGeom>
        </p:spPr>
      </p:pic>
      <p:pic>
        <p:nvPicPr>
          <p:cNvPr id="97" name="图片 96"/>
          <p:cNvPicPr>
            <a:picLocks noChangeAspect="1"/>
          </p:cNvPicPr>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8106497" y="1391473"/>
            <a:ext cx="233339" cy="233339"/>
          </a:xfrm>
          <a:prstGeom prst="rect">
            <a:avLst/>
          </a:prstGeom>
        </p:spPr>
      </p:pic>
      <p:pic>
        <p:nvPicPr>
          <p:cNvPr id="98" name="图片 97"/>
          <p:cNvPicPr>
            <a:picLocks noChangeAspect="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876926" y="4874567"/>
            <a:ext cx="203116" cy="203116"/>
          </a:xfrm>
          <a:prstGeom prst="rect">
            <a:avLst/>
          </a:prstGeom>
        </p:spPr>
      </p:pic>
      <p:pic>
        <p:nvPicPr>
          <p:cNvPr id="99" name="图片 98"/>
          <p:cNvPicPr>
            <a:picLocks noChangeAspect="1"/>
          </p:cNvPicPr>
          <p:nvPr/>
        </p:nvPicPr>
        <p:blipFill>
          <a:blip r:embed="rId4"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874996" y="3158772"/>
            <a:ext cx="206968" cy="185257"/>
          </a:xfrm>
          <a:prstGeom prst="rect">
            <a:avLst/>
          </a:prstGeom>
        </p:spPr>
      </p:pic>
      <p:pic>
        <p:nvPicPr>
          <p:cNvPr id="100" name="图片 99"/>
          <p:cNvPicPr>
            <a:picLocks noChangeAspect="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836483" y="1320864"/>
            <a:ext cx="283995" cy="283995"/>
          </a:xfrm>
          <a:prstGeom prst="rect">
            <a:avLst/>
          </a:prstGeom>
        </p:spPr>
      </p:pic>
      <p:pic>
        <p:nvPicPr>
          <p:cNvPr id="101" name="图片 100"/>
          <p:cNvPicPr>
            <a:picLocks noChangeAspect="1"/>
          </p:cNvPicPr>
          <p:nvPr/>
        </p:nvPicPr>
        <p:blipFill>
          <a:blip r:embed="rId6"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8112917" y="3139316"/>
            <a:ext cx="220499" cy="220499"/>
          </a:xfrm>
          <a:prstGeom prst="rect">
            <a:avLst/>
          </a:prstGeom>
        </p:spPr>
      </p:pic>
      <p:grpSp>
        <p:nvGrpSpPr>
          <p:cNvPr id="102" name="组合 101"/>
          <p:cNvGrpSpPr/>
          <p:nvPr/>
        </p:nvGrpSpPr>
        <p:grpSpPr>
          <a:xfrm>
            <a:off x="774837" y="1286453"/>
            <a:ext cx="3401031" cy="813945"/>
            <a:chOff x="774833" y="1286447"/>
            <a:chExt cx="3401031" cy="813944"/>
          </a:xfrm>
        </p:grpSpPr>
        <p:sp>
          <p:nvSpPr>
            <p:cNvPr id="103" name="文本框 45"/>
            <p:cNvSpPr txBox="1"/>
            <p:nvPr/>
          </p:nvSpPr>
          <p:spPr>
            <a:xfrm>
              <a:off x="774833" y="1286447"/>
              <a:ext cx="3063474" cy="424732"/>
            </a:xfrm>
            <a:prstGeom prst="rect">
              <a:avLst/>
            </a:prstGeom>
            <a:noFill/>
          </p:spPr>
          <p:txBody>
            <a:bodyPr wrap="square" rtlCol="0">
              <a:spAutoFit/>
            </a:bodyPr>
            <a:lstStyle/>
            <a:p>
              <a:pPr algn="r">
                <a:lnSpc>
                  <a:spcPct val="90000"/>
                </a:lnSpc>
                <a:spcBef>
                  <a:spcPts val="1000"/>
                </a:spcBef>
              </a:pPr>
              <a:r>
                <a:rPr lang="zh-CN" altLang="en-US" sz="2400" b="1" dirty="0">
                  <a:solidFill>
                    <a:schemeClr val="tx1">
                      <a:lumMod val="75000"/>
                      <a:lumOff val="25000"/>
                    </a:schemeClr>
                  </a:solidFill>
                  <a:latin typeface="+mn-ea"/>
                  <a:cs typeface="+mn-ea"/>
                </a:rPr>
                <a:t>添加标题</a:t>
              </a:r>
              <a:endParaRPr lang="zh-CN" altLang="en-US" sz="2400" b="1" dirty="0">
                <a:solidFill>
                  <a:schemeClr val="tx1">
                    <a:lumMod val="75000"/>
                    <a:lumOff val="25000"/>
                  </a:schemeClr>
                </a:solidFill>
                <a:latin typeface="+mn-ea"/>
                <a:cs typeface="+mn-ea"/>
              </a:endParaRPr>
            </a:p>
          </p:txBody>
        </p:sp>
        <p:sp>
          <p:nvSpPr>
            <p:cNvPr id="104" name="文本框 48"/>
            <p:cNvSpPr txBox="1"/>
            <p:nvPr/>
          </p:nvSpPr>
          <p:spPr>
            <a:xfrm>
              <a:off x="812802" y="1743177"/>
              <a:ext cx="3363062" cy="357214"/>
            </a:xfrm>
            <a:prstGeom prst="rect">
              <a:avLst/>
            </a:prstGeom>
            <a:noFill/>
          </p:spPr>
          <p:txBody>
            <a:bodyPr wrap="square" rtlCol="0">
              <a:spAutoFit/>
            </a:bodyPr>
            <a:lstStyle/>
            <a:p>
              <a:pPr algn="r">
                <a:lnSpc>
                  <a:spcPct val="130000"/>
                </a:lnSpc>
              </a:pPr>
              <a:r>
                <a:rPr lang="zh-CN" altLang="en-US" sz="1465" dirty="0">
                  <a:solidFill>
                    <a:schemeClr val="tx1">
                      <a:lumMod val="75000"/>
                      <a:lumOff val="25000"/>
                    </a:schemeClr>
                  </a:solidFill>
                  <a:latin typeface="+mn-ea"/>
                  <a:cs typeface="+mn-ea"/>
                </a:rPr>
                <a:t>单击添加文本单击添加文本单击添加</a:t>
              </a:r>
              <a:endParaRPr lang="en-US" altLang="zh-CN" sz="1465" dirty="0">
                <a:solidFill>
                  <a:schemeClr val="tx1">
                    <a:lumMod val="75000"/>
                    <a:lumOff val="25000"/>
                  </a:schemeClr>
                </a:solidFill>
                <a:latin typeface="+mn-ea"/>
                <a:cs typeface="+mn-ea"/>
              </a:endParaRPr>
            </a:p>
          </p:txBody>
        </p:sp>
      </p:grpSp>
      <p:grpSp>
        <p:nvGrpSpPr>
          <p:cNvPr id="105" name="组合 104"/>
          <p:cNvGrpSpPr/>
          <p:nvPr/>
        </p:nvGrpSpPr>
        <p:grpSpPr>
          <a:xfrm>
            <a:off x="774835" y="3017169"/>
            <a:ext cx="3401039" cy="829691"/>
            <a:chOff x="774833" y="3017162"/>
            <a:chExt cx="3401038" cy="829690"/>
          </a:xfrm>
        </p:grpSpPr>
        <p:sp>
          <p:nvSpPr>
            <p:cNvPr id="106" name="文本框 46"/>
            <p:cNvSpPr txBox="1"/>
            <p:nvPr/>
          </p:nvSpPr>
          <p:spPr>
            <a:xfrm>
              <a:off x="774833" y="3017162"/>
              <a:ext cx="3063473" cy="424732"/>
            </a:xfrm>
            <a:prstGeom prst="rect">
              <a:avLst/>
            </a:prstGeom>
            <a:noFill/>
          </p:spPr>
          <p:txBody>
            <a:bodyPr wrap="square" rtlCol="0">
              <a:spAutoFit/>
            </a:bodyPr>
            <a:lstStyle/>
            <a:p>
              <a:pPr algn="r">
                <a:lnSpc>
                  <a:spcPct val="90000"/>
                </a:lnSpc>
                <a:spcBef>
                  <a:spcPts val="1000"/>
                </a:spcBef>
              </a:pPr>
              <a:r>
                <a:rPr lang="zh-CN" altLang="en-US" sz="2400" b="1" dirty="0">
                  <a:solidFill>
                    <a:srgbClr val="969696"/>
                  </a:solidFill>
                  <a:latin typeface="+mn-ea"/>
                  <a:cs typeface="+mn-ea"/>
                </a:rPr>
                <a:t>添加标题</a:t>
              </a:r>
              <a:endParaRPr lang="zh-CN" altLang="en-US" sz="2400" b="1" dirty="0">
                <a:solidFill>
                  <a:srgbClr val="969696"/>
                </a:solidFill>
                <a:latin typeface="+mn-ea"/>
                <a:cs typeface="+mn-ea"/>
              </a:endParaRPr>
            </a:p>
          </p:txBody>
        </p:sp>
        <p:sp>
          <p:nvSpPr>
            <p:cNvPr id="107" name="文本框 49"/>
            <p:cNvSpPr txBox="1"/>
            <p:nvPr/>
          </p:nvSpPr>
          <p:spPr>
            <a:xfrm>
              <a:off x="812809" y="3489638"/>
              <a:ext cx="3363062" cy="357214"/>
            </a:xfrm>
            <a:prstGeom prst="rect">
              <a:avLst/>
            </a:prstGeom>
            <a:noFill/>
          </p:spPr>
          <p:txBody>
            <a:bodyPr wrap="square" rtlCol="0">
              <a:spAutoFit/>
            </a:bodyPr>
            <a:lstStyle/>
            <a:p>
              <a:pPr algn="r">
                <a:lnSpc>
                  <a:spcPct val="130000"/>
                </a:lnSpc>
              </a:pPr>
              <a:r>
                <a:rPr lang="zh-CN" altLang="en-US" sz="1465" dirty="0">
                  <a:solidFill>
                    <a:schemeClr val="tx1">
                      <a:lumMod val="75000"/>
                      <a:lumOff val="25000"/>
                    </a:schemeClr>
                  </a:solidFill>
                  <a:latin typeface="+mn-ea"/>
                  <a:cs typeface="+mn-ea"/>
                </a:rPr>
                <a:t>单击添加文本单击添加文本单击添加</a:t>
              </a:r>
              <a:endParaRPr lang="en-US" altLang="zh-CN" sz="1465" dirty="0">
                <a:solidFill>
                  <a:schemeClr val="tx1">
                    <a:lumMod val="75000"/>
                    <a:lumOff val="25000"/>
                  </a:schemeClr>
                </a:solidFill>
                <a:latin typeface="+mn-ea"/>
                <a:cs typeface="+mn-ea"/>
              </a:endParaRPr>
            </a:p>
          </p:txBody>
        </p:sp>
      </p:grpSp>
      <p:grpSp>
        <p:nvGrpSpPr>
          <p:cNvPr id="108" name="组合 107"/>
          <p:cNvGrpSpPr/>
          <p:nvPr/>
        </p:nvGrpSpPr>
        <p:grpSpPr>
          <a:xfrm>
            <a:off x="774837" y="4740554"/>
            <a:ext cx="3405791" cy="837920"/>
            <a:chOff x="774833" y="4740545"/>
            <a:chExt cx="3405791" cy="837919"/>
          </a:xfrm>
        </p:grpSpPr>
        <p:sp>
          <p:nvSpPr>
            <p:cNvPr id="109" name="文本框 47"/>
            <p:cNvSpPr txBox="1"/>
            <p:nvPr/>
          </p:nvSpPr>
          <p:spPr>
            <a:xfrm>
              <a:off x="774833" y="4740545"/>
              <a:ext cx="3063474" cy="424732"/>
            </a:xfrm>
            <a:prstGeom prst="rect">
              <a:avLst/>
            </a:prstGeom>
            <a:noFill/>
          </p:spPr>
          <p:txBody>
            <a:bodyPr wrap="square" rtlCol="0">
              <a:spAutoFit/>
            </a:bodyPr>
            <a:lstStyle/>
            <a:p>
              <a:pPr algn="r">
                <a:lnSpc>
                  <a:spcPct val="90000"/>
                </a:lnSpc>
                <a:spcBef>
                  <a:spcPts val="1000"/>
                </a:spcBef>
              </a:pPr>
              <a:r>
                <a:rPr lang="zh-CN" altLang="en-US" sz="2400" b="1" dirty="0">
                  <a:solidFill>
                    <a:schemeClr val="tx1">
                      <a:lumMod val="75000"/>
                      <a:lumOff val="25000"/>
                    </a:schemeClr>
                  </a:solidFill>
                  <a:latin typeface="+mn-ea"/>
                  <a:cs typeface="+mn-ea"/>
                </a:rPr>
                <a:t>添加标题</a:t>
              </a:r>
              <a:endParaRPr lang="zh-CN" altLang="en-US" sz="2400" b="1" dirty="0">
                <a:solidFill>
                  <a:schemeClr val="tx1">
                    <a:lumMod val="75000"/>
                    <a:lumOff val="25000"/>
                  </a:schemeClr>
                </a:solidFill>
                <a:latin typeface="+mn-ea"/>
                <a:cs typeface="+mn-ea"/>
              </a:endParaRPr>
            </a:p>
          </p:txBody>
        </p:sp>
        <p:sp>
          <p:nvSpPr>
            <p:cNvPr id="110" name="文本框 50"/>
            <p:cNvSpPr txBox="1"/>
            <p:nvPr/>
          </p:nvSpPr>
          <p:spPr>
            <a:xfrm>
              <a:off x="817562" y="5221250"/>
              <a:ext cx="3363062" cy="357214"/>
            </a:xfrm>
            <a:prstGeom prst="rect">
              <a:avLst/>
            </a:prstGeom>
            <a:noFill/>
          </p:spPr>
          <p:txBody>
            <a:bodyPr wrap="square" rtlCol="0">
              <a:spAutoFit/>
            </a:bodyPr>
            <a:lstStyle/>
            <a:p>
              <a:pPr algn="r">
                <a:lnSpc>
                  <a:spcPct val="130000"/>
                </a:lnSpc>
              </a:pPr>
              <a:r>
                <a:rPr lang="zh-CN" altLang="en-US" sz="1465" dirty="0">
                  <a:solidFill>
                    <a:schemeClr val="tx1">
                      <a:lumMod val="75000"/>
                      <a:lumOff val="25000"/>
                    </a:schemeClr>
                  </a:solidFill>
                  <a:latin typeface="+mn-ea"/>
                  <a:cs typeface="+mn-ea"/>
                </a:rPr>
                <a:t>单击添加文本单击添加文本单击添加</a:t>
              </a:r>
              <a:endParaRPr lang="en-US" altLang="zh-CN" sz="1465" dirty="0">
                <a:solidFill>
                  <a:schemeClr val="tx1">
                    <a:lumMod val="75000"/>
                    <a:lumOff val="25000"/>
                  </a:schemeClr>
                </a:solidFill>
                <a:latin typeface="+mn-ea"/>
                <a:cs typeface="+mn-ea"/>
              </a:endParaRPr>
            </a:p>
          </p:txBody>
        </p:sp>
      </p:grpSp>
      <p:grpSp>
        <p:nvGrpSpPr>
          <p:cNvPr id="111" name="组合 110"/>
          <p:cNvGrpSpPr/>
          <p:nvPr/>
        </p:nvGrpSpPr>
        <p:grpSpPr>
          <a:xfrm>
            <a:off x="8018258" y="1271835"/>
            <a:ext cx="3363063" cy="828559"/>
            <a:chOff x="7985918" y="1271833"/>
            <a:chExt cx="3363062" cy="828558"/>
          </a:xfrm>
        </p:grpSpPr>
        <p:sp>
          <p:nvSpPr>
            <p:cNvPr id="112" name="文本框 51"/>
            <p:cNvSpPr txBox="1"/>
            <p:nvPr/>
          </p:nvSpPr>
          <p:spPr>
            <a:xfrm>
              <a:off x="8266457" y="1271833"/>
              <a:ext cx="3063473" cy="424732"/>
            </a:xfrm>
            <a:prstGeom prst="rect">
              <a:avLst/>
            </a:prstGeom>
            <a:noFill/>
          </p:spPr>
          <p:txBody>
            <a:bodyPr wrap="square" rtlCol="0">
              <a:spAutoFit/>
            </a:bodyPr>
            <a:lstStyle/>
            <a:p>
              <a:pPr>
                <a:lnSpc>
                  <a:spcPct val="90000"/>
                </a:lnSpc>
                <a:spcBef>
                  <a:spcPts val="1000"/>
                </a:spcBef>
              </a:pPr>
              <a:r>
                <a:rPr lang="zh-CN" altLang="en-US" sz="2400" b="1" dirty="0">
                  <a:solidFill>
                    <a:srgbClr val="969696"/>
                  </a:solidFill>
                  <a:latin typeface="+mn-ea"/>
                  <a:cs typeface="+mn-ea"/>
                </a:rPr>
                <a:t>添加标题</a:t>
              </a:r>
              <a:endParaRPr lang="zh-CN" altLang="en-US" sz="2400" b="1" dirty="0">
                <a:solidFill>
                  <a:srgbClr val="969696"/>
                </a:solidFill>
                <a:latin typeface="+mn-ea"/>
                <a:cs typeface="+mn-ea"/>
              </a:endParaRPr>
            </a:p>
          </p:txBody>
        </p:sp>
        <p:sp>
          <p:nvSpPr>
            <p:cNvPr id="113" name="文本框 54"/>
            <p:cNvSpPr txBox="1"/>
            <p:nvPr/>
          </p:nvSpPr>
          <p:spPr>
            <a:xfrm>
              <a:off x="7985918" y="1743177"/>
              <a:ext cx="3363062" cy="357214"/>
            </a:xfrm>
            <a:prstGeom prst="rect">
              <a:avLst/>
            </a:prstGeom>
            <a:noFill/>
          </p:spPr>
          <p:txBody>
            <a:bodyPr wrap="square" rtlCol="0">
              <a:spAutoFit/>
            </a:bodyPr>
            <a:lstStyle/>
            <a:p>
              <a:pPr algn="just">
                <a:lnSpc>
                  <a:spcPct val="130000"/>
                </a:lnSpc>
              </a:pPr>
              <a:r>
                <a:rPr lang="zh-CN" altLang="en-US" sz="1465" dirty="0">
                  <a:solidFill>
                    <a:schemeClr val="tx1">
                      <a:lumMod val="75000"/>
                      <a:lumOff val="25000"/>
                    </a:schemeClr>
                  </a:solidFill>
                  <a:latin typeface="+mn-ea"/>
                  <a:cs typeface="+mn-ea"/>
                </a:rPr>
                <a:t>单击添加文本单击添加文本单击添加</a:t>
              </a:r>
              <a:endParaRPr lang="en-US" altLang="zh-CN" sz="1465" dirty="0">
                <a:solidFill>
                  <a:schemeClr val="tx1">
                    <a:lumMod val="75000"/>
                    <a:lumOff val="25000"/>
                  </a:schemeClr>
                </a:solidFill>
                <a:latin typeface="+mn-ea"/>
                <a:cs typeface="+mn-ea"/>
              </a:endParaRPr>
            </a:p>
          </p:txBody>
        </p:sp>
      </p:grpSp>
      <p:grpSp>
        <p:nvGrpSpPr>
          <p:cNvPr id="114" name="组合 113"/>
          <p:cNvGrpSpPr/>
          <p:nvPr/>
        </p:nvGrpSpPr>
        <p:grpSpPr>
          <a:xfrm>
            <a:off x="8015083" y="3002552"/>
            <a:ext cx="3363063" cy="844306"/>
            <a:chOff x="7982743" y="3002548"/>
            <a:chExt cx="3363062" cy="844305"/>
          </a:xfrm>
        </p:grpSpPr>
        <p:sp>
          <p:nvSpPr>
            <p:cNvPr id="115" name="文本框 52"/>
            <p:cNvSpPr txBox="1"/>
            <p:nvPr/>
          </p:nvSpPr>
          <p:spPr>
            <a:xfrm>
              <a:off x="8266458" y="3002548"/>
              <a:ext cx="3063473" cy="424732"/>
            </a:xfrm>
            <a:prstGeom prst="rect">
              <a:avLst/>
            </a:prstGeom>
            <a:noFill/>
          </p:spPr>
          <p:txBody>
            <a:bodyPr wrap="square" rtlCol="0">
              <a:spAutoFit/>
            </a:bodyPr>
            <a:lstStyle/>
            <a:p>
              <a:pPr>
                <a:lnSpc>
                  <a:spcPct val="90000"/>
                </a:lnSpc>
                <a:spcBef>
                  <a:spcPts val="1000"/>
                </a:spcBef>
              </a:pPr>
              <a:r>
                <a:rPr lang="zh-CN" altLang="en-US" sz="2400" b="1" dirty="0">
                  <a:solidFill>
                    <a:schemeClr val="tx1">
                      <a:lumMod val="75000"/>
                      <a:lumOff val="25000"/>
                    </a:schemeClr>
                  </a:solidFill>
                  <a:latin typeface="+mn-ea"/>
                  <a:cs typeface="+mn-ea"/>
                </a:rPr>
                <a:t>添加标题</a:t>
              </a:r>
              <a:endParaRPr lang="zh-CN" altLang="en-US" sz="2400" b="1" dirty="0">
                <a:solidFill>
                  <a:schemeClr val="tx1">
                    <a:lumMod val="75000"/>
                    <a:lumOff val="25000"/>
                  </a:schemeClr>
                </a:solidFill>
                <a:latin typeface="+mn-ea"/>
                <a:cs typeface="+mn-ea"/>
              </a:endParaRPr>
            </a:p>
          </p:txBody>
        </p:sp>
        <p:sp>
          <p:nvSpPr>
            <p:cNvPr id="116" name="文本框 55"/>
            <p:cNvSpPr txBox="1"/>
            <p:nvPr/>
          </p:nvSpPr>
          <p:spPr>
            <a:xfrm>
              <a:off x="7982743" y="3489639"/>
              <a:ext cx="3363062" cy="357214"/>
            </a:xfrm>
            <a:prstGeom prst="rect">
              <a:avLst/>
            </a:prstGeom>
            <a:noFill/>
          </p:spPr>
          <p:txBody>
            <a:bodyPr wrap="square" rtlCol="0">
              <a:spAutoFit/>
            </a:bodyPr>
            <a:lstStyle/>
            <a:p>
              <a:pPr algn="just">
                <a:lnSpc>
                  <a:spcPct val="130000"/>
                </a:lnSpc>
              </a:pPr>
              <a:r>
                <a:rPr lang="zh-CN" altLang="en-US" sz="1465" dirty="0">
                  <a:solidFill>
                    <a:schemeClr val="tx1">
                      <a:lumMod val="75000"/>
                      <a:lumOff val="25000"/>
                    </a:schemeClr>
                  </a:solidFill>
                  <a:latin typeface="+mn-ea"/>
                  <a:cs typeface="+mn-ea"/>
                </a:rPr>
                <a:t>单击添加文本单击添加文本单击添加</a:t>
              </a:r>
              <a:endParaRPr lang="en-US" altLang="zh-CN" sz="1465" dirty="0">
                <a:solidFill>
                  <a:schemeClr val="tx1">
                    <a:lumMod val="75000"/>
                    <a:lumOff val="25000"/>
                  </a:schemeClr>
                </a:solidFill>
                <a:latin typeface="+mn-ea"/>
                <a:cs typeface="+mn-ea"/>
              </a:endParaRPr>
            </a:p>
          </p:txBody>
        </p:sp>
      </p:grpSp>
      <p:grpSp>
        <p:nvGrpSpPr>
          <p:cNvPr id="117" name="组合 116"/>
          <p:cNvGrpSpPr/>
          <p:nvPr/>
        </p:nvGrpSpPr>
        <p:grpSpPr>
          <a:xfrm>
            <a:off x="8018258" y="4751340"/>
            <a:ext cx="3363063" cy="827134"/>
            <a:chOff x="7985918" y="4751331"/>
            <a:chExt cx="3363062" cy="827133"/>
          </a:xfrm>
        </p:grpSpPr>
        <p:sp>
          <p:nvSpPr>
            <p:cNvPr id="118" name="文本框 53"/>
            <p:cNvSpPr txBox="1"/>
            <p:nvPr/>
          </p:nvSpPr>
          <p:spPr>
            <a:xfrm>
              <a:off x="8266457" y="4751331"/>
              <a:ext cx="3063473" cy="424732"/>
            </a:xfrm>
            <a:prstGeom prst="rect">
              <a:avLst/>
            </a:prstGeom>
            <a:noFill/>
          </p:spPr>
          <p:txBody>
            <a:bodyPr wrap="square" rtlCol="0">
              <a:spAutoFit/>
            </a:bodyPr>
            <a:lstStyle/>
            <a:p>
              <a:pPr>
                <a:lnSpc>
                  <a:spcPct val="90000"/>
                </a:lnSpc>
                <a:spcBef>
                  <a:spcPts val="1000"/>
                </a:spcBef>
              </a:pPr>
              <a:r>
                <a:rPr lang="zh-CN" altLang="en-US" sz="2400" b="1" dirty="0">
                  <a:solidFill>
                    <a:srgbClr val="969696"/>
                  </a:solidFill>
                  <a:latin typeface="+mn-ea"/>
                  <a:cs typeface="+mn-ea"/>
                </a:rPr>
                <a:t>添加标题</a:t>
              </a:r>
              <a:endParaRPr lang="zh-CN" altLang="en-US" sz="2400" b="1" dirty="0">
                <a:solidFill>
                  <a:srgbClr val="969696"/>
                </a:solidFill>
                <a:latin typeface="+mn-ea"/>
                <a:cs typeface="+mn-ea"/>
              </a:endParaRPr>
            </a:p>
          </p:txBody>
        </p:sp>
        <p:sp>
          <p:nvSpPr>
            <p:cNvPr id="119" name="文本框 56"/>
            <p:cNvSpPr txBox="1"/>
            <p:nvPr/>
          </p:nvSpPr>
          <p:spPr>
            <a:xfrm>
              <a:off x="7985918" y="5221250"/>
              <a:ext cx="3363062" cy="357214"/>
            </a:xfrm>
            <a:prstGeom prst="rect">
              <a:avLst/>
            </a:prstGeom>
            <a:noFill/>
          </p:spPr>
          <p:txBody>
            <a:bodyPr wrap="square" rtlCol="0">
              <a:spAutoFit/>
            </a:bodyPr>
            <a:lstStyle/>
            <a:p>
              <a:pPr algn="just">
                <a:lnSpc>
                  <a:spcPct val="130000"/>
                </a:lnSpc>
              </a:pPr>
              <a:r>
                <a:rPr lang="zh-CN" altLang="en-US" sz="1465" dirty="0">
                  <a:solidFill>
                    <a:schemeClr val="tx1">
                      <a:lumMod val="75000"/>
                      <a:lumOff val="25000"/>
                    </a:schemeClr>
                  </a:solidFill>
                  <a:latin typeface="+mn-ea"/>
                  <a:cs typeface="+mn-ea"/>
                </a:rPr>
                <a:t>单击添加文本单击添加文本单击添加</a:t>
              </a:r>
              <a:endParaRPr lang="en-US" altLang="zh-CN" sz="1465" dirty="0">
                <a:solidFill>
                  <a:schemeClr val="tx1">
                    <a:lumMod val="75000"/>
                    <a:lumOff val="25000"/>
                  </a:schemeClr>
                </a:solidFill>
                <a:latin typeface="+mn-ea"/>
                <a:cs typeface="+mn-ea"/>
              </a:endParaRPr>
            </a:p>
          </p:txBody>
        </p:sp>
      </p:grpSp>
      <p:sp>
        <p:nvSpPr>
          <p:cNvPr id="120" name="文本框 57"/>
          <p:cNvSpPr txBox="1"/>
          <p:nvPr/>
        </p:nvSpPr>
        <p:spPr>
          <a:xfrm>
            <a:off x="5197437" y="3176952"/>
            <a:ext cx="1797135" cy="517129"/>
          </a:xfrm>
          <a:prstGeom prst="rect">
            <a:avLst/>
          </a:prstGeom>
          <a:noFill/>
        </p:spPr>
        <p:txBody>
          <a:bodyPr wrap="square" lIns="91440" tIns="45720" rIns="91440" bIns="45720" rtlCol="0">
            <a:spAutoFit/>
          </a:bodyPr>
          <a:lstStyle/>
          <a:p>
            <a:pPr algn="ctr">
              <a:lnSpc>
                <a:spcPct val="90000"/>
              </a:lnSpc>
              <a:spcBef>
                <a:spcPts val="1000"/>
              </a:spcBef>
            </a:pPr>
            <a:r>
              <a:rPr lang="zh-CN" altLang="en-US" sz="3065" b="1" dirty="0">
                <a:solidFill>
                  <a:schemeClr val="tx1">
                    <a:lumMod val="75000"/>
                    <a:lumOff val="25000"/>
                  </a:schemeClr>
                </a:solidFill>
                <a:latin typeface="+mn-ea"/>
                <a:cs typeface="+mn-ea"/>
              </a:rPr>
              <a:t>添加标题</a:t>
            </a:r>
            <a:endParaRPr lang="zh-CN" altLang="en-US" sz="3065" b="1" dirty="0">
              <a:solidFill>
                <a:schemeClr val="tx1">
                  <a:lumMod val="75000"/>
                  <a:lumOff val="25000"/>
                </a:schemeClr>
              </a:solidFill>
              <a:latin typeface="+mn-ea"/>
              <a:cs typeface="+mn-ea"/>
            </a:endParaRPr>
          </a:p>
        </p:txBody>
      </p:sp>
      <p:sp>
        <p:nvSpPr>
          <p:cNvPr id="4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48" name="文本框 47"/>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82"/>
                                        </p:tgtEl>
                                        <p:attrNameLst>
                                          <p:attrName>style.visibility</p:attrName>
                                        </p:attrNameLst>
                                      </p:cBhvr>
                                      <p:to>
                                        <p:strVal val="visible"/>
                                      </p:to>
                                    </p:set>
                                    <p:anim calcmode="lin" valueType="num">
                                      <p:cBhvr additive="base">
                                        <p:cTn id="7" dur="250" fill="hold"/>
                                        <p:tgtEl>
                                          <p:spTgt spid="82"/>
                                        </p:tgtEl>
                                        <p:attrNameLst>
                                          <p:attrName>ppt_x</p:attrName>
                                        </p:attrNameLst>
                                      </p:cBhvr>
                                      <p:tavLst>
                                        <p:tav tm="0">
                                          <p:val>
                                            <p:strVal val="1+#ppt_w/2"/>
                                          </p:val>
                                        </p:tav>
                                        <p:tav tm="100000">
                                          <p:val>
                                            <p:strVal val="#ppt_x"/>
                                          </p:val>
                                        </p:tav>
                                      </p:tavLst>
                                    </p:anim>
                                    <p:anim calcmode="lin" valueType="num">
                                      <p:cBhvr additive="base">
                                        <p:cTn id="8" dur="250" fill="hold"/>
                                        <p:tgtEl>
                                          <p:spTgt spid="8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86"/>
                                        </p:tgtEl>
                                        <p:attrNameLst>
                                          <p:attrName>style.visibility</p:attrName>
                                        </p:attrNameLst>
                                      </p:cBhvr>
                                      <p:to>
                                        <p:strVal val="visible"/>
                                      </p:to>
                                    </p:set>
                                    <p:anim calcmode="lin" valueType="num">
                                      <p:cBhvr additive="base">
                                        <p:cTn id="11" dur="250" fill="hold"/>
                                        <p:tgtEl>
                                          <p:spTgt spid="86"/>
                                        </p:tgtEl>
                                        <p:attrNameLst>
                                          <p:attrName>ppt_x</p:attrName>
                                        </p:attrNameLst>
                                      </p:cBhvr>
                                      <p:tavLst>
                                        <p:tav tm="0">
                                          <p:val>
                                            <p:strVal val="0-#ppt_w/2"/>
                                          </p:val>
                                        </p:tav>
                                        <p:tav tm="100000">
                                          <p:val>
                                            <p:strVal val="#ppt_x"/>
                                          </p:val>
                                        </p:tav>
                                      </p:tavLst>
                                    </p:anim>
                                    <p:anim calcmode="lin" valueType="num">
                                      <p:cBhvr additive="base">
                                        <p:cTn id="12" dur="250" fill="hold"/>
                                        <p:tgtEl>
                                          <p:spTgt spid="86"/>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53" presetClass="entr" presetSubtype="16" fill="hold" grpId="0" nodeType="afterEffect">
                                  <p:stCondLst>
                                    <p:cond delay="0"/>
                                  </p:stCondLst>
                                  <p:childTnLst>
                                    <p:set>
                                      <p:cBhvr>
                                        <p:cTn id="15" dur="1" fill="hold">
                                          <p:stCondLst>
                                            <p:cond delay="0"/>
                                          </p:stCondLst>
                                        </p:cTn>
                                        <p:tgtEl>
                                          <p:spTgt spid="120"/>
                                        </p:tgtEl>
                                        <p:attrNameLst>
                                          <p:attrName>style.visibility</p:attrName>
                                        </p:attrNameLst>
                                      </p:cBhvr>
                                      <p:to>
                                        <p:strVal val="visible"/>
                                      </p:to>
                                    </p:set>
                                    <p:anim calcmode="lin" valueType="num">
                                      <p:cBhvr>
                                        <p:cTn id="16" dur="500" fill="hold"/>
                                        <p:tgtEl>
                                          <p:spTgt spid="120"/>
                                        </p:tgtEl>
                                        <p:attrNameLst>
                                          <p:attrName>ppt_w</p:attrName>
                                        </p:attrNameLst>
                                      </p:cBhvr>
                                      <p:tavLst>
                                        <p:tav tm="0">
                                          <p:val>
                                            <p:fltVal val="0"/>
                                          </p:val>
                                        </p:tav>
                                        <p:tav tm="100000">
                                          <p:val>
                                            <p:strVal val="#ppt_w"/>
                                          </p:val>
                                        </p:tav>
                                      </p:tavLst>
                                    </p:anim>
                                    <p:anim calcmode="lin" valueType="num">
                                      <p:cBhvr>
                                        <p:cTn id="17" dur="500" fill="hold"/>
                                        <p:tgtEl>
                                          <p:spTgt spid="120"/>
                                        </p:tgtEl>
                                        <p:attrNameLst>
                                          <p:attrName>ppt_h</p:attrName>
                                        </p:attrNameLst>
                                      </p:cBhvr>
                                      <p:tavLst>
                                        <p:tav tm="0">
                                          <p:val>
                                            <p:fltVal val="0"/>
                                          </p:val>
                                        </p:tav>
                                        <p:tav tm="100000">
                                          <p:val>
                                            <p:strVal val="#ppt_h"/>
                                          </p:val>
                                        </p:tav>
                                      </p:tavLst>
                                    </p:anim>
                                    <p:animEffect transition="in" filter="fade">
                                      <p:cBhvr>
                                        <p:cTn id="18" dur="500"/>
                                        <p:tgtEl>
                                          <p:spTgt spid="120"/>
                                        </p:tgtEl>
                                      </p:cBhvr>
                                    </p:animEffect>
                                  </p:childTnLst>
                                </p:cTn>
                              </p:par>
                            </p:childTnLst>
                          </p:cTn>
                        </p:par>
                        <p:par>
                          <p:cTn id="19" fill="hold">
                            <p:stCondLst>
                              <p:cond delay="1000"/>
                            </p:stCondLst>
                            <p:childTnLst>
                              <p:par>
                                <p:cTn id="20" presetID="22" presetClass="entr" presetSubtype="2" fill="hold" grpId="0" nodeType="afterEffect">
                                  <p:stCondLst>
                                    <p:cond delay="0"/>
                                  </p:stCondLst>
                                  <p:childTnLst>
                                    <p:set>
                                      <p:cBhvr>
                                        <p:cTn id="21" dur="1" fill="hold">
                                          <p:stCondLst>
                                            <p:cond delay="0"/>
                                          </p:stCondLst>
                                        </p:cTn>
                                        <p:tgtEl>
                                          <p:spTgt spid="91"/>
                                        </p:tgtEl>
                                        <p:attrNameLst>
                                          <p:attrName>style.visibility</p:attrName>
                                        </p:attrNameLst>
                                      </p:cBhvr>
                                      <p:to>
                                        <p:strVal val="visible"/>
                                      </p:to>
                                    </p:set>
                                    <p:animEffect transition="in" filter="wipe(right)">
                                      <p:cBhvr>
                                        <p:cTn id="22" dur="500"/>
                                        <p:tgtEl>
                                          <p:spTgt spid="91"/>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94"/>
                                        </p:tgtEl>
                                        <p:attrNameLst>
                                          <p:attrName>style.visibility</p:attrName>
                                        </p:attrNameLst>
                                      </p:cBhvr>
                                      <p:to>
                                        <p:strVal val="visible"/>
                                      </p:to>
                                    </p:set>
                                    <p:animEffect transition="in" filter="wipe(left)">
                                      <p:cBhvr>
                                        <p:cTn id="25" dur="500"/>
                                        <p:tgtEl>
                                          <p:spTgt spid="94"/>
                                        </p:tgtEl>
                                      </p:cBhvr>
                                    </p:animEffect>
                                  </p:childTnLst>
                                </p:cTn>
                              </p:par>
                              <p:par>
                                <p:cTn id="26" presetID="10" presetClass="entr" presetSubtype="0" fill="hold" nodeType="withEffect">
                                  <p:stCondLst>
                                    <p:cond delay="0"/>
                                  </p:stCondLst>
                                  <p:childTnLst>
                                    <p:set>
                                      <p:cBhvr>
                                        <p:cTn id="27" dur="1" fill="hold">
                                          <p:stCondLst>
                                            <p:cond delay="0"/>
                                          </p:stCondLst>
                                        </p:cTn>
                                        <p:tgtEl>
                                          <p:spTgt spid="100"/>
                                        </p:tgtEl>
                                        <p:attrNameLst>
                                          <p:attrName>style.visibility</p:attrName>
                                        </p:attrNameLst>
                                      </p:cBhvr>
                                      <p:to>
                                        <p:strVal val="visible"/>
                                      </p:to>
                                    </p:set>
                                    <p:animEffect transition="in" filter="fade">
                                      <p:cBhvr>
                                        <p:cTn id="28" dur="500"/>
                                        <p:tgtEl>
                                          <p:spTgt spid="100"/>
                                        </p:tgtEl>
                                      </p:cBhvr>
                                    </p:animEffect>
                                  </p:childTnLst>
                                </p:cTn>
                              </p:par>
                              <p:par>
                                <p:cTn id="29" presetID="10" presetClass="entr" presetSubtype="0" fill="hold" nodeType="withEffect">
                                  <p:stCondLst>
                                    <p:cond delay="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 presetClass="entr" presetSubtype="0" fill="hold" nodeType="withEffect">
                                  <p:stCondLst>
                                    <p:cond delay="250"/>
                                  </p:stCondLst>
                                  <p:childTnLst>
                                    <p:set>
                                      <p:cBhvr>
                                        <p:cTn id="33" dur="1" fill="hold">
                                          <p:stCondLst>
                                            <p:cond delay="0"/>
                                          </p:stCondLst>
                                        </p:cTn>
                                        <p:tgtEl>
                                          <p:spTgt spid="102"/>
                                        </p:tgtEl>
                                        <p:attrNameLst>
                                          <p:attrName>style.visibility</p:attrName>
                                        </p:attrNameLst>
                                      </p:cBhvr>
                                      <p:to>
                                        <p:strVal val="visible"/>
                                      </p:to>
                                    </p:set>
                                  </p:childTnLst>
                                </p:cTn>
                              </p:par>
                              <p:par>
                                <p:cTn id="34" presetID="26" presetClass="emph" presetSubtype="0" fill="hold" nodeType="withEffect">
                                  <p:stCondLst>
                                    <p:cond delay="250"/>
                                  </p:stCondLst>
                                  <p:childTnLst>
                                    <p:animEffect transition="out" filter="fade">
                                      <p:cBhvr>
                                        <p:cTn id="35" dur="500" tmFilter="0, 0; .2, .5; .8, .5; 1, 0"/>
                                        <p:tgtEl>
                                          <p:spTgt spid="102"/>
                                        </p:tgtEl>
                                      </p:cBhvr>
                                    </p:animEffect>
                                    <p:animScale>
                                      <p:cBhvr>
                                        <p:cTn id="36" dur="250" autoRev="1" fill="hold"/>
                                        <p:tgtEl>
                                          <p:spTgt spid="102"/>
                                        </p:tgtEl>
                                      </p:cBhvr>
                                      <p:by x="105000" y="105000"/>
                                    </p:animScale>
                                  </p:childTnLst>
                                </p:cTn>
                              </p:par>
                              <p:par>
                                <p:cTn id="37" presetID="1" presetClass="entr" presetSubtype="0" fill="hold" nodeType="withEffect">
                                  <p:stCondLst>
                                    <p:cond delay="250"/>
                                  </p:stCondLst>
                                  <p:childTnLst>
                                    <p:set>
                                      <p:cBhvr>
                                        <p:cTn id="38" dur="1" fill="hold">
                                          <p:stCondLst>
                                            <p:cond delay="0"/>
                                          </p:stCondLst>
                                        </p:cTn>
                                        <p:tgtEl>
                                          <p:spTgt spid="111"/>
                                        </p:tgtEl>
                                        <p:attrNameLst>
                                          <p:attrName>style.visibility</p:attrName>
                                        </p:attrNameLst>
                                      </p:cBhvr>
                                      <p:to>
                                        <p:strVal val="visible"/>
                                      </p:to>
                                    </p:set>
                                  </p:childTnLst>
                                </p:cTn>
                              </p:par>
                              <p:par>
                                <p:cTn id="39" presetID="26" presetClass="emph" presetSubtype="0" fill="hold" nodeType="withEffect">
                                  <p:stCondLst>
                                    <p:cond delay="250"/>
                                  </p:stCondLst>
                                  <p:childTnLst>
                                    <p:animEffect transition="out" filter="fade">
                                      <p:cBhvr>
                                        <p:cTn id="40" dur="500" tmFilter="0, 0; .2, .5; .8, .5; 1, 0"/>
                                        <p:tgtEl>
                                          <p:spTgt spid="111"/>
                                        </p:tgtEl>
                                      </p:cBhvr>
                                    </p:animEffect>
                                    <p:animScale>
                                      <p:cBhvr>
                                        <p:cTn id="41" dur="250" autoRev="1" fill="hold"/>
                                        <p:tgtEl>
                                          <p:spTgt spid="111"/>
                                        </p:tgtEl>
                                      </p:cBhvr>
                                      <p:by x="105000" y="105000"/>
                                    </p:animScale>
                                  </p:childTnLst>
                                </p:cTn>
                              </p:par>
                            </p:childTnLst>
                          </p:cTn>
                        </p:par>
                        <p:par>
                          <p:cTn id="42" fill="hold">
                            <p:stCondLst>
                              <p:cond delay="1500"/>
                            </p:stCondLst>
                            <p:childTnLst>
                              <p:par>
                                <p:cTn id="43" presetID="22" presetClass="entr" presetSubtype="2" fill="hold" nodeType="after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wipe(right)">
                                      <p:cBhvr>
                                        <p:cTn id="45" dur="500"/>
                                        <p:tgtEl>
                                          <p:spTgt spid="90"/>
                                        </p:tgtEl>
                                      </p:cBhvr>
                                    </p:animEffect>
                                  </p:childTnLst>
                                </p:cTn>
                              </p:par>
                              <p:par>
                                <p:cTn id="46" presetID="22" presetClass="entr" presetSubtype="8" fill="hold" nodeType="withEffect">
                                  <p:stCondLst>
                                    <p:cond delay="0"/>
                                  </p:stCondLst>
                                  <p:childTnLst>
                                    <p:set>
                                      <p:cBhvr>
                                        <p:cTn id="47" dur="1" fill="hold">
                                          <p:stCondLst>
                                            <p:cond delay="0"/>
                                          </p:stCondLst>
                                        </p:cTn>
                                        <p:tgtEl>
                                          <p:spTgt spid="93"/>
                                        </p:tgtEl>
                                        <p:attrNameLst>
                                          <p:attrName>style.visibility</p:attrName>
                                        </p:attrNameLst>
                                      </p:cBhvr>
                                      <p:to>
                                        <p:strVal val="visible"/>
                                      </p:to>
                                    </p:set>
                                    <p:animEffect transition="in" filter="wipe(left)">
                                      <p:cBhvr>
                                        <p:cTn id="48" dur="500"/>
                                        <p:tgtEl>
                                          <p:spTgt spid="93"/>
                                        </p:tgtEl>
                                      </p:cBhvr>
                                    </p:animEffect>
                                  </p:childTnLst>
                                </p:cTn>
                              </p:par>
                              <p:par>
                                <p:cTn id="49" presetID="10" presetClass="entr" presetSubtype="0" fill="hold" nodeType="withEffect">
                                  <p:stCondLst>
                                    <p:cond delay="0"/>
                                  </p:stCondLst>
                                  <p:childTnLst>
                                    <p:set>
                                      <p:cBhvr>
                                        <p:cTn id="50" dur="1" fill="hold">
                                          <p:stCondLst>
                                            <p:cond delay="0"/>
                                          </p:stCondLst>
                                        </p:cTn>
                                        <p:tgtEl>
                                          <p:spTgt spid="99"/>
                                        </p:tgtEl>
                                        <p:attrNameLst>
                                          <p:attrName>style.visibility</p:attrName>
                                        </p:attrNameLst>
                                      </p:cBhvr>
                                      <p:to>
                                        <p:strVal val="visible"/>
                                      </p:to>
                                    </p:set>
                                    <p:animEffect transition="in" filter="fade">
                                      <p:cBhvr>
                                        <p:cTn id="51" dur="500"/>
                                        <p:tgtEl>
                                          <p:spTgt spid="99"/>
                                        </p:tgtEl>
                                      </p:cBhvr>
                                    </p:animEffect>
                                  </p:childTnLst>
                                </p:cTn>
                              </p:par>
                              <p:par>
                                <p:cTn id="52" presetID="10" presetClass="entr" presetSubtype="0" fill="hold" nodeType="withEffect">
                                  <p:stCondLst>
                                    <p:cond delay="0"/>
                                  </p:stCondLst>
                                  <p:childTnLst>
                                    <p:set>
                                      <p:cBhvr>
                                        <p:cTn id="53" dur="1" fill="hold">
                                          <p:stCondLst>
                                            <p:cond delay="0"/>
                                          </p:stCondLst>
                                        </p:cTn>
                                        <p:tgtEl>
                                          <p:spTgt spid="101"/>
                                        </p:tgtEl>
                                        <p:attrNameLst>
                                          <p:attrName>style.visibility</p:attrName>
                                        </p:attrNameLst>
                                      </p:cBhvr>
                                      <p:to>
                                        <p:strVal val="visible"/>
                                      </p:to>
                                    </p:set>
                                    <p:animEffect transition="in" filter="fade">
                                      <p:cBhvr>
                                        <p:cTn id="54" dur="500"/>
                                        <p:tgtEl>
                                          <p:spTgt spid="101"/>
                                        </p:tgtEl>
                                      </p:cBhvr>
                                    </p:animEffect>
                                  </p:childTnLst>
                                </p:cTn>
                              </p:par>
                              <p:par>
                                <p:cTn id="55" presetID="1" presetClass="entr" presetSubtype="0" fill="hold" nodeType="withEffect">
                                  <p:stCondLst>
                                    <p:cond delay="250"/>
                                  </p:stCondLst>
                                  <p:childTnLst>
                                    <p:set>
                                      <p:cBhvr>
                                        <p:cTn id="56" dur="1" fill="hold">
                                          <p:stCondLst>
                                            <p:cond delay="0"/>
                                          </p:stCondLst>
                                        </p:cTn>
                                        <p:tgtEl>
                                          <p:spTgt spid="105"/>
                                        </p:tgtEl>
                                        <p:attrNameLst>
                                          <p:attrName>style.visibility</p:attrName>
                                        </p:attrNameLst>
                                      </p:cBhvr>
                                      <p:to>
                                        <p:strVal val="visible"/>
                                      </p:to>
                                    </p:set>
                                  </p:childTnLst>
                                </p:cTn>
                              </p:par>
                              <p:par>
                                <p:cTn id="57" presetID="26" presetClass="emph" presetSubtype="0" fill="hold" nodeType="withEffect">
                                  <p:stCondLst>
                                    <p:cond delay="250"/>
                                  </p:stCondLst>
                                  <p:childTnLst>
                                    <p:animEffect transition="out" filter="fade">
                                      <p:cBhvr>
                                        <p:cTn id="58" dur="500" tmFilter="0, 0; .2, .5; .8, .5; 1, 0"/>
                                        <p:tgtEl>
                                          <p:spTgt spid="105"/>
                                        </p:tgtEl>
                                      </p:cBhvr>
                                    </p:animEffect>
                                    <p:animScale>
                                      <p:cBhvr>
                                        <p:cTn id="59" dur="250" autoRev="1" fill="hold"/>
                                        <p:tgtEl>
                                          <p:spTgt spid="105"/>
                                        </p:tgtEl>
                                      </p:cBhvr>
                                      <p:by x="105000" y="105000"/>
                                    </p:animScale>
                                  </p:childTnLst>
                                </p:cTn>
                              </p:par>
                              <p:par>
                                <p:cTn id="60" presetID="1" presetClass="entr" presetSubtype="0" fill="hold" nodeType="withEffect">
                                  <p:stCondLst>
                                    <p:cond delay="250"/>
                                  </p:stCondLst>
                                  <p:childTnLst>
                                    <p:set>
                                      <p:cBhvr>
                                        <p:cTn id="61" dur="1" fill="hold">
                                          <p:stCondLst>
                                            <p:cond delay="0"/>
                                          </p:stCondLst>
                                        </p:cTn>
                                        <p:tgtEl>
                                          <p:spTgt spid="114"/>
                                        </p:tgtEl>
                                        <p:attrNameLst>
                                          <p:attrName>style.visibility</p:attrName>
                                        </p:attrNameLst>
                                      </p:cBhvr>
                                      <p:to>
                                        <p:strVal val="visible"/>
                                      </p:to>
                                    </p:set>
                                  </p:childTnLst>
                                </p:cTn>
                              </p:par>
                              <p:par>
                                <p:cTn id="62" presetID="26" presetClass="emph" presetSubtype="0" fill="hold" nodeType="withEffect">
                                  <p:stCondLst>
                                    <p:cond delay="250"/>
                                  </p:stCondLst>
                                  <p:childTnLst>
                                    <p:animEffect transition="out" filter="fade">
                                      <p:cBhvr>
                                        <p:cTn id="63" dur="500" tmFilter="0, 0; .2, .5; .8, .5; 1, 0"/>
                                        <p:tgtEl>
                                          <p:spTgt spid="114"/>
                                        </p:tgtEl>
                                      </p:cBhvr>
                                    </p:animEffect>
                                    <p:animScale>
                                      <p:cBhvr>
                                        <p:cTn id="64" dur="250" autoRev="1" fill="hold"/>
                                        <p:tgtEl>
                                          <p:spTgt spid="114"/>
                                        </p:tgtEl>
                                      </p:cBhvr>
                                      <p:by x="105000" y="105000"/>
                                    </p:animScale>
                                  </p:childTnLst>
                                </p:cTn>
                              </p:par>
                            </p:childTnLst>
                          </p:cTn>
                        </p:par>
                        <p:par>
                          <p:cTn id="65" fill="hold">
                            <p:stCondLst>
                              <p:cond delay="2000"/>
                            </p:stCondLst>
                            <p:childTnLst>
                              <p:par>
                                <p:cTn id="66" presetID="22" presetClass="entr" presetSubtype="2" fill="hold" grpId="0" nodeType="afterEffect">
                                  <p:stCondLst>
                                    <p:cond delay="0"/>
                                  </p:stCondLst>
                                  <p:childTnLst>
                                    <p:set>
                                      <p:cBhvr>
                                        <p:cTn id="67" dur="1" fill="hold">
                                          <p:stCondLst>
                                            <p:cond delay="0"/>
                                          </p:stCondLst>
                                        </p:cTn>
                                        <p:tgtEl>
                                          <p:spTgt spid="92"/>
                                        </p:tgtEl>
                                        <p:attrNameLst>
                                          <p:attrName>style.visibility</p:attrName>
                                        </p:attrNameLst>
                                      </p:cBhvr>
                                      <p:to>
                                        <p:strVal val="visible"/>
                                      </p:to>
                                    </p:set>
                                    <p:animEffect transition="in" filter="wipe(right)">
                                      <p:cBhvr>
                                        <p:cTn id="68" dur="500"/>
                                        <p:tgtEl>
                                          <p:spTgt spid="92"/>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95"/>
                                        </p:tgtEl>
                                        <p:attrNameLst>
                                          <p:attrName>style.visibility</p:attrName>
                                        </p:attrNameLst>
                                      </p:cBhvr>
                                      <p:to>
                                        <p:strVal val="visible"/>
                                      </p:to>
                                    </p:set>
                                    <p:animEffect transition="in" filter="wipe(left)">
                                      <p:cBhvr>
                                        <p:cTn id="71" dur="500"/>
                                        <p:tgtEl>
                                          <p:spTgt spid="95"/>
                                        </p:tgtEl>
                                      </p:cBhvr>
                                    </p:animEffect>
                                  </p:childTnLst>
                                </p:cTn>
                              </p:par>
                              <p:par>
                                <p:cTn id="72" presetID="10" presetClass="entr" presetSubtype="0" fill="hold" nodeType="withEffect">
                                  <p:stCondLst>
                                    <p:cond delay="0"/>
                                  </p:stCondLst>
                                  <p:childTnLst>
                                    <p:set>
                                      <p:cBhvr>
                                        <p:cTn id="73" dur="1" fill="hold">
                                          <p:stCondLst>
                                            <p:cond delay="0"/>
                                          </p:stCondLst>
                                        </p:cTn>
                                        <p:tgtEl>
                                          <p:spTgt spid="98"/>
                                        </p:tgtEl>
                                        <p:attrNameLst>
                                          <p:attrName>style.visibility</p:attrName>
                                        </p:attrNameLst>
                                      </p:cBhvr>
                                      <p:to>
                                        <p:strVal val="visible"/>
                                      </p:to>
                                    </p:set>
                                    <p:animEffect transition="in" filter="fade">
                                      <p:cBhvr>
                                        <p:cTn id="74" dur="500"/>
                                        <p:tgtEl>
                                          <p:spTgt spid="98"/>
                                        </p:tgtEl>
                                      </p:cBhvr>
                                    </p:animEffect>
                                  </p:childTnLst>
                                </p:cTn>
                              </p:par>
                              <p:par>
                                <p:cTn id="75" presetID="10" presetClass="entr" presetSubtype="0" fill="hold" nodeType="withEffect">
                                  <p:stCondLst>
                                    <p:cond delay="0"/>
                                  </p:stCondLst>
                                  <p:childTnLst>
                                    <p:set>
                                      <p:cBhvr>
                                        <p:cTn id="76" dur="1" fill="hold">
                                          <p:stCondLst>
                                            <p:cond delay="0"/>
                                          </p:stCondLst>
                                        </p:cTn>
                                        <p:tgtEl>
                                          <p:spTgt spid="96"/>
                                        </p:tgtEl>
                                        <p:attrNameLst>
                                          <p:attrName>style.visibility</p:attrName>
                                        </p:attrNameLst>
                                      </p:cBhvr>
                                      <p:to>
                                        <p:strVal val="visible"/>
                                      </p:to>
                                    </p:set>
                                    <p:animEffect transition="in" filter="fade">
                                      <p:cBhvr>
                                        <p:cTn id="77" dur="500"/>
                                        <p:tgtEl>
                                          <p:spTgt spid="96"/>
                                        </p:tgtEl>
                                      </p:cBhvr>
                                    </p:animEffect>
                                  </p:childTnLst>
                                </p:cTn>
                              </p:par>
                              <p:par>
                                <p:cTn id="78" presetID="1" presetClass="entr" presetSubtype="0" fill="hold" nodeType="withEffect">
                                  <p:stCondLst>
                                    <p:cond delay="250"/>
                                  </p:stCondLst>
                                  <p:childTnLst>
                                    <p:set>
                                      <p:cBhvr>
                                        <p:cTn id="79" dur="1" fill="hold">
                                          <p:stCondLst>
                                            <p:cond delay="0"/>
                                          </p:stCondLst>
                                        </p:cTn>
                                        <p:tgtEl>
                                          <p:spTgt spid="108"/>
                                        </p:tgtEl>
                                        <p:attrNameLst>
                                          <p:attrName>style.visibility</p:attrName>
                                        </p:attrNameLst>
                                      </p:cBhvr>
                                      <p:to>
                                        <p:strVal val="visible"/>
                                      </p:to>
                                    </p:set>
                                  </p:childTnLst>
                                </p:cTn>
                              </p:par>
                              <p:par>
                                <p:cTn id="80" presetID="26" presetClass="emph" presetSubtype="0" fill="hold" nodeType="withEffect">
                                  <p:stCondLst>
                                    <p:cond delay="250"/>
                                  </p:stCondLst>
                                  <p:childTnLst>
                                    <p:animEffect transition="out" filter="fade">
                                      <p:cBhvr>
                                        <p:cTn id="81" dur="500" tmFilter="0, 0; .2, .5; .8, .5; 1, 0"/>
                                        <p:tgtEl>
                                          <p:spTgt spid="108"/>
                                        </p:tgtEl>
                                      </p:cBhvr>
                                    </p:animEffect>
                                    <p:animScale>
                                      <p:cBhvr>
                                        <p:cTn id="82" dur="250" autoRev="1" fill="hold"/>
                                        <p:tgtEl>
                                          <p:spTgt spid="108"/>
                                        </p:tgtEl>
                                      </p:cBhvr>
                                      <p:by x="105000" y="105000"/>
                                    </p:animScale>
                                  </p:childTnLst>
                                </p:cTn>
                              </p:par>
                              <p:par>
                                <p:cTn id="83" presetID="1" presetClass="entr" presetSubtype="0" fill="hold" nodeType="withEffect">
                                  <p:stCondLst>
                                    <p:cond delay="250"/>
                                  </p:stCondLst>
                                  <p:childTnLst>
                                    <p:set>
                                      <p:cBhvr>
                                        <p:cTn id="84" dur="1" fill="hold">
                                          <p:stCondLst>
                                            <p:cond delay="0"/>
                                          </p:stCondLst>
                                        </p:cTn>
                                        <p:tgtEl>
                                          <p:spTgt spid="117"/>
                                        </p:tgtEl>
                                        <p:attrNameLst>
                                          <p:attrName>style.visibility</p:attrName>
                                        </p:attrNameLst>
                                      </p:cBhvr>
                                      <p:to>
                                        <p:strVal val="visible"/>
                                      </p:to>
                                    </p:set>
                                  </p:childTnLst>
                                </p:cTn>
                              </p:par>
                              <p:par>
                                <p:cTn id="85" presetID="26" presetClass="emph" presetSubtype="0" fill="hold" nodeType="withEffect">
                                  <p:stCondLst>
                                    <p:cond delay="250"/>
                                  </p:stCondLst>
                                  <p:childTnLst>
                                    <p:animEffect transition="out" filter="fade">
                                      <p:cBhvr>
                                        <p:cTn id="86" dur="500" tmFilter="0, 0; .2, .5; .8, .5; 1, 0"/>
                                        <p:tgtEl>
                                          <p:spTgt spid="117"/>
                                        </p:tgtEl>
                                      </p:cBhvr>
                                    </p:animEffect>
                                    <p:animScale>
                                      <p:cBhvr>
                                        <p:cTn id="87" dur="250" autoRev="1" fill="hold"/>
                                        <p:tgtEl>
                                          <p:spTgt spid="117"/>
                                        </p:tgtEl>
                                      </p:cBhvr>
                                      <p:by x="105000" y="105000"/>
                                    </p:animScale>
                                  </p:childTnLst>
                                </p:cTn>
                              </p:par>
                            </p:childTnLst>
                          </p:cTn>
                        </p:par>
                        <p:par>
                          <p:cTn id="88" fill="hold">
                            <p:stCondLst>
                              <p:cond delay="2500"/>
                            </p:stCondLst>
                            <p:childTnLst>
                              <p:par>
                                <p:cTn id="89" presetID="22" presetClass="entr" presetSubtype="4" fill="hold" grpId="0" nodeType="afterEffect">
                                  <p:stCondLst>
                                    <p:cond delay="0"/>
                                  </p:stCondLst>
                                  <p:childTnLst>
                                    <p:set>
                                      <p:cBhvr>
                                        <p:cTn id="90" dur="1" fill="hold">
                                          <p:stCondLst>
                                            <p:cond delay="0"/>
                                          </p:stCondLst>
                                        </p:cTn>
                                        <p:tgtEl>
                                          <p:spTgt spid="48"/>
                                        </p:tgtEl>
                                        <p:attrNameLst>
                                          <p:attrName>style.visibility</p:attrName>
                                        </p:attrNameLst>
                                      </p:cBhvr>
                                      <p:to>
                                        <p:strVal val="visible"/>
                                      </p:to>
                                    </p:set>
                                    <p:animEffect transition="in" filter="wipe(down)">
                                      <p:cBhvr>
                                        <p:cTn id="91" dur="125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92" grpId="0" animBg="1"/>
      <p:bldP spid="94" grpId="0" animBg="1"/>
      <p:bldP spid="95" grpId="0" animBg="1"/>
      <p:bldP spid="120" grpId="0"/>
      <p:bldP spid="4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
          <p:cNvGrpSpPr/>
          <p:nvPr/>
        </p:nvGrpSpPr>
        <p:grpSpPr bwMode="auto">
          <a:xfrm>
            <a:off x="7054851" y="3250211"/>
            <a:ext cx="1352549" cy="2205567"/>
            <a:chOff x="0" y="0"/>
            <a:chExt cx="639" cy="1043"/>
          </a:xfrm>
        </p:grpSpPr>
        <p:sp>
          <p:nvSpPr>
            <p:cNvPr id="32" name="Freeform 4"/>
            <p:cNvSpPr/>
            <p:nvPr/>
          </p:nvSpPr>
          <p:spPr bwMode="auto">
            <a:xfrm>
              <a:off x="0" y="105"/>
              <a:ext cx="639" cy="938"/>
            </a:xfrm>
            <a:custGeom>
              <a:avLst/>
              <a:gdLst>
                <a:gd name="T0" fmla="*/ 189 w 194"/>
                <a:gd name="T1" fmla="*/ 8 h 285"/>
                <a:gd name="T2" fmla="*/ 137 w 194"/>
                <a:gd name="T3" fmla="*/ 0 h 285"/>
                <a:gd name="T4" fmla="*/ 133 w 194"/>
                <a:gd name="T5" fmla="*/ 1 h 285"/>
                <a:gd name="T6" fmla="*/ 149 w 194"/>
                <a:gd name="T7" fmla="*/ 22 h 285"/>
                <a:gd name="T8" fmla="*/ 86 w 194"/>
                <a:gd name="T9" fmla="*/ 68 h 285"/>
                <a:gd name="T10" fmla="*/ 68 w 194"/>
                <a:gd name="T11" fmla="*/ 68 h 285"/>
                <a:gd name="T12" fmla="*/ 52 w 194"/>
                <a:gd name="T13" fmla="*/ 85 h 285"/>
                <a:gd name="T14" fmla="*/ 35 w 194"/>
                <a:gd name="T15" fmla="*/ 68 h 285"/>
                <a:gd name="T16" fmla="*/ 16 w 194"/>
                <a:gd name="T17" fmla="*/ 68 h 285"/>
                <a:gd name="T18" fmla="*/ 0 w 194"/>
                <a:gd name="T19" fmla="*/ 76 h 285"/>
                <a:gd name="T20" fmla="*/ 0 w 194"/>
                <a:gd name="T21" fmla="*/ 173 h 285"/>
                <a:gd name="T22" fmla="*/ 6 w 194"/>
                <a:gd name="T23" fmla="*/ 186 h 285"/>
                <a:gd name="T24" fmla="*/ 17 w 194"/>
                <a:gd name="T25" fmla="*/ 186 h 285"/>
                <a:gd name="T26" fmla="*/ 17 w 194"/>
                <a:gd name="T27" fmla="*/ 271 h 285"/>
                <a:gd name="T28" fmla="*/ 38 w 194"/>
                <a:gd name="T29" fmla="*/ 285 h 285"/>
                <a:gd name="T30" fmla="*/ 52 w 194"/>
                <a:gd name="T31" fmla="*/ 273 h 285"/>
                <a:gd name="T32" fmla="*/ 69 w 194"/>
                <a:gd name="T33" fmla="*/ 284 h 285"/>
                <a:gd name="T34" fmla="*/ 87 w 194"/>
                <a:gd name="T35" fmla="*/ 274 h 285"/>
                <a:gd name="T36" fmla="*/ 87 w 194"/>
                <a:gd name="T37" fmla="*/ 220 h 285"/>
                <a:gd name="T38" fmla="*/ 87 w 194"/>
                <a:gd name="T39" fmla="*/ 185 h 285"/>
                <a:gd name="T40" fmla="*/ 87 w 194"/>
                <a:gd name="T41" fmla="*/ 106 h 285"/>
                <a:gd name="T42" fmla="*/ 167 w 194"/>
                <a:gd name="T43" fmla="*/ 47 h 285"/>
                <a:gd name="T44" fmla="*/ 183 w 194"/>
                <a:gd name="T45" fmla="*/ 69 h 285"/>
                <a:gd name="T46" fmla="*/ 186 w 194"/>
                <a:gd name="T47" fmla="*/ 65 h 285"/>
                <a:gd name="T48" fmla="*/ 194 w 194"/>
                <a:gd name="T49" fmla="*/ 14 h 285"/>
                <a:gd name="T50" fmla="*/ 189 w 194"/>
                <a:gd name="T51" fmla="*/ 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4" h="285">
                  <a:moveTo>
                    <a:pt x="189" y="8"/>
                  </a:moveTo>
                  <a:cubicBezTo>
                    <a:pt x="137" y="0"/>
                    <a:pt x="137" y="0"/>
                    <a:pt x="137" y="0"/>
                  </a:cubicBezTo>
                  <a:cubicBezTo>
                    <a:pt x="136" y="0"/>
                    <a:pt x="134" y="0"/>
                    <a:pt x="133" y="1"/>
                  </a:cubicBezTo>
                  <a:cubicBezTo>
                    <a:pt x="149" y="22"/>
                    <a:pt x="149" y="22"/>
                    <a:pt x="149" y="22"/>
                  </a:cubicBezTo>
                  <a:cubicBezTo>
                    <a:pt x="86" y="68"/>
                    <a:pt x="86" y="68"/>
                    <a:pt x="86" y="68"/>
                  </a:cubicBezTo>
                  <a:cubicBezTo>
                    <a:pt x="77" y="68"/>
                    <a:pt x="68" y="68"/>
                    <a:pt x="68" y="68"/>
                  </a:cubicBezTo>
                  <a:cubicBezTo>
                    <a:pt x="52" y="85"/>
                    <a:pt x="52" y="85"/>
                    <a:pt x="52" y="85"/>
                  </a:cubicBezTo>
                  <a:cubicBezTo>
                    <a:pt x="35" y="68"/>
                    <a:pt x="35" y="68"/>
                    <a:pt x="35" y="68"/>
                  </a:cubicBezTo>
                  <a:cubicBezTo>
                    <a:pt x="35" y="68"/>
                    <a:pt x="26" y="68"/>
                    <a:pt x="16" y="68"/>
                  </a:cubicBezTo>
                  <a:cubicBezTo>
                    <a:pt x="5" y="68"/>
                    <a:pt x="0" y="67"/>
                    <a:pt x="0" y="76"/>
                  </a:cubicBezTo>
                  <a:cubicBezTo>
                    <a:pt x="0" y="85"/>
                    <a:pt x="0" y="166"/>
                    <a:pt x="0" y="173"/>
                  </a:cubicBezTo>
                  <a:cubicBezTo>
                    <a:pt x="0" y="183"/>
                    <a:pt x="0" y="186"/>
                    <a:pt x="6" y="186"/>
                  </a:cubicBezTo>
                  <a:cubicBezTo>
                    <a:pt x="10" y="186"/>
                    <a:pt x="17" y="186"/>
                    <a:pt x="17" y="186"/>
                  </a:cubicBezTo>
                  <a:cubicBezTo>
                    <a:pt x="17" y="186"/>
                    <a:pt x="17" y="262"/>
                    <a:pt x="17" y="271"/>
                  </a:cubicBezTo>
                  <a:cubicBezTo>
                    <a:pt x="17" y="282"/>
                    <a:pt x="19" y="285"/>
                    <a:pt x="38" y="285"/>
                  </a:cubicBezTo>
                  <a:cubicBezTo>
                    <a:pt x="50" y="285"/>
                    <a:pt x="52" y="277"/>
                    <a:pt x="52" y="273"/>
                  </a:cubicBezTo>
                  <a:cubicBezTo>
                    <a:pt x="53" y="283"/>
                    <a:pt x="57" y="284"/>
                    <a:pt x="69" y="284"/>
                  </a:cubicBezTo>
                  <a:cubicBezTo>
                    <a:pt x="80" y="284"/>
                    <a:pt x="87" y="285"/>
                    <a:pt x="87" y="274"/>
                  </a:cubicBezTo>
                  <a:cubicBezTo>
                    <a:pt x="87" y="267"/>
                    <a:pt x="87" y="242"/>
                    <a:pt x="87" y="220"/>
                  </a:cubicBezTo>
                  <a:cubicBezTo>
                    <a:pt x="87" y="201"/>
                    <a:pt x="87" y="185"/>
                    <a:pt x="87" y="185"/>
                  </a:cubicBezTo>
                  <a:cubicBezTo>
                    <a:pt x="87" y="106"/>
                    <a:pt x="87" y="106"/>
                    <a:pt x="87" y="106"/>
                  </a:cubicBezTo>
                  <a:cubicBezTo>
                    <a:pt x="167" y="47"/>
                    <a:pt x="167" y="47"/>
                    <a:pt x="167" y="47"/>
                  </a:cubicBezTo>
                  <a:cubicBezTo>
                    <a:pt x="183" y="69"/>
                    <a:pt x="183" y="69"/>
                    <a:pt x="183" y="69"/>
                  </a:cubicBezTo>
                  <a:cubicBezTo>
                    <a:pt x="185" y="68"/>
                    <a:pt x="186" y="67"/>
                    <a:pt x="186" y="65"/>
                  </a:cubicBezTo>
                  <a:cubicBezTo>
                    <a:pt x="194" y="14"/>
                    <a:pt x="194" y="14"/>
                    <a:pt x="194" y="14"/>
                  </a:cubicBezTo>
                  <a:cubicBezTo>
                    <a:pt x="194" y="11"/>
                    <a:pt x="192" y="8"/>
                    <a:pt x="189" y="8"/>
                  </a:cubicBezTo>
                  <a:close/>
                </a:path>
              </a:pathLst>
            </a:custGeom>
            <a:solidFill>
              <a:srgbClr val="254061"/>
            </a:solidFill>
            <a:ln w="28575" cap="flat" cmpd="sng">
              <a:solidFill>
                <a:srgbClr val="F2F2F2"/>
              </a:solidFill>
              <a:rou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sp>
          <p:nvSpPr>
            <p:cNvPr id="33" name="Oval 5"/>
            <p:cNvSpPr>
              <a:spLocks noChangeArrowheads="1"/>
            </p:cNvSpPr>
            <p:nvPr/>
          </p:nvSpPr>
          <p:spPr bwMode="auto">
            <a:xfrm>
              <a:off x="17" y="0"/>
              <a:ext cx="310" cy="306"/>
            </a:xfrm>
            <a:prstGeom prst="ellipse">
              <a:avLst/>
            </a:prstGeom>
            <a:solidFill>
              <a:srgbClr val="254061"/>
            </a:solidFill>
            <a:ln w="28575" cmpd="sng">
              <a:solidFill>
                <a:srgbClr val="F2F2F2"/>
              </a:solidFill>
              <a:rou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grpSp>
      <p:grpSp>
        <p:nvGrpSpPr>
          <p:cNvPr id="34" name="Group 6"/>
          <p:cNvGrpSpPr/>
          <p:nvPr/>
        </p:nvGrpSpPr>
        <p:grpSpPr bwMode="auto">
          <a:xfrm>
            <a:off x="3716870" y="3250211"/>
            <a:ext cx="1352551" cy="2205567"/>
            <a:chOff x="0" y="0"/>
            <a:chExt cx="639" cy="1043"/>
          </a:xfrm>
        </p:grpSpPr>
        <p:sp>
          <p:nvSpPr>
            <p:cNvPr id="35" name="Freeform 7"/>
            <p:cNvSpPr/>
            <p:nvPr/>
          </p:nvSpPr>
          <p:spPr bwMode="auto">
            <a:xfrm>
              <a:off x="0" y="105"/>
              <a:ext cx="639" cy="938"/>
            </a:xfrm>
            <a:custGeom>
              <a:avLst/>
              <a:gdLst>
                <a:gd name="T0" fmla="*/ 5 w 194"/>
                <a:gd name="T1" fmla="*/ 8 h 285"/>
                <a:gd name="T2" fmla="*/ 57 w 194"/>
                <a:gd name="T3" fmla="*/ 0 h 285"/>
                <a:gd name="T4" fmla="*/ 61 w 194"/>
                <a:gd name="T5" fmla="*/ 1 h 285"/>
                <a:gd name="T6" fmla="*/ 46 w 194"/>
                <a:gd name="T7" fmla="*/ 22 h 285"/>
                <a:gd name="T8" fmla="*/ 108 w 194"/>
                <a:gd name="T9" fmla="*/ 68 h 285"/>
                <a:gd name="T10" fmla="*/ 126 w 194"/>
                <a:gd name="T11" fmla="*/ 68 h 285"/>
                <a:gd name="T12" fmla="*/ 142 w 194"/>
                <a:gd name="T13" fmla="*/ 85 h 285"/>
                <a:gd name="T14" fmla="*/ 159 w 194"/>
                <a:gd name="T15" fmla="*/ 68 h 285"/>
                <a:gd name="T16" fmla="*/ 179 w 194"/>
                <a:gd name="T17" fmla="*/ 68 h 285"/>
                <a:gd name="T18" fmla="*/ 194 w 194"/>
                <a:gd name="T19" fmla="*/ 76 h 285"/>
                <a:gd name="T20" fmla="*/ 194 w 194"/>
                <a:gd name="T21" fmla="*/ 173 h 285"/>
                <a:gd name="T22" fmla="*/ 189 w 194"/>
                <a:gd name="T23" fmla="*/ 186 h 285"/>
                <a:gd name="T24" fmla="*/ 177 w 194"/>
                <a:gd name="T25" fmla="*/ 186 h 285"/>
                <a:gd name="T26" fmla="*/ 177 w 194"/>
                <a:gd name="T27" fmla="*/ 271 h 285"/>
                <a:gd name="T28" fmla="*/ 156 w 194"/>
                <a:gd name="T29" fmla="*/ 285 h 285"/>
                <a:gd name="T30" fmla="*/ 142 w 194"/>
                <a:gd name="T31" fmla="*/ 273 h 285"/>
                <a:gd name="T32" fmla="*/ 125 w 194"/>
                <a:gd name="T33" fmla="*/ 284 h 285"/>
                <a:gd name="T34" fmla="*/ 108 w 194"/>
                <a:gd name="T35" fmla="*/ 274 h 285"/>
                <a:gd name="T36" fmla="*/ 108 w 194"/>
                <a:gd name="T37" fmla="*/ 220 h 285"/>
                <a:gd name="T38" fmla="*/ 108 w 194"/>
                <a:gd name="T39" fmla="*/ 185 h 285"/>
                <a:gd name="T40" fmla="*/ 108 w 194"/>
                <a:gd name="T41" fmla="*/ 106 h 285"/>
                <a:gd name="T42" fmla="*/ 27 w 194"/>
                <a:gd name="T43" fmla="*/ 47 h 285"/>
                <a:gd name="T44" fmla="*/ 11 w 194"/>
                <a:gd name="T45" fmla="*/ 69 h 285"/>
                <a:gd name="T46" fmla="*/ 8 w 194"/>
                <a:gd name="T47" fmla="*/ 65 h 285"/>
                <a:gd name="T48" fmla="*/ 1 w 194"/>
                <a:gd name="T49" fmla="*/ 14 h 285"/>
                <a:gd name="T50" fmla="*/ 5 w 194"/>
                <a:gd name="T51" fmla="*/ 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4" h="285">
                  <a:moveTo>
                    <a:pt x="5" y="8"/>
                  </a:moveTo>
                  <a:cubicBezTo>
                    <a:pt x="57" y="0"/>
                    <a:pt x="57" y="0"/>
                    <a:pt x="57" y="0"/>
                  </a:cubicBezTo>
                  <a:cubicBezTo>
                    <a:pt x="59" y="0"/>
                    <a:pt x="60" y="0"/>
                    <a:pt x="61" y="1"/>
                  </a:cubicBezTo>
                  <a:cubicBezTo>
                    <a:pt x="46" y="22"/>
                    <a:pt x="46" y="22"/>
                    <a:pt x="46" y="22"/>
                  </a:cubicBezTo>
                  <a:cubicBezTo>
                    <a:pt x="108" y="68"/>
                    <a:pt x="108" y="68"/>
                    <a:pt x="108" y="68"/>
                  </a:cubicBezTo>
                  <a:cubicBezTo>
                    <a:pt x="117" y="68"/>
                    <a:pt x="126" y="68"/>
                    <a:pt x="126" y="68"/>
                  </a:cubicBezTo>
                  <a:cubicBezTo>
                    <a:pt x="142" y="85"/>
                    <a:pt x="142" y="85"/>
                    <a:pt x="142" y="85"/>
                  </a:cubicBezTo>
                  <a:cubicBezTo>
                    <a:pt x="159" y="68"/>
                    <a:pt x="159" y="68"/>
                    <a:pt x="159" y="68"/>
                  </a:cubicBezTo>
                  <a:cubicBezTo>
                    <a:pt x="159" y="68"/>
                    <a:pt x="169" y="68"/>
                    <a:pt x="179" y="68"/>
                  </a:cubicBezTo>
                  <a:cubicBezTo>
                    <a:pt x="189" y="68"/>
                    <a:pt x="194" y="67"/>
                    <a:pt x="194" y="76"/>
                  </a:cubicBezTo>
                  <a:cubicBezTo>
                    <a:pt x="194" y="85"/>
                    <a:pt x="194" y="166"/>
                    <a:pt x="194" y="173"/>
                  </a:cubicBezTo>
                  <a:cubicBezTo>
                    <a:pt x="194" y="183"/>
                    <a:pt x="194" y="186"/>
                    <a:pt x="189" y="186"/>
                  </a:cubicBezTo>
                  <a:cubicBezTo>
                    <a:pt x="185" y="186"/>
                    <a:pt x="177" y="186"/>
                    <a:pt x="177" y="186"/>
                  </a:cubicBezTo>
                  <a:cubicBezTo>
                    <a:pt x="177" y="186"/>
                    <a:pt x="177" y="262"/>
                    <a:pt x="177" y="271"/>
                  </a:cubicBezTo>
                  <a:cubicBezTo>
                    <a:pt x="177" y="282"/>
                    <a:pt x="175" y="285"/>
                    <a:pt x="156" y="285"/>
                  </a:cubicBezTo>
                  <a:cubicBezTo>
                    <a:pt x="145" y="285"/>
                    <a:pt x="143" y="277"/>
                    <a:pt x="142" y="273"/>
                  </a:cubicBezTo>
                  <a:cubicBezTo>
                    <a:pt x="142" y="283"/>
                    <a:pt x="137" y="284"/>
                    <a:pt x="125" y="284"/>
                  </a:cubicBezTo>
                  <a:cubicBezTo>
                    <a:pt x="115" y="284"/>
                    <a:pt x="108" y="285"/>
                    <a:pt x="108" y="274"/>
                  </a:cubicBezTo>
                  <a:cubicBezTo>
                    <a:pt x="108" y="267"/>
                    <a:pt x="108" y="242"/>
                    <a:pt x="108" y="220"/>
                  </a:cubicBezTo>
                  <a:cubicBezTo>
                    <a:pt x="108" y="201"/>
                    <a:pt x="108" y="185"/>
                    <a:pt x="108" y="185"/>
                  </a:cubicBezTo>
                  <a:cubicBezTo>
                    <a:pt x="108" y="106"/>
                    <a:pt x="108" y="106"/>
                    <a:pt x="108" y="106"/>
                  </a:cubicBezTo>
                  <a:cubicBezTo>
                    <a:pt x="27" y="47"/>
                    <a:pt x="27" y="47"/>
                    <a:pt x="27" y="47"/>
                  </a:cubicBezTo>
                  <a:cubicBezTo>
                    <a:pt x="11" y="69"/>
                    <a:pt x="11" y="69"/>
                    <a:pt x="11" y="69"/>
                  </a:cubicBezTo>
                  <a:cubicBezTo>
                    <a:pt x="10" y="68"/>
                    <a:pt x="9" y="67"/>
                    <a:pt x="8" y="65"/>
                  </a:cubicBezTo>
                  <a:cubicBezTo>
                    <a:pt x="1" y="14"/>
                    <a:pt x="1" y="14"/>
                    <a:pt x="1" y="14"/>
                  </a:cubicBezTo>
                  <a:cubicBezTo>
                    <a:pt x="0" y="11"/>
                    <a:pt x="2" y="8"/>
                    <a:pt x="5" y="8"/>
                  </a:cubicBezTo>
                  <a:close/>
                </a:path>
              </a:pathLst>
            </a:custGeom>
            <a:solidFill>
              <a:srgbClr val="254061"/>
            </a:solidFill>
            <a:ln w="28575" cap="flat" cmpd="sng">
              <a:solidFill>
                <a:srgbClr val="F2F2F2"/>
              </a:solidFill>
              <a:rou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sp>
          <p:nvSpPr>
            <p:cNvPr id="36" name="Oval 8"/>
            <p:cNvSpPr>
              <a:spLocks noChangeArrowheads="1"/>
            </p:cNvSpPr>
            <p:nvPr/>
          </p:nvSpPr>
          <p:spPr bwMode="auto">
            <a:xfrm>
              <a:off x="316" y="0"/>
              <a:ext cx="306" cy="306"/>
            </a:xfrm>
            <a:prstGeom prst="ellipse">
              <a:avLst/>
            </a:prstGeom>
            <a:solidFill>
              <a:srgbClr val="254061"/>
            </a:solidFill>
            <a:ln w="28575" cmpd="sng">
              <a:solidFill>
                <a:srgbClr val="F2F2F2"/>
              </a:solidFill>
              <a:rou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grpSp>
      <p:grpSp>
        <p:nvGrpSpPr>
          <p:cNvPr id="37" name="Group 9"/>
          <p:cNvGrpSpPr/>
          <p:nvPr/>
        </p:nvGrpSpPr>
        <p:grpSpPr bwMode="auto">
          <a:xfrm>
            <a:off x="4273551" y="3423775"/>
            <a:ext cx="1430867" cy="2262717"/>
            <a:chOff x="0" y="0"/>
            <a:chExt cx="676" cy="1070"/>
          </a:xfrm>
        </p:grpSpPr>
        <p:sp>
          <p:nvSpPr>
            <p:cNvPr id="38" name="Oval 10"/>
            <p:cNvSpPr>
              <a:spLocks noChangeArrowheads="1"/>
            </p:cNvSpPr>
            <p:nvPr/>
          </p:nvSpPr>
          <p:spPr bwMode="auto">
            <a:xfrm>
              <a:off x="343" y="0"/>
              <a:ext cx="313" cy="316"/>
            </a:xfrm>
            <a:prstGeom prst="ellipse">
              <a:avLst/>
            </a:prstGeom>
            <a:solidFill>
              <a:srgbClr val="E46C0A"/>
            </a:solidFill>
            <a:ln w="12700" cmpd="sng">
              <a:solidFill>
                <a:srgbClr val="FFFFFF"/>
              </a:solidFill>
              <a:round/>
            </a:ln>
          </p:spPr>
          <p:txBody>
            <a:bodyPr/>
            <a:lstStyle/>
            <a:p>
              <a:endParaRPr lang="zh-CN" altLang="en-US" sz="2400">
                <a:cs typeface="+mn-ea"/>
              </a:endParaRPr>
            </a:p>
          </p:txBody>
        </p:sp>
        <p:sp>
          <p:nvSpPr>
            <p:cNvPr id="39" name="Freeform 11"/>
            <p:cNvSpPr/>
            <p:nvPr/>
          </p:nvSpPr>
          <p:spPr bwMode="auto">
            <a:xfrm>
              <a:off x="0" y="250"/>
              <a:ext cx="676" cy="820"/>
            </a:xfrm>
            <a:custGeom>
              <a:avLst/>
              <a:gdLst>
                <a:gd name="T0" fmla="*/ 2 w 205"/>
                <a:gd name="T1" fmla="*/ 40 h 249"/>
                <a:gd name="T2" fmla="*/ 41 w 205"/>
                <a:gd name="T3" fmla="*/ 2 h 249"/>
                <a:gd name="T4" fmla="*/ 44 w 205"/>
                <a:gd name="T5" fmla="*/ 0 h 249"/>
                <a:gd name="T6" fmla="*/ 44 w 205"/>
                <a:gd name="T7" fmla="*/ 27 h 249"/>
                <a:gd name="T8" fmla="*/ 116 w 205"/>
                <a:gd name="T9" fmla="*/ 27 h 249"/>
                <a:gd name="T10" fmla="*/ 117 w 205"/>
                <a:gd name="T11" fmla="*/ 27 h 249"/>
                <a:gd name="T12" fmla="*/ 135 w 205"/>
                <a:gd name="T13" fmla="*/ 27 h 249"/>
                <a:gd name="T14" fmla="*/ 151 w 205"/>
                <a:gd name="T15" fmla="*/ 44 h 249"/>
                <a:gd name="T16" fmla="*/ 168 w 205"/>
                <a:gd name="T17" fmla="*/ 27 h 249"/>
                <a:gd name="T18" fmla="*/ 189 w 205"/>
                <a:gd name="T19" fmla="*/ 27 h 249"/>
                <a:gd name="T20" fmla="*/ 205 w 205"/>
                <a:gd name="T21" fmla="*/ 35 h 249"/>
                <a:gd name="T22" fmla="*/ 205 w 205"/>
                <a:gd name="T23" fmla="*/ 135 h 249"/>
                <a:gd name="T24" fmla="*/ 199 w 205"/>
                <a:gd name="T25" fmla="*/ 148 h 249"/>
                <a:gd name="T26" fmla="*/ 187 w 205"/>
                <a:gd name="T27" fmla="*/ 148 h 249"/>
                <a:gd name="T28" fmla="*/ 187 w 205"/>
                <a:gd name="T29" fmla="*/ 234 h 249"/>
                <a:gd name="T30" fmla="*/ 166 w 205"/>
                <a:gd name="T31" fmla="*/ 249 h 249"/>
                <a:gd name="T32" fmla="*/ 151 w 205"/>
                <a:gd name="T33" fmla="*/ 237 h 249"/>
                <a:gd name="T34" fmla="*/ 134 w 205"/>
                <a:gd name="T35" fmla="*/ 248 h 249"/>
                <a:gd name="T36" fmla="*/ 116 w 205"/>
                <a:gd name="T37" fmla="*/ 238 h 249"/>
                <a:gd name="T38" fmla="*/ 116 w 205"/>
                <a:gd name="T39" fmla="*/ 176 h 249"/>
                <a:gd name="T40" fmla="*/ 116 w 205"/>
                <a:gd name="T41" fmla="*/ 147 h 249"/>
                <a:gd name="T42" fmla="*/ 116 w 205"/>
                <a:gd name="T43" fmla="*/ 59 h 249"/>
                <a:gd name="T44" fmla="*/ 44 w 205"/>
                <a:gd name="T45" fmla="*/ 59 h 249"/>
                <a:gd name="T46" fmla="*/ 44 w 205"/>
                <a:gd name="T47" fmla="*/ 87 h 249"/>
                <a:gd name="T48" fmla="*/ 40 w 205"/>
                <a:gd name="T49" fmla="*/ 85 h 249"/>
                <a:gd name="T50" fmla="*/ 3 w 205"/>
                <a:gd name="T51" fmla="*/ 48 h 249"/>
                <a:gd name="T52" fmla="*/ 2 w 205"/>
                <a:gd name="T53" fmla="*/ 4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5" h="249">
                  <a:moveTo>
                    <a:pt x="2" y="40"/>
                  </a:moveTo>
                  <a:cubicBezTo>
                    <a:pt x="41" y="2"/>
                    <a:pt x="41" y="2"/>
                    <a:pt x="41" y="2"/>
                  </a:cubicBezTo>
                  <a:cubicBezTo>
                    <a:pt x="42" y="1"/>
                    <a:pt x="43" y="0"/>
                    <a:pt x="44" y="0"/>
                  </a:cubicBezTo>
                  <a:cubicBezTo>
                    <a:pt x="44" y="27"/>
                    <a:pt x="44" y="27"/>
                    <a:pt x="44" y="27"/>
                  </a:cubicBezTo>
                  <a:cubicBezTo>
                    <a:pt x="116" y="27"/>
                    <a:pt x="116" y="27"/>
                    <a:pt x="116" y="27"/>
                  </a:cubicBezTo>
                  <a:cubicBezTo>
                    <a:pt x="117" y="27"/>
                    <a:pt x="117" y="27"/>
                    <a:pt x="117" y="27"/>
                  </a:cubicBezTo>
                  <a:cubicBezTo>
                    <a:pt x="126" y="27"/>
                    <a:pt x="135" y="27"/>
                    <a:pt x="135" y="27"/>
                  </a:cubicBezTo>
                  <a:cubicBezTo>
                    <a:pt x="151" y="44"/>
                    <a:pt x="151" y="44"/>
                    <a:pt x="151" y="44"/>
                  </a:cubicBezTo>
                  <a:cubicBezTo>
                    <a:pt x="168" y="27"/>
                    <a:pt x="168" y="27"/>
                    <a:pt x="168" y="27"/>
                  </a:cubicBezTo>
                  <a:cubicBezTo>
                    <a:pt x="168" y="27"/>
                    <a:pt x="178" y="27"/>
                    <a:pt x="189" y="27"/>
                  </a:cubicBezTo>
                  <a:cubicBezTo>
                    <a:pt x="199" y="27"/>
                    <a:pt x="205" y="26"/>
                    <a:pt x="205" y="35"/>
                  </a:cubicBezTo>
                  <a:cubicBezTo>
                    <a:pt x="205" y="44"/>
                    <a:pt x="205" y="127"/>
                    <a:pt x="205" y="135"/>
                  </a:cubicBezTo>
                  <a:cubicBezTo>
                    <a:pt x="205" y="144"/>
                    <a:pt x="205" y="148"/>
                    <a:pt x="199" y="148"/>
                  </a:cubicBezTo>
                  <a:cubicBezTo>
                    <a:pt x="195" y="148"/>
                    <a:pt x="187" y="148"/>
                    <a:pt x="187" y="148"/>
                  </a:cubicBezTo>
                  <a:cubicBezTo>
                    <a:pt x="187" y="148"/>
                    <a:pt x="187" y="226"/>
                    <a:pt x="187" y="234"/>
                  </a:cubicBezTo>
                  <a:cubicBezTo>
                    <a:pt x="187" y="246"/>
                    <a:pt x="185" y="249"/>
                    <a:pt x="166" y="249"/>
                  </a:cubicBezTo>
                  <a:cubicBezTo>
                    <a:pt x="154" y="249"/>
                    <a:pt x="151" y="241"/>
                    <a:pt x="151" y="237"/>
                  </a:cubicBezTo>
                  <a:cubicBezTo>
                    <a:pt x="151" y="247"/>
                    <a:pt x="146" y="248"/>
                    <a:pt x="134" y="248"/>
                  </a:cubicBezTo>
                  <a:cubicBezTo>
                    <a:pt x="123" y="248"/>
                    <a:pt x="116" y="249"/>
                    <a:pt x="116" y="238"/>
                  </a:cubicBezTo>
                  <a:cubicBezTo>
                    <a:pt x="116" y="230"/>
                    <a:pt x="116" y="199"/>
                    <a:pt x="116" y="176"/>
                  </a:cubicBezTo>
                  <a:cubicBezTo>
                    <a:pt x="116" y="160"/>
                    <a:pt x="116" y="147"/>
                    <a:pt x="116" y="147"/>
                  </a:cubicBezTo>
                  <a:cubicBezTo>
                    <a:pt x="116" y="59"/>
                    <a:pt x="116" y="59"/>
                    <a:pt x="116" y="59"/>
                  </a:cubicBezTo>
                  <a:cubicBezTo>
                    <a:pt x="44" y="59"/>
                    <a:pt x="44" y="59"/>
                    <a:pt x="44" y="59"/>
                  </a:cubicBezTo>
                  <a:cubicBezTo>
                    <a:pt x="44" y="87"/>
                    <a:pt x="44" y="87"/>
                    <a:pt x="44" y="87"/>
                  </a:cubicBezTo>
                  <a:cubicBezTo>
                    <a:pt x="43" y="87"/>
                    <a:pt x="41" y="87"/>
                    <a:pt x="40" y="85"/>
                  </a:cubicBezTo>
                  <a:cubicBezTo>
                    <a:pt x="3" y="48"/>
                    <a:pt x="3" y="48"/>
                    <a:pt x="3" y="48"/>
                  </a:cubicBezTo>
                  <a:cubicBezTo>
                    <a:pt x="0" y="46"/>
                    <a:pt x="0" y="42"/>
                    <a:pt x="2" y="40"/>
                  </a:cubicBezTo>
                  <a:close/>
                </a:path>
              </a:pathLst>
            </a:custGeom>
            <a:solidFill>
              <a:srgbClr val="E46C0A"/>
            </a:solidFill>
            <a:ln w="12700" cap="flat" cmpd="sng">
              <a:solidFill>
                <a:srgbClr val="FFFFFF"/>
              </a:solidFill>
              <a:round/>
            </a:ln>
          </p:spPr>
          <p:txBody>
            <a:bodyPr/>
            <a:lstStyle/>
            <a:p>
              <a:endParaRPr lang="zh-CN" altLang="en-US" sz="2400">
                <a:cs typeface="+mn-ea"/>
              </a:endParaRPr>
            </a:p>
          </p:txBody>
        </p:sp>
      </p:grpSp>
      <p:grpSp>
        <p:nvGrpSpPr>
          <p:cNvPr id="40" name="Group 12"/>
          <p:cNvGrpSpPr/>
          <p:nvPr/>
        </p:nvGrpSpPr>
        <p:grpSpPr bwMode="auto">
          <a:xfrm>
            <a:off x="6383867" y="3387795"/>
            <a:ext cx="1422400" cy="2262716"/>
            <a:chOff x="0" y="0"/>
            <a:chExt cx="672" cy="1070"/>
          </a:xfrm>
        </p:grpSpPr>
        <p:sp>
          <p:nvSpPr>
            <p:cNvPr id="41" name="Oval 13"/>
            <p:cNvSpPr>
              <a:spLocks noChangeArrowheads="1"/>
            </p:cNvSpPr>
            <p:nvPr/>
          </p:nvSpPr>
          <p:spPr bwMode="auto">
            <a:xfrm>
              <a:off x="17" y="0"/>
              <a:ext cx="316" cy="316"/>
            </a:xfrm>
            <a:prstGeom prst="ellipse">
              <a:avLst/>
            </a:prstGeom>
            <a:solidFill>
              <a:srgbClr val="E46C0A"/>
            </a:solidFill>
            <a:ln w="12700" cmpd="sng">
              <a:solidFill>
                <a:srgbClr val="FFFFFF"/>
              </a:solidFill>
              <a:round/>
            </a:ln>
          </p:spPr>
          <p:txBody>
            <a:bodyPr/>
            <a:lstStyle/>
            <a:p>
              <a:endParaRPr lang="zh-CN" altLang="en-US" sz="2400">
                <a:cs typeface="+mn-ea"/>
              </a:endParaRPr>
            </a:p>
          </p:txBody>
        </p:sp>
        <p:sp>
          <p:nvSpPr>
            <p:cNvPr id="42" name="Freeform 14"/>
            <p:cNvSpPr/>
            <p:nvPr/>
          </p:nvSpPr>
          <p:spPr bwMode="auto">
            <a:xfrm>
              <a:off x="0" y="250"/>
              <a:ext cx="672" cy="820"/>
            </a:xfrm>
            <a:custGeom>
              <a:avLst/>
              <a:gdLst>
                <a:gd name="T0" fmla="*/ 202 w 204"/>
                <a:gd name="T1" fmla="*/ 40 h 249"/>
                <a:gd name="T2" fmla="*/ 164 w 204"/>
                <a:gd name="T3" fmla="*/ 2 h 249"/>
                <a:gd name="T4" fmla="*/ 160 w 204"/>
                <a:gd name="T5" fmla="*/ 0 h 249"/>
                <a:gd name="T6" fmla="*/ 160 w 204"/>
                <a:gd name="T7" fmla="*/ 27 h 249"/>
                <a:gd name="T8" fmla="*/ 89 w 204"/>
                <a:gd name="T9" fmla="*/ 27 h 249"/>
                <a:gd name="T10" fmla="*/ 87 w 204"/>
                <a:gd name="T11" fmla="*/ 27 h 249"/>
                <a:gd name="T12" fmla="*/ 69 w 204"/>
                <a:gd name="T13" fmla="*/ 27 h 249"/>
                <a:gd name="T14" fmla="*/ 53 w 204"/>
                <a:gd name="T15" fmla="*/ 44 h 249"/>
                <a:gd name="T16" fmla="*/ 36 w 204"/>
                <a:gd name="T17" fmla="*/ 27 h 249"/>
                <a:gd name="T18" fmla="*/ 16 w 204"/>
                <a:gd name="T19" fmla="*/ 27 h 249"/>
                <a:gd name="T20" fmla="*/ 0 w 204"/>
                <a:gd name="T21" fmla="*/ 35 h 249"/>
                <a:gd name="T22" fmla="*/ 0 w 204"/>
                <a:gd name="T23" fmla="*/ 135 h 249"/>
                <a:gd name="T24" fmla="*/ 5 w 204"/>
                <a:gd name="T25" fmla="*/ 148 h 249"/>
                <a:gd name="T26" fmla="*/ 17 w 204"/>
                <a:gd name="T27" fmla="*/ 148 h 249"/>
                <a:gd name="T28" fmla="*/ 17 w 204"/>
                <a:gd name="T29" fmla="*/ 234 h 249"/>
                <a:gd name="T30" fmla="*/ 39 w 204"/>
                <a:gd name="T31" fmla="*/ 249 h 249"/>
                <a:gd name="T32" fmla="*/ 53 w 204"/>
                <a:gd name="T33" fmla="*/ 237 h 249"/>
                <a:gd name="T34" fmla="*/ 71 w 204"/>
                <a:gd name="T35" fmla="*/ 248 h 249"/>
                <a:gd name="T36" fmla="*/ 89 w 204"/>
                <a:gd name="T37" fmla="*/ 238 h 249"/>
                <a:gd name="T38" fmla="*/ 89 w 204"/>
                <a:gd name="T39" fmla="*/ 176 h 249"/>
                <a:gd name="T40" fmla="*/ 89 w 204"/>
                <a:gd name="T41" fmla="*/ 147 h 249"/>
                <a:gd name="T42" fmla="*/ 89 w 204"/>
                <a:gd name="T43" fmla="*/ 59 h 249"/>
                <a:gd name="T44" fmla="*/ 160 w 204"/>
                <a:gd name="T45" fmla="*/ 59 h 249"/>
                <a:gd name="T46" fmla="*/ 160 w 204"/>
                <a:gd name="T47" fmla="*/ 87 h 249"/>
                <a:gd name="T48" fmla="*/ 164 w 204"/>
                <a:gd name="T49" fmla="*/ 85 h 249"/>
                <a:gd name="T50" fmla="*/ 202 w 204"/>
                <a:gd name="T51" fmla="*/ 48 h 249"/>
                <a:gd name="T52" fmla="*/ 202 w 204"/>
                <a:gd name="T53" fmla="*/ 4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4" h="249">
                  <a:moveTo>
                    <a:pt x="202" y="40"/>
                  </a:moveTo>
                  <a:cubicBezTo>
                    <a:pt x="164" y="2"/>
                    <a:pt x="164" y="2"/>
                    <a:pt x="164" y="2"/>
                  </a:cubicBezTo>
                  <a:cubicBezTo>
                    <a:pt x="163" y="1"/>
                    <a:pt x="161" y="0"/>
                    <a:pt x="160" y="0"/>
                  </a:cubicBezTo>
                  <a:cubicBezTo>
                    <a:pt x="160" y="27"/>
                    <a:pt x="160" y="27"/>
                    <a:pt x="160" y="27"/>
                  </a:cubicBezTo>
                  <a:cubicBezTo>
                    <a:pt x="89" y="27"/>
                    <a:pt x="89" y="27"/>
                    <a:pt x="89" y="27"/>
                  </a:cubicBezTo>
                  <a:cubicBezTo>
                    <a:pt x="87" y="27"/>
                    <a:pt x="87" y="27"/>
                    <a:pt x="87" y="27"/>
                  </a:cubicBezTo>
                  <a:cubicBezTo>
                    <a:pt x="78" y="27"/>
                    <a:pt x="69" y="27"/>
                    <a:pt x="69" y="27"/>
                  </a:cubicBezTo>
                  <a:cubicBezTo>
                    <a:pt x="53" y="44"/>
                    <a:pt x="53" y="44"/>
                    <a:pt x="53" y="44"/>
                  </a:cubicBezTo>
                  <a:cubicBezTo>
                    <a:pt x="36" y="27"/>
                    <a:pt x="36" y="27"/>
                    <a:pt x="36" y="27"/>
                  </a:cubicBezTo>
                  <a:cubicBezTo>
                    <a:pt x="36" y="27"/>
                    <a:pt x="26" y="27"/>
                    <a:pt x="16" y="27"/>
                  </a:cubicBezTo>
                  <a:cubicBezTo>
                    <a:pt x="5" y="27"/>
                    <a:pt x="0" y="26"/>
                    <a:pt x="0" y="35"/>
                  </a:cubicBezTo>
                  <a:cubicBezTo>
                    <a:pt x="0" y="44"/>
                    <a:pt x="0" y="127"/>
                    <a:pt x="0" y="135"/>
                  </a:cubicBezTo>
                  <a:cubicBezTo>
                    <a:pt x="0" y="144"/>
                    <a:pt x="0" y="148"/>
                    <a:pt x="5" y="148"/>
                  </a:cubicBezTo>
                  <a:cubicBezTo>
                    <a:pt x="10" y="148"/>
                    <a:pt x="17" y="148"/>
                    <a:pt x="17" y="148"/>
                  </a:cubicBezTo>
                  <a:cubicBezTo>
                    <a:pt x="17" y="148"/>
                    <a:pt x="17" y="226"/>
                    <a:pt x="17" y="234"/>
                  </a:cubicBezTo>
                  <a:cubicBezTo>
                    <a:pt x="17" y="246"/>
                    <a:pt x="19" y="249"/>
                    <a:pt x="39" y="249"/>
                  </a:cubicBezTo>
                  <a:cubicBezTo>
                    <a:pt x="51" y="249"/>
                    <a:pt x="53" y="241"/>
                    <a:pt x="53" y="237"/>
                  </a:cubicBezTo>
                  <a:cubicBezTo>
                    <a:pt x="54" y="247"/>
                    <a:pt x="58" y="248"/>
                    <a:pt x="71" y="248"/>
                  </a:cubicBezTo>
                  <a:cubicBezTo>
                    <a:pt x="81" y="248"/>
                    <a:pt x="89" y="249"/>
                    <a:pt x="89" y="238"/>
                  </a:cubicBezTo>
                  <a:cubicBezTo>
                    <a:pt x="89" y="230"/>
                    <a:pt x="89" y="199"/>
                    <a:pt x="89" y="176"/>
                  </a:cubicBezTo>
                  <a:cubicBezTo>
                    <a:pt x="89" y="160"/>
                    <a:pt x="89" y="147"/>
                    <a:pt x="89" y="147"/>
                  </a:cubicBezTo>
                  <a:cubicBezTo>
                    <a:pt x="89" y="59"/>
                    <a:pt x="89" y="59"/>
                    <a:pt x="89" y="59"/>
                  </a:cubicBezTo>
                  <a:cubicBezTo>
                    <a:pt x="160" y="59"/>
                    <a:pt x="160" y="59"/>
                    <a:pt x="160" y="59"/>
                  </a:cubicBezTo>
                  <a:cubicBezTo>
                    <a:pt x="160" y="87"/>
                    <a:pt x="160" y="87"/>
                    <a:pt x="160" y="87"/>
                  </a:cubicBezTo>
                  <a:cubicBezTo>
                    <a:pt x="162" y="87"/>
                    <a:pt x="163" y="87"/>
                    <a:pt x="164" y="85"/>
                  </a:cubicBezTo>
                  <a:cubicBezTo>
                    <a:pt x="202" y="48"/>
                    <a:pt x="202" y="48"/>
                    <a:pt x="202" y="48"/>
                  </a:cubicBezTo>
                  <a:cubicBezTo>
                    <a:pt x="204" y="46"/>
                    <a:pt x="204" y="42"/>
                    <a:pt x="202" y="40"/>
                  </a:cubicBezTo>
                  <a:close/>
                </a:path>
              </a:pathLst>
            </a:custGeom>
            <a:solidFill>
              <a:srgbClr val="E46C0A"/>
            </a:solidFill>
            <a:ln w="12700" cap="flat" cmpd="sng">
              <a:solidFill>
                <a:srgbClr val="FFFFFF"/>
              </a:solidFill>
              <a:round/>
            </a:ln>
          </p:spPr>
          <p:txBody>
            <a:bodyPr/>
            <a:lstStyle/>
            <a:p>
              <a:endParaRPr lang="zh-CN" altLang="en-US" sz="2400">
                <a:cs typeface="+mn-ea"/>
              </a:endParaRPr>
            </a:p>
          </p:txBody>
        </p:sp>
      </p:grpSp>
      <p:grpSp>
        <p:nvGrpSpPr>
          <p:cNvPr id="43" name="Group 15"/>
          <p:cNvGrpSpPr/>
          <p:nvPr/>
        </p:nvGrpSpPr>
        <p:grpSpPr bwMode="auto">
          <a:xfrm>
            <a:off x="5634567" y="3360275"/>
            <a:ext cx="863600" cy="2616200"/>
            <a:chOff x="0" y="0"/>
            <a:chExt cx="408" cy="1238"/>
          </a:xfrm>
        </p:grpSpPr>
        <p:sp>
          <p:nvSpPr>
            <p:cNvPr id="44" name="Oval 16"/>
            <p:cNvSpPr>
              <a:spLocks noChangeArrowheads="1"/>
            </p:cNvSpPr>
            <p:nvPr/>
          </p:nvSpPr>
          <p:spPr bwMode="auto">
            <a:xfrm>
              <a:off x="19" y="0"/>
              <a:ext cx="366" cy="366"/>
            </a:xfrm>
            <a:prstGeom prst="ellipse">
              <a:avLst/>
            </a:prstGeom>
            <a:solidFill>
              <a:srgbClr val="254061"/>
            </a:solidFill>
            <a:ln w="28575" cmpd="sng">
              <a:solidFill>
                <a:srgbClr val="F2F2F2"/>
              </a:solidFill>
              <a:rou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sp>
          <p:nvSpPr>
            <p:cNvPr id="45" name="Freeform 17"/>
            <p:cNvSpPr/>
            <p:nvPr/>
          </p:nvSpPr>
          <p:spPr bwMode="auto">
            <a:xfrm>
              <a:off x="0" y="389"/>
              <a:ext cx="408" cy="849"/>
            </a:xfrm>
            <a:custGeom>
              <a:avLst/>
              <a:gdLst>
                <a:gd name="T0" fmla="*/ 62 w 124"/>
                <a:gd name="T1" fmla="*/ 21 h 258"/>
                <a:gd name="T2" fmla="*/ 81 w 124"/>
                <a:gd name="T3" fmla="*/ 1 h 258"/>
                <a:gd name="T4" fmla="*/ 112 w 124"/>
                <a:gd name="T5" fmla="*/ 1 h 258"/>
                <a:gd name="T6" fmla="*/ 124 w 124"/>
                <a:gd name="T7" fmla="*/ 25 h 258"/>
                <a:gd name="T8" fmla="*/ 124 w 124"/>
                <a:gd name="T9" fmla="*/ 130 h 258"/>
                <a:gd name="T10" fmla="*/ 103 w 124"/>
                <a:gd name="T11" fmla="*/ 140 h 258"/>
                <a:gd name="T12" fmla="*/ 103 w 124"/>
                <a:gd name="T13" fmla="*/ 246 h 258"/>
                <a:gd name="T14" fmla="*/ 82 w 124"/>
                <a:gd name="T15" fmla="*/ 257 h 258"/>
                <a:gd name="T16" fmla="*/ 62 w 124"/>
                <a:gd name="T17" fmla="*/ 240 h 258"/>
                <a:gd name="T18" fmla="*/ 45 w 124"/>
                <a:gd name="T19" fmla="*/ 258 h 258"/>
                <a:gd name="T20" fmla="*/ 20 w 124"/>
                <a:gd name="T21" fmla="*/ 241 h 258"/>
                <a:gd name="T22" fmla="*/ 20 w 124"/>
                <a:gd name="T23" fmla="*/ 141 h 258"/>
                <a:gd name="T24" fmla="*/ 7 w 124"/>
                <a:gd name="T25" fmla="*/ 141 h 258"/>
                <a:gd name="T26" fmla="*/ 0 w 124"/>
                <a:gd name="T27" fmla="*/ 126 h 258"/>
                <a:gd name="T28" fmla="*/ 0 w 124"/>
                <a:gd name="T29" fmla="*/ 11 h 258"/>
                <a:gd name="T30" fmla="*/ 19 w 124"/>
                <a:gd name="T31" fmla="*/ 1 h 258"/>
                <a:gd name="T32" fmla="*/ 42 w 124"/>
                <a:gd name="T33" fmla="*/ 1 h 258"/>
                <a:gd name="T34" fmla="*/ 62 w 124"/>
                <a:gd name="T35" fmla="*/ 2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258">
                  <a:moveTo>
                    <a:pt x="62" y="21"/>
                  </a:moveTo>
                  <a:cubicBezTo>
                    <a:pt x="81" y="1"/>
                    <a:pt x="81" y="1"/>
                    <a:pt x="81" y="1"/>
                  </a:cubicBezTo>
                  <a:cubicBezTo>
                    <a:pt x="81" y="1"/>
                    <a:pt x="101" y="1"/>
                    <a:pt x="112" y="1"/>
                  </a:cubicBezTo>
                  <a:cubicBezTo>
                    <a:pt x="124" y="1"/>
                    <a:pt x="124" y="2"/>
                    <a:pt x="124" y="25"/>
                  </a:cubicBezTo>
                  <a:cubicBezTo>
                    <a:pt x="124" y="48"/>
                    <a:pt x="124" y="120"/>
                    <a:pt x="124" y="130"/>
                  </a:cubicBezTo>
                  <a:cubicBezTo>
                    <a:pt x="124" y="141"/>
                    <a:pt x="119" y="140"/>
                    <a:pt x="103" y="140"/>
                  </a:cubicBezTo>
                  <a:cubicBezTo>
                    <a:pt x="103" y="140"/>
                    <a:pt x="103" y="230"/>
                    <a:pt x="103" y="246"/>
                  </a:cubicBezTo>
                  <a:cubicBezTo>
                    <a:pt x="103" y="258"/>
                    <a:pt x="95" y="257"/>
                    <a:pt x="82" y="257"/>
                  </a:cubicBezTo>
                  <a:cubicBezTo>
                    <a:pt x="67" y="257"/>
                    <a:pt x="62" y="256"/>
                    <a:pt x="62" y="240"/>
                  </a:cubicBezTo>
                  <a:cubicBezTo>
                    <a:pt x="62" y="240"/>
                    <a:pt x="65" y="258"/>
                    <a:pt x="45" y="258"/>
                  </a:cubicBezTo>
                  <a:cubicBezTo>
                    <a:pt x="23" y="258"/>
                    <a:pt x="20" y="255"/>
                    <a:pt x="20" y="241"/>
                  </a:cubicBezTo>
                  <a:cubicBezTo>
                    <a:pt x="20" y="231"/>
                    <a:pt x="20" y="141"/>
                    <a:pt x="20" y="141"/>
                  </a:cubicBezTo>
                  <a:cubicBezTo>
                    <a:pt x="20" y="141"/>
                    <a:pt x="12" y="141"/>
                    <a:pt x="7" y="141"/>
                  </a:cubicBezTo>
                  <a:cubicBezTo>
                    <a:pt x="0" y="141"/>
                    <a:pt x="0" y="137"/>
                    <a:pt x="0" y="126"/>
                  </a:cubicBezTo>
                  <a:cubicBezTo>
                    <a:pt x="0" y="117"/>
                    <a:pt x="0" y="21"/>
                    <a:pt x="0" y="11"/>
                  </a:cubicBezTo>
                  <a:cubicBezTo>
                    <a:pt x="0" y="0"/>
                    <a:pt x="7" y="1"/>
                    <a:pt x="19" y="1"/>
                  </a:cubicBezTo>
                  <a:cubicBezTo>
                    <a:pt x="31" y="1"/>
                    <a:pt x="42" y="1"/>
                    <a:pt x="42" y="1"/>
                  </a:cubicBezTo>
                  <a:lnTo>
                    <a:pt x="62" y="21"/>
                  </a:lnTo>
                  <a:close/>
                </a:path>
              </a:pathLst>
            </a:custGeom>
            <a:solidFill>
              <a:srgbClr val="254061"/>
            </a:solidFill>
            <a:ln w="28575" cap="flat" cmpd="sng">
              <a:solidFill>
                <a:srgbClr val="F2F2F2"/>
              </a:solidFill>
              <a:rou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grpSp>
      <p:sp>
        <p:nvSpPr>
          <p:cNvPr id="46" name="Rectangle 18"/>
          <p:cNvSpPr>
            <a:spLocks noChangeArrowheads="1"/>
          </p:cNvSpPr>
          <p:nvPr/>
        </p:nvSpPr>
        <p:spPr bwMode="auto">
          <a:xfrm>
            <a:off x="5969003" y="3519026"/>
            <a:ext cx="200376"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zh-CN" sz="2665">
                <a:solidFill>
                  <a:srgbClr val="FFFFFF"/>
                </a:solidFill>
                <a:latin typeface="+mn-ea"/>
                <a:cs typeface="+mn-ea"/>
              </a:rPr>
              <a:t>1</a:t>
            </a:r>
            <a:endParaRPr lang="en-US" altLang="zh-CN" sz="2400">
              <a:cs typeface="+mn-ea"/>
            </a:endParaRPr>
          </a:p>
        </p:txBody>
      </p:sp>
      <p:sp>
        <p:nvSpPr>
          <p:cNvPr id="47" name="Rectangle 19"/>
          <p:cNvSpPr>
            <a:spLocks noChangeArrowheads="1"/>
          </p:cNvSpPr>
          <p:nvPr/>
        </p:nvSpPr>
        <p:spPr bwMode="auto">
          <a:xfrm>
            <a:off x="5234520" y="3519026"/>
            <a:ext cx="200376"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zh-CN" sz="2665" dirty="0">
                <a:solidFill>
                  <a:srgbClr val="FFFFFF"/>
                </a:solidFill>
                <a:latin typeface="+mn-ea"/>
                <a:cs typeface="+mn-ea"/>
              </a:rPr>
              <a:t>2</a:t>
            </a:r>
            <a:endParaRPr lang="en-US" altLang="zh-CN" sz="2400" dirty="0">
              <a:cs typeface="+mn-ea"/>
            </a:endParaRPr>
          </a:p>
        </p:txBody>
      </p:sp>
      <p:sp>
        <p:nvSpPr>
          <p:cNvPr id="48" name="Rectangle 20"/>
          <p:cNvSpPr>
            <a:spLocks noChangeArrowheads="1"/>
          </p:cNvSpPr>
          <p:nvPr/>
        </p:nvSpPr>
        <p:spPr bwMode="auto">
          <a:xfrm>
            <a:off x="4603753" y="3343342"/>
            <a:ext cx="200376"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zh-CN" sz="2665">
                <a:solidFill>
                  <a:srgbClr val="FFFFFF"/>
                </a:solidFill>
                <a:latin typeface="+mn-ea"/>
                <a:cs typeface="+mn-ea"/>
              </a:rPr>
              <a:t>4</a:t>
            </a:r>
            <a:endParaRPr lang="en-US" altLang="zh-CN" sz="2400">
              <a:cs typeface="+mn-ea"/>
            </a:endParaRPr>
          </a:p>
        </p:txBody>
      </p:sp>
      <p:sp>
        <p:nvSpPr>
          <p:cNvPr id="49" name="Rectangle 21"/>
          <p:cNvSpPr>
            <a:spLocks noChangeArrowheads="1"/>
          </p:cNvSpPr>
          <p:nvPr/>
        </p:nvSpPr>
        <p:spPr bwMode="auto">
          <a:xfrm>
            <a:off x="7315203" y="3343342"/>
            <a:ext cx="200376"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zh-CN" sz="2665">
                <a:solidFill>
                  <a:srgbClr val="FFFFFF"/>
                </a:solidFill>
                <a:latin typeface="+mn-ea"/>
                <a:cs typeface="+mn-ea"/>
              </a:rPr>
              <a:t>5</a:t>
            </a:r>
            <a:endParaRPr lang="en-US" altLang="zh-CN" sz="2400">
              <a:cs typeface="+mn-ea"/>
            </a:endParaRPr>
          </a:p>
        </p:txBody>
      </p:sp>
      <p:sp>
        <p:nvSpPr>
          <p:cNvPr id="50" name="Rectangle 22"/>
          <p:cNvSpPr>
            <a:spLocks noChangeArrowheads="1"/>
          </p:cNvSpPr>
          <p:nvPr/>
        </p:nvSpPr>
        <p:spPr bwMode="auto">
          <a:xfrm>
            <a:off x="6705603" y="3519026"/>
            <a:ext cx="200376"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zh-CN" sz="2665">
                <a:solidFill>
                  <a:srgbClr val="FFFFFF"/>
                </a:solidFill>
                <a:latin typeface="+mn-ea"/>
                <a:cs typeface="+mn-ea"/>
              </a:rPr>
              <a:t>3</a:t>
            </a:r>
            <a:endParaRPr lang="en-US" altLang="zh-CN" sz="2400">
              <a:cs typeface="+mn-ea"/>
            </a:endParaRPr>
          </a:p>
        </p:txBody>
      </p:sp>
      <p:sp>
        <p:nvSpPr>
          <p:cNvPr id="51" name="Text Box 38"/>
          <p:cNvSpPr txBox="1">
            <a:spLocks noChangeArrowheads="1"/>
          </p:cNvSpPr>
          <p:nvPr/>
        </p:nvSpPr>
        <p:spPr bwMode="auto">
          <a:xfrm>
            <a:off x="8349226" y="2230555"/>
            <a:ext cx="34584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lnSpc>
                <a:spcPct val="120000"/>
              </a:lnSpc>
            </a:pPr>
            <a:r>
              <a:rPr lang="en-US" altLang="zh-CN" sz="2400" b="1" dirty="0">
                <a:solidFill>
                  <a:schemeClr val="bg1">
                    <a:lumMod val="50000"/>
                  </a:schemeClr>
                </a:solidFill>
                <a:ea typeface="+mn-ea"/>
                <a:cs typeface="+mn-ea"/>
              </a:rPr>
              <a:t>5.</a:t>
            </a:r>
            <a:r>
              <a:rPr lang="zh-CN" altLang="en-US" sz="2400" b="1" dirty="0">
                <a:solidFill>
                  <a:schemeClr val="bg1">
                    <a:lumMod val="50000"/>
                  </a:schemeClr>
                </a:solidFill>
                <a:ea typeface="+mn-ea"/>
                <a:cs typeface="+mn-ea"/>
              </a:rPr>
              <a:t>单击添加标题文本</a:t>
            </a:r>
            <a:endParaRPr lang="zh-CN" altLang="en-US" sz="2400" b="1" dirty="0">
              <a:solidFill>
                <a:schemeClr val="bg1">
                  <a:lumMod val="50000"/>
                </a:schemeClr>
              </a:solidFill>
              <a:ea typeface="+mn-ea"/>
              <a:cs typeface="+mn-ea"/>
            </a:endParaRPr>
          </a:p>
          <a:p>
            <a:pPr algn="ctr">
              <a:lnSpc>
                <a:spcPct val="120000"/>
              </a:lnSpc>
            </a:pPr>
            <a:r>
              <a:rPr lang="zh-CN" altLang="en-US" sz="1600" dirty="0">
                <a:solidFill>
                  <a:schemeClr val="bg1">
                    <a:lumMod val="50000"/>
                  </a:schemeClr>
                </a:solidFill>
                <a:ea typeface="+mn-ea"/>
                <a:cs typeface="+mn-ea"/>
              </a:rPr>
              <a:t>单击添加文本 单击添加文本 单击添</a:t>
            </a:r>
            <a:endParaRPr lang="zh-CN" altLang="en-US" sz="1600" dirty="0">
              <a:solidFill>
                <a:schemeClr val="bg1">
                  <a:lumMod val="50000"/>
                </a:schemeClr>
              </a:solidFill>
              <a:ea typeface="+mn-ea"/>
              <a:cs typeface="+mn-ea"/>
            </a:endParaRPr>
          </a:p>
        </p:txBody>
      </p:sp>
      <p:sp>
        <p:nvSpPr>
          <p:cNvPr id="52" name="Text Box 38"/>
          <p:cNvSpPr txBox="1">
            <a:spLocks noChangeArrowheads="1"/>
          </p:cNvSpPr>
          <p:nvPr/>
        </p:nvSpPr>
        <p:spPr bwMode="auto">
          <a:xfrm>
            <a:off x="8349226" y="4069939"/>
            <a:ext cx="34584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lnSpc>
                <a:spcPct val="120000"/>
              </a:lnSpc>
            </a:pPr>
            <a:r>
              <a:rPr lang="en-US" altLang="zh-CN" sz="2400" b="1" dirty="0">
                <a:solidFill>
                  <a:schemeClr val="bg1">
                    <a:lumMod val="50000"/>
                  </a:schemeClr>
                </a:solidFill>
                <a:ea typeface="+mn-ea"/>
                <a:cs typeface="+mn-ea"/>
              </a:rPr>
              <a:t>3.</a:t>
            </a:r>
            <a:r>
              <a:rPr lang="zh-CN" altLang="en-US" sz="2400" b="1" dirty="0">
                <a:solidFill>
                  <a:schemeClr val="bg1">
                    <a:lumMod val="50000"/>
                  </a:schemeClr>
                </a:solidFill>
                <a:ea typeface="+mn-ea"/>
                <a:cs typeface="+mn-ea"/>
              </a:rPr>
              <a:t>单击添加标题文本</a:t>
            </a:r>
            <a:endParaRPr lang="zh-CN" altLang="en-US" sz="2400" b="1" dirty="0">
              <a:solidFill>
                <a:schemeClr val="bg1">
                  <a:lumMod val="50000"/>
                </a:schemeClr>
              </a:solidFill>
              <a:ea typeface="+mn-ea"/>
              <a:cs typeface="+mn-ea"/>
            </a:endParaRPr>
          </a:p>
          <a:p>
            <a:pPr algn="ctr">
              <a:lnSpc>
                <a:spcPct val="120000"/>
              </a:lnSpc>
            </a:pPr>
            <a:r>
              <a:rPr lang="zh-CN" altLang="en-US" sz="1600" dirty="0">
                <a:solidFill>
                  <a:schemeClr val="bg1">
                    <a:lumMod val="50000"/>
                  </a:schemeClr>
                </a:solidFill>
                <a:ea typeface="+mn-ea"/>
                <a:cs typeface="+mn-ea"/>
              </a:rPr>
              <a:t>单击添加文本 单击添加文本 单击添</a:t>
            </a:r>
            <a:endParaRPr lang="zh-CN" altLang="en-US" sz="1600" dirty="0">
              <a:solidFill>
                <a:schemeClr val="bg1">
                  <a:lumMod val="50000"/>
                </a:schemeClr>
              </a:solidFill>
              <a:ea typeface="+mn-ea"/>
              <a:cs typeface="+mn-ea"/>
            </a:endParaRPr>
          </a:p>
        </p:txBody>
      </p:sp>
      <p:sp>
        <p:nvSpPr>
          <p:cNvPr id="53" name="Text Box 38"/>
          <p:cNvSpPr txBox="1">
            <a:spLocks noChangeArrowheads="1"/>
          </p:cNvSpPr>
          <p:nvPr/>
        </p:nvSpPr>
        <p:spPr bwMode="auto">
          <a:xfrm>
            <a:off x="623393" y="2230555"/>
            <a:ext cx="34584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lnSpc>
                <a:spcPct val="120000"/>
              </a:lnSpc>
            </a:pPr>
            <a:r>
              <a:rPr lang="en-US" altLang="zh-CN" sz="2400" b="1" dirty="0">
                <a:solidFill>
                  <a:schemeClr val="bg1">
                    <a:lumMod val="50000"/>
                  </a:schemeClr>
                </a:solidFill>
                <a:ea typeface="+mn-ea"/>
                <a:cs typeface="+mn-ea"/>
              </a:rPr>
              <a:t>4.</a:t>
            </a:r>
            <a:r>
              <a:rPr lang="zh-CN" altLang="en-US" sz="2400" b="1" dirty="0">
                <a:solidFill>
                  <a:schemeClr val="bg1">
                    <a:lumMod val="50000"/>
                  </a:schemeClr>
                </a:solidFill>
                <a:ea typeface="+mn-ea"/>
                <a:cs typeface="+mn-ea"/>
              </a:rPr>
              <a:t>单击添加标题文本</a:t>
            </a:r>
            <a:endParaRPr lang="zh-CN" altLang="en-US" sz="2400" b="1" dirty="0">
              <a:solidFill>
                <a:schemeClr val="bg1">
                  <a:lumMod val="50000"/>
                </a:schemeClr>
              </a:solidFill>
              <a:ea typeface="+mn-ea"/>
              <a:cs typeface="+mn-ea"/>
            </a:endParaRPr>
          </a:p>
          <a:p>
            <a:pPr algn="ctr">
              <a:lnSpc>
                <a:spcPct val="120000"/>
              </a:lnSpc>
            </a:pPr>
            <a:r>
              <a:rPr lang="zh-CN" altLang="en-US" sz="1600" dirty="0">
                <a:solidFill>
                  <a:schemeClr val="bg1">
                    <a:lumMod val="50000"/>
                  </a:schemeClr>
                </a:solidFill>
                <a:ea typeface="+mn-ea"/>
                <a:cs typeface="+mn-ea"/>
              </a:rPr>
              <a:t>单击添加文本 单击添加文本 单击</a:t>
            </a:r>
            <a:endParaRPr lang="zh-CN" altLang="en-US" sz="1600" dirty="0">
              <a:solidFill>
                <a:schemeClr val="bg1">
                  <a:lumMod val="50000"/>
                </a:schemeClr>
              </a:solidFill>
              <a:ea typeface="+mn-ea"/>
              <a:cs typeface="+mn-ea"/>
            </a:endParaRPr>
          </a:p>
        </p:txBody>
      </p:sp>
      <p:sp>
        <p:nvSpPr>
          <p:cNvPr id="54" name="Text Box 38"/>
          <p:cNvSpPr txBox="1">
            <a:spLocks noChangeArrowheads="1"/>
          </p:cNvSpPr>
          <p:nvPr/>
        </p:nvSpPr>
        <p:spPr bwMode="auto">
          <a:xfrm>
            <a:off x="623393" y="4069939"/>
            <a:ext cx="34584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lnSpc>
                <a:spcPct val="120000"/>
              </a:lnSpc>
            </a:pPr>
            <a:r>
              <a:rPr lang="en-US" altLang="zh-CN" sz="2400" b="1" dirty="0">
                <a:solidFill>
                  <a:schemeClr val="bg1">
                    <a:lumMod val="50000"/>
                  </a:schemeClr>
                </a:solidFill>
                <a:ea typeface="+mn-ea"/>
                <a:cs typeface="+mn-ea"/>
              </a:rPr>
              <a:t>2.</a:t>
            </a:r>
            <a:r>
              <a:rPr lang="zh-CN" altLang="en-US" sz="2400" b="1" dirty="0">
                <a:solidFill>
                  <a:schemeClr val="bg1">
                    <a:lumMod val="50000"/>
                  </a:schemeClr>
                </a:solidFill>
                <a:ea typeface="+mn-ea"/>
                <a:cs typeface="+mn-ea"/>
              </a:rPr>
              <a:t>单击添加标题文本</a:t>
            </a:r>
            <a:endParaRPr lang="zh-CN" altLang="en-US" sz="2400" b="1" dirty="0">
              <a:solidFill>
                <a:schemeClr val="bg1">
                  <a:lumMod val="50000"/>
                </a:schemeClr>
              </a:solidFill>
              <a:ea typeface="+mn-ea"/>
              <a:cs typeface="+mn-ea"/>
            </a:endParaRPr>
          </a:p>
          <a:p>
            <a:pPr algn="ctr">
              <a:lnSpc>
                <a:spcPct val="120000"/>
              </a:lnSpc>
            </a:pPr>
            <a:r>
              <a:rPr lang="zh-CN" altLang="en-US" sz="1600" dirty="0">
                <a:solidFill>
                  <a:schemeClr val="bg1">
                    <a:lumMod val="50000"/>
                  </a:schemeClr>
                </a:solidFill>
                <a:ea typeface="+mn-ea"/>
                <a:cs typeface="+mn-ea"/>
              </a:rPr>
              <a:t>单击添加文本 单击添加文本 单击添</a:t>
            </a:r>
            <a:endParaRPr lang="zh-CN" altLang="en-US" sz="1600" dirty="0">
              <a:solidFill>
                <a:schemeClr val="bg1">
                  <a:lumMod val="50000"/>
                </a:schemeClr>
              </a:solidFill>
              <a:ea typeface="+mn-ea"/>
              <a:cs typeface="+mn-ea"/>
            </a:endParaRPr>
          </a:p>
        </p:txBody>
      </p:sp>
      <p:sp>
        <p:nvSpPr>
          <p:cNvPr id="55" name="Text Box 38"/>
          <p:cNvSpPr txBox="1">
            <a:spLocks noChangeArrowheads="1"/>
          </p:cNvSpPr>
          <p:nvPr/>
        </p:nvSpPr>
        <p:spPr bwMode="auto">
          <a:xfrm>
            <a:off x="4448209" y="1654821"/>
            <a:ext cx="34584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lnSpc>
                <a:spcPct val="120000"/>
              </a:lnSpc>
            </a:pPr>
            <a:r>
              <a:rPr lang="en-US" altLang="zh-CN" sz="2400" b="1" dirty="0">
                <a:solidFill>
                  <a:schemeClr val="bg1">
                    <a:lumMod val="50000"/>
                  </a:schemeClr>
                </a:solidFill>
                <a:ea typeface="+mn-ea"/>
                <a:cs typeface="+mn-ea"/>
              </a:rPr>
              <a:t>1.</a:t>
            </a:r>
            <a:r>
              <a:rPr lang="zh-CN" altLang="en-US" sz="2400" b="1" dirty="0">
                <a:solidFill>
                  <a:schemeClr val="bg1">
                    <a:lumMod val="50000"/>
                  </a:schemeClr>
                </a:solidFill>
                <a:ea typeface="+mn-ea"/>
                <a:cs typeface="+mn-ea"/>
              </a:rPr>
              <a:t>单击添加标题文本</a:t>
            </a:r>
            <a:endParaRPr lang="zh-CN" altLang="en-US" sz="2400" b="1" dirty="0">
              <a:solidFill>
                <a:schemeClr val="bg1">
                  <a:lumMod val="50000"/>
                </a:schemeClr>
              </a:solidFill>
              <a:ea typeface="+mn-ea"/>
              <a:cs typeface="+mn-ea"/>
            </a:endParaRPr>
          </a:p>
          <a:p>
            <a:pPr algn="ctr">
              <a:lnSpc>
                <a:spcPct val="120000"/>
              </a:lnSpc>
            </a:pPr>
            <a:r>
              <a:rPr lang="zh-CN" altLang="en-US" sz="1600" dirty="0">
                <a:solidFill>
                  <a:schemeClr val="bg1">
                    <a:lumMod val="50000"/>
                  </a:schemeClr>
                </a:solidFill>
                <a:ea typeface="+mn-ea"/>
                <a:cs typeface="+mn-ea"/>
              </a:rPr>
              <a:t>单击添加文本 单击添加文本 单击添</a:t>
            </a:r>
            <a:endParaRPr lang="zh-CN" altLang="en-US" sz="1600" dirty="0">
              <a:solidFill>
                <a:schemeClr val="bg1">
                  <a:lumMod val="50000"/>
                </a:schemeClr>
              </a:solidFill>
              <a:ea typeface="+mn-ea"/>
              <a:cs typeface="+mn-ea"/>
            </a:endParaRPr>
          </a:p>
        </p:txBody>
      </p:sp>
      <p:sp>
        <p:nvSpPr>
          <p:cNvPr id="30"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57" name="文本框 56"/>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anim calcmode="lin" valueType="num">
                                      <p:cBhvr>
                                        <p:cTn id="8" dur="500" fill="hold"/>
                                        <p:tgtEl>
                                          <p:spTgt spid="43"/>
                                        </p:tgtEl>
                                        <p:attrNameLst>
                                          <p:attrName>ppt_x</p:attrName>
                                        </p:attrNameLst>
                                      </p:cBhvr>
                                      <p:tavLst>
                                        <p:tav tm="0">
                                          <p:val>
                                            <p:strVal val="#ppt_x"/>
                                          </p:val>
                                        </p:tav>
                                        <p:tav tm="100000">
                                          <p:val>
                                            <p:strVal val="#ppt_x"/>
                                          </p:val>
                                        </p:tav>
                                      </p:tavLst>
                                    </p:anim>
                                    <p:anim calcmode="lin" valueType="num">
                                      <p:cBhvr>
                                        <p:cTn id="9" dur="500" fill="hold"/>
                                        <p:tgtEl>
                                          <p:spTgt spid="43"/>
                                        </p:tgtEl>
                                        <p:attrNameLst>
                                          <p:attrName>ppt_y</p:attrName>
                                        </p:attrNameLst>
                                      </p:cBhvr>
                                      <p:tavLst>
                                        <p:tav tm="0">
                                          <p:val>
                                            <p:strVal val="#ppt_y-.1"/>
                                          </p:val>
                                        </p:tav>
                                        <p:tav tm="100000">
                                          <p:val>
                                            <p:strVal val="#ppt_y"/>
                                          </p:val>
                                        </p:tav>
                                      </p:tavLst>
                                    </p:anim>
                                  </p:childTnLst>
                                </p:cTn>
                              </p:par>
                              <p:par>
                                <p:cTn id="10" presetID="23" presetClass="entr" presetSubtype="16" fill="hold" grpId="0" nodeType="withEffect">
                                  <p:stCondLst>
                                    <p:cond delay="500"/>
                                  </p:stCondLst>
                                  <p:childTnLst>
                                    <p:set>
                                      <p:cBhvr>
                                        <p:cTn id="11" dur="1" fill="hold">
                                          <p:stCondLst>
                                            <p:cond delay="0"/>
                                          </p:stCondLst>
                                        </p:cTn>
                                        <p:tgtEl>
                                          <p:spTgt spid="46"/>
                                        </p:tgtEl>
                                        <p:attrNameLst>
                                          <p:attrName>style.visibility</p:attrName>
                                        </p:attrNameLst>
                                      </p:cBhvr>
                                      <p:to>
                                        <p:strVal val="visible"/>
                                      </p:to>
                                    </p:set>
                                    <p:anim calcmode="lin" valueType="num">
                                      <p:cBhvr>
                                        <p:cTn id="12" dur="500" fill="hold"/>
                                        <p:tgtEl>
                                          <p:spTgt spid="46"/>
                                        </p:tgtEl>
                                        <p:attrNameLst>
                                          <p:attrName>ppt_w</p:attrName>
                                        </p:attrNameLst>
                                      </p:cBhvr>
                                      <p:tavLst>
                                        <p:tav tm="0">
                                          <p:val>
                                            <p:fltVal val="0"/>
                                          </p:val>
                                        </p:tav>
                                        <p:tav tm="100000">
                                          <p:val>
                                            <p:strVal val="#ppt_w"/>
                                          </p:val>
                                        </p:tav>
                                      </p:tavLst>
                                    </p:anim>
                                    <p:anim calcmode="lin" valueType="num">
                                      <p:cBhvr>
                                        <p:cTn id="13" dur="500" fill="hold"/>
                                        <p:tgtEl>
                                          <p:spTgt spid="46"/>
                                        </p:tgtEl>
                                        <p:attrNameLst>
                                          <p:attrName>ppt_h</p:attrName>
                                        </p:attrNameLst>
                                      </p:cBhvr>
                                      <p:tavLst>
                                        <p:tav tm="0">
                                          <p:val>
                                            <p:fltVal val="0"/>
                                          </p:val>
                                        </p:tav>
                                        <p:tav tm="100000">
                                          <p:val>
                                            <p:strVal val="#ppt_h"/>
                                          </p:val>
                                        </p:tav>
                                      </p:tavLst>
                                    </p:anim>
                                  </p:childTnLst>
                                </p:cTn>
                              </p:par>
                              <p:par>
                                <p:cTn id="14" presetID="12" presetClass="entr" presetSubtype="4" fill="hold" grpId="0" nodeType="withEffect">
                                  <p:stCondLst>
                                    <p:cond delay="500"/>
                                  </p:stCondLst>
                                  <p:childTnLst>
                                    <p:set>
                                      <p:cBhvr>
                                        <p:cTn id="15" dur="1" fill="hold">
                                          <p:stCondLst>
                                            <p:cond delay="0"/>
                                          </p:stCondLst>
                                        </p:cTn>
                                        <p:tgtEl>
                                          <p:spTgt spid="55"/>
                                        </p:tgtEl>
                                        <p:attrNameLst>
                                          <p:attrName>style.visibility</p:attrName>
                                        </p:attrNameLst>
                                      </p:cBhvr>
                                      <p:to>
                                        <p:strVal val="visible"/>
                                      </p:to>
                                    </p:set>
                                    <p:animEffect transition="in" filter="slide(fromBottom)">
                                      <p:cBhvr>
                                        <p:cTn id="16" dur="500"/>
                                        <p:tgtEl>
                                          <p:spTgt spid="55"/>
                                        </p:tgtEl>
                                      </p:cBhvr>
                                    </p:animEffect>
                                  </p:childTnLst>
                                </p:cTn>
                              </p:par>
                              <p:par>
                                <p:cTn id="17" presetID="47" presetClass="entr" presetSubtype="0" fill="hold" nodeType="withEffect">
                                  <p:stCondLst>
                                    <p:cond delay="10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anim calcmode="lin" valueType="num">
                                      <p:cBhvr>
                                        <p:cTn id="20" dur="500" fill="hold"/>
                                        <p:tgtEl>
                                          <p:spTgt spid="37"/>
                                        </p:tgtEl>
                                        <p:attrNameLst>
                                          <p:attrName>ppt_x</p:attrName>
                                        </p:attrNameLst>
                                      </p:cBhvr>
                                      <p:tavLst>
                                        <p:tav tm="0">
                                          <p:val>
                                            <p:strVal val="#ppt_x"/>
                                          </p:val>
                                        </p:tav>
                                        <p:tav tm="100000">
                                          <p:val>
                                            <p:strVal val="#ppt_x"/>
                                          </p:val>
                                        </p:tav>
                                      </p:tavLst>
                                    </p:anim>
                                    <p:anim calcmode="lin" valueType="num">
                                      <p:cBhvr>
                                        <p:cTn id="21" dur="500" fill="hold"/>
                                        <p:tgtEl>
                                          <p:spTgt spid="37"/>
                                        </p:tgtEl>
                                        <p:attrNameLst>
                                          <p:attrName>ppt_y</p:attrName>
                                        </p:attrNameLst>
                                      </p:cBhvr>
                                      <p:tavLst>
                                        <p:tav tm="0">
                                          <p:val>
                                            <p:strVal val="#ppt_y-.1"/>
                                          </p:val>
                                        </p:tav>
                                        <p:tav tm="100000">
                                          <p:val>
                                            <p:strVal val="#ppt_y"/>
                                          </p:val>
                                        </p:tav>
                                      </p:tavLst>
                                    </p:anim>
                                  </p:childTnLst>
                                </p:cTn>
                              </p:par>
                              <p:par>
                                <p:cTn id="22" presetID="23" presetClass="entr" presetSubtype="16" fill="hold" grpId="0" nodeType="withEffect">
                                  <p:stCondLst>
                                    <p:cond delay="600"/>
                                  </p:stCondLst>
                                  <p:childTnLst>
                                    <p:set>
                                      <p:cBhvr>
                                        <p:cTn id="23" dur="1" fill="hold">
                                          <p:stCondLst>
                                            <p:cond delay="0"/>
                                          </p:stCondLst>
                                        </p:cTn>
                                        <p:tgtEl>
                                          <p:spTgt spid="47"/>
                                        </p:tgtEl>
                                        <p:attrNameLst>
                                          <p:attrName>style.visibility</p:attrName>
                                        </p:attrNameLst>
                                      </p:cBhvr>
                                      <p:to>
                                        <p:strVal val="visible"/>
                                      </p:to>
                                    </p:set>
                                    <p:anim calcmode="lin" valueType="num">
                                      <p:cBhvr>
                                        <p:cTn id="24" dur="500" fill="hold"/>
                                        <p:tgtEl>
                                          <p:spTgt spid="47"/>
                                        </p:tgtEl>
                                        <p:attrNameLst>
                                          <p:attrName>ppt_w</p:attrName>
                                        </p:attrNameLst>
                                      </p:cBhvr>
                                      <p:tavLst>
                                        <p:tav tm="0">
                                          <p:val>
                                            <p:fltVal val="0"/>
                                          </p:val>
                                        </p:tav>
                                        <p:tav tm="100000">
                                          <p:val>
                                            <p:strVal val="#ppt_w"/>
                                          </p:val>
                                        </p:tav>
                                      </p:tavLst>
                                    </p:anim>
                                    <p:anim calcmode="lin" valueType="num">
                                      <p:cBhvr>
                                        <p:cTn id="25" dur="500" fill="hold"/>
                                        <p:tgtEl>
                                          <p:spTgt spid="47"/>
                                        </p:tgtEl>
                                        <p:attrNameLst>
                                          <p:attrName>ppt_h</p:attrName>
                                        </p:attrNameLst>
                                      </p:cBhvr>
                                      <p:tavLst>
                                        <p:tav tm="0">
                                          <p:val>
                                            <p:fltVal val="0"/>
                                          </p:val>
                                        </p:tav>
                                        <p:tav tm="100000">
                                          <p:val>
                                            <p:strVal val="#ppt_h"/>
                                          </p:val>
                                        </p:tav>
                                      </p:tavLst>
                                    </p:anim>
                                  </p:childTnLst>
                                </p:cTn>
                              </p:par>
                              <p:par>
                                <p:cTn id="26" presetID="12" presetClass="entr" presetSubtype="2" fill="hold" grpId="0" nodeType="withEffect">
                                  <p:stCondLst>
                                    <p:cond delay="600"/>
                                  </p:stCondLst>
                                  <p:childTnLst>
                                    <p:set>
                                      <p:cBhvr>
                                        <p:cTn id="27" dur="1" fill="hold">
                                          <p:stCondLst>
                                            <p:cond delay="0"/>
                                          </p:stCondLst>
                                        </p:cTn>
                                        <p:tgtEl>
                                          <p:spTgt spid="54"/>
                                        </p:tgtEl>
                                        <p:attrNameLst>
                                          <p:attrName>style.visibility</p:attrName>
                                        </p:attrNameLst>
                                      </p:cBhvr>
                                      <p:to>
                                        <p:strVal val="visible"/>
                                      </p:to>
                                    </p:set>
                                    <p:animEffect transition="in" filter="slide(fromRight)">
                                      <p:cBhvr>
                                        <p:cTn id="28" dur="500"/>
                                        <p:tgtEl>
                                          <p:spTgt spid="54"/>
                                        </p:tgtEl>
                                      </p:cBhvr>
                                    </p:animEffect>
                                  </p:childTnLst>
                                </p:cTn>
                              </p:par>
                              <p:par>
                                <p:cTn id="29" presetID="47" presetClass="entr" presetSubtype="0" fill="hold" nodeType="withEffect">
                                  <p:stCondLst>
                                    <p:cond delay="200"/>
                                  </p:stCondLst>
                                  <p:childTnLst>
                                    <p:set>
                                      <p:cBhvr>
                                        <p:cTn id="30" dur="1" fill="hold">
                                          <p:stCondLst>
                                            <p:cond delay="0"/>
                                          </p:stCondLst>
                                        </p:cTn>
                                        <p:tgtEl>
                                          <p:spTgt spid="40"/>
                                        </p:tgtEl>
                                        <p:attrNameLst>
                                          <p:attrName>style.visibility</p:attrName>
                                        </p:attrNameLst>
                                      </p:cBhvr>
                                      <p:to>
                                        <p:strVal val="visible"/>
                                      </p:to>
                                    </p:set>
                                    <p:animEffect transition="in" filter="fade">
                                      <p:cBhvr>
                                        <p:cTn id="31" dur="500"/>
                                        <p:tgtEl>
                                          <p:spTgt spid="40"/>
                                        </p:tgtEl>
                                      </p:cBhvr>
                                    </p:animEffect>
                                    <p:anim calcmode="lin" valueType="num">
                                      <p:cBhvr>
                                        <p:cTn id="32" dur="500" fill="hold"/>
                                        <p:tgtEl>
                                          <p:spTgt spid="40"/>
                                        </p:tgtEl>
                                        <p:attrNameLst>
                                          <p:attrName>ppt_x</p:attrName>
                                        </p:attrNameLst>
                                      </p:cBhvr>
                                      <p:tavLst>
                                        <p:tav tm="0">
                                          <p:val>
                                            <p:strVal val="#ppt_x"/>
                                          </p:val>
                                        </p:tav>
                                        <p:tav tm="100000">
                                          <p:val>
                                            <p:strVal val="#ppt_x"/>
                                          </p:val>
                                        </p:tav>
                                      </p:tavLst>
                                    </p:anim>
                                    <p:anim calcmode="lin" valueType="num">
                                      <p:cBhvr>
                                        <p:cTn id="33" dur="500" fill="hold"/>
                                        <p:tgtEl>
                                          <p:spTgt spid="40"/>
                                        </p:tgtEl>
                                        <p:attrNameLst>
                                          <p:attrName>ppt_y</p:attrName>
                                        </p:attrNameLst>
                                      </p:cBhvr>
                                      <p:tavLst>
                                        <p:tav tm="0">
                                          <p:val>
                                            <p:strVal val="#ppt_y-.1"/>
                                          </p:val>
                                        </p:tav>
                                        <p:tav tm="100000">
                                          <p:val>
                                            <p:strVal val="#ppt_y"/>
                                          </p:val>
                                        </p:tav>
                                      </p:tavLst>
                                    </p:anim>
                                  </p:childTnLst>
                                </p:cTn>
                              </p:par>
                              <p:par>
                                <p:cTn id="34" presetID="23" presetClass="entr" presetSubtype="16" fill="hold" grpId="0" nodeType="withEffect">
                                  <p:stCondLst>
                                    <p:cond delay="700"/>
                                  </p:stCondLst>
                                  <p:childTnLst>
                                    <p:set>
                                      <p:cBhvr>
                                        <p:cTn id="35" dur="1" fill="hold">
                                          <p:stCondLst>
                                            <p:cond delay="0"/>
                                          </p:stCondLst>
                                        </p:cTn>
                                        <p:tgtEl>
                                          <p:spTgt spid="50"/>
                                        </p:tgtEl>
                                        <p:attrNameLst>
                                          <p:attrName>style.visibility</p:attrName>
                                        </p:attrNameLst>
                                      </p:cBhvr>
                                      <p:to>
                                        <p:strVal val="visible"/>
                                      </p:to>
                                    </p:set>
                                    <p:anim calcmode="lin" valueType="num">
                                      <p:cBhvr>
                                        <p:cTn id="36" dur="500" fill="hold"/>
                                        <p:tgtEl>
                                          <p:spTgt spid="50"/>
                                        </p:tgtEl>
                                        <p:attrNameLst>
                                          <p:attrName>ppt_w</p:attrName>
                                        </p:attrNameLst>
                                      </p:cBhvr>
                                      <p:tavLst>
                                        <p:tav tm="0">
                                          <p:val>
                                            <p:fltVal val="0"/>
                                          </p:val>
                                        </p:tav>
                                        <p:tav tm="100000">
                                          <p:val>
                                            <p:strVal val="#ppt_w"/>
                                          </p:val>
                                        </p:tav>
                                      </p:tavLst>
                                    </p:anim>
                                    <p:anim calcmode="lin" valueType="num">
                                      <p:cBhvr>
                                        <p:cTn id="37" dur="500" fill="hold"/>
                                        <p:tgtEl>
                                          <p:spTgt spid="50"/>
                                        </p:tgtEl>
                                        <p:attrNameLst>
                                          <p:attrName>ppt_h</p:attrName>
                                        </p:attrNameLst>
                                      </p:cBhvr>
                                      <p:tavLst>
                                        <p:tav tm="0">
                                          <p:val>
                                            <p:fltVal val="0"/>
                                          </p:val>
                                        </p:tav>
                                        <p:tav tm="100000">
                                          <p:val>
                                            <p:strVal val="#ppt_h"/>
                                          </p:val>
                                        </p:tav>
                                      </p:tavLst>
                                    </p:anim>
                                  </p:childTnLst>
                                </p:cTn>
                              </p:par>
                              <p:par>
                                <p:cTn id="38" presetID="12" presetClass="entr" presetSubtype="8" fill="hold" grpId="0" nodeType="withEffect">
                                  <p:stCondLst>
                                    <p:cond delay="700"/>
                                  </p:stCondLst>
                                  <p:childTnLst>
                                    <p:set>
                                      <p:cBhvr>
                                        <p:cTn id="39" dur="1" fill="hold">
                                          <p:stCondLst>
                                            <p:cond delay="0"/>
                                          </p:stCondLst>
                                        </p:cTn>
                                        <p:tgtEl>
                                          <p:spTgt spid="52"/>
                                        </p:tgtEl>
                                        <p:attrNameLst>
                                          <p:attrName>style.visibility</p:attrName>
                                        </p:attrNameLst>
                                      </p:cBhvr>
                                      <p:to>
                                        <p:strVal val="visible"/>
                                      </p:to>
                                    </p:set>
                                    <p:animEffect transition="in" filter="slide(fromLeft)">
                                      <p:cBhvr>
                                        <p:cTn id="40" dur="500"/>
                                        <p:tgtEl>
                                          <p:spTgt spid="52"/>
                                        </p:tgtEl>
                                      </p:cBhvr>
                                    </p:animEffect>
                                  </p:childTnLst>
                                </p:cTn>
                              </p:par>
                              <p:par>
                                <p:cTn id="41" presetID="47" presetClass="entr" presetSubtype="0" fill="hold" nodeType="withEffect">
                                  <p:stCondLst>
                                    <p:cond delay="30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anim calcmode="lin" valueType="num">
                                      <p:cBhvr>
                                        <p:cTn id="44" dur="500" fill="hold"/>
                                        <p:tgtEl>
                                          <p:spTgt spid="31"/>
                                        </p:tgtEl>
                                        <p:attrNameLst>
                                          <p:attrName>ppt_x</p:attrName>
                                        </p:attrNameLst>
                                      </p:cBhvr>
                                      <p:tavLst>
                                        <p:tav tm="0">
                                          <p:val>
                                            <p:strVal val="#ppt_x"/>
                                          </p:val>
                                        </p:tav>
                                        <p:tav tm="100000">
                                          <p:val>
                                            <p:strVal val="#ppt_x"/>
                                          </p:val>
                                        </p:tav>
                                      </p:tavLst>
                                    </p:anim>
                                    <p:anim calcmode="lin" valueType="num">
                                      <p:cBhvr>
                                        <p:cTn id="45" dur="500" fill="hold"/>
                                        <p:tgtEl>
                                          <p:spTgt spid="31"/>
                                        </p:tgtEl>
                                        <p:attrNameLst>
                                          <p:attrName>ppt_y</p:attrName>
                                        </p:attrNameLst>
                                      </p:cBhvr>
                                      <p:tavLst>
                                        <p:tav tm="0">
                                          <p:val>
                                            <p:strVal val="#ppt_y-.1"/>
                                          </p:val>
                                        </p:tav>
                                        <p:tav tm="100000">
                                          <p:val>
                                            <p:strVal val="#ppt_y"/>
                                          </p:val>
                                        </p:tav>
                                      </p:tavLst>
                                    </p:anim>
                                  </p:childTnLst>
                                </p:cTn>
                              </p:par>
                              <p:par>
                                <p:cTn id="46" presetID="23" presetClass="entr" presetSubtype="16" fill="hold" grpId="0" nodeType="withEffect">
                                  <p:stCondLst>
                                    <p:cond delay="800"/>
                                  </p:stCondLst>
                                  <p:childTnLst>
                                    <p:set>
                                      <p:cBhvr>
                                        <p:cTn id="47" dur="1" fill="hold">
                                          <p:stCondLst>
                                            <p:cond delay="0"/>
                                          </p:stCondLst>
                                        </p:cTn>
                                        <p:tgtEl>
                                          <p:spTgt spid="48"/>
                                        </p:tgtEl>
                                        <p:attrNameLst>
                                          <p:attrName>style.visibility</p:attrName>
                                        </p:attrNameLst>
                                      </p:cBhvr>
                                      <p:to>
                                        <p:strVal val="visible"/>
                                      </p:to>
                                    </p:set>
                                    <p:anim calcmode="lin" valueType="num">
                                      <p:cBhvr>
                                        <p:cTn id="48" dur="500" fill="hold"/>
                                        <p:tgtEl>
                                          <p:spTgt spid="48"/>
                                        </p:tgtEl>
                                        <p:attrNameLst>
                                          <p:attrName>ppt_w</p:attrName>
                                        </p:attrNameLst>
                                      </p:cBhvr>
                                      <p:tavLst>
                                        <p:tav tm="0">
                                          <p:val>
                                            <p:fltVal val="0"/>
                                          </p:val>
                                        </p:tav>
                                        <p:tav tm="100000">
                                          <p:val>
                                            <p:strVal val="#ppt_w"/>
                                          </p:val>
                                        </p:tav>
                                      </p:tavLst>
                                    </p:anim>
                                    <p:anim calcmode="lin" valueType="num">
                                      <p:cBhvr>
                                        <p:cTn id="49" dur="500" fill="hold"/>
                                        <p:tgtEl>
                                          <p:spTgt spid="48"/>
                                        </p:tgtEl>
                                        <p:attrNameLst>
                                          <p:attrName>ppt_h</p:attrName>
                                        </p:attrNameLst>
                                      </p:cBhvr>
                                      <p:tavLst>
                                        <p:tav tm="0">
                                          <p:val>
                                            <p:fltVal val="0"/>
                                          </p:val>
                                        </p:tav>
                                        <p:tav tm="100000">
                                          <p:val>
                                            <p:strVal val="#ppt_h"/>
                                          </p:val>
                                        </p:tav>
                                      </p:tavLst>
                                    </p:anim>
                                  </p:childTnLst>
                                </p:cTn>
                              </p:par>
                              <p:par>
                                <p:cTn id="50" presetID="12" presetClass="entr" presetSubtype="2" fill="hold" grpId="0" nodeType="withEffect">
                                  <p:stCondLst>
                                    <p:cond delay="800"/>
                                  </p:stCondLst>
                                  <p:childTnLst>
                                    <p:set>
                                      <p:cBhvr>
                                        <p:cTn id="51" dur="1" fill="hold">
                                          <p:stCondLst>
                                            <p:cond delay="0"/>
                                          </p:stCondLst>
                                        </p:cTn>
                                        <p:tgtEl>
                                          <p:spTgt spid="53"/>
                                        </p:tgtEl>
                                        <p:attrNameLst>
                                          <p:attrName>style.visibility</p:attrName>
                                        </p:attrNameLst>
                                      </p:cBhvr>
                                      <p:to>
                                        <p:strVal val="visible"/>
                                      </p:to>
                                    </p:set>
                                    <p:animEffect transition="in" filter="slide(fromRight)">
                                      <p:cBhvr>
                                        <p:cTn id="52" dur="500"/>
                                        <p:tgtEl>
                                          <p:spTgt spid="53"/>
                                        </p:tgtEl>
                                      </p:cBhvr>
                                    </p:animEffect>
                                  </p:childTnLst>
                                </p:cTn>
                              </p:par>
                              <p:par>
                                <p:cTn id="53" presetID="47" presetClass="entr" presetSubtype="0" fill="hold" nodeType="withEffect">
                                  <p:stCondLst>
                                    <p:cond delay="400"/>
                                  </p:stCondLst>
                                  <p:childTnLst>
                                    <p:set>
                                      <p:cBhvr>
                                        <p:cTn id="54" dur="1" fill="hold">
                                          <p:stCondLst>
                                            <p:cond delay="0"/>
                                          </p:stCondLst>
                                        </p:cTn>
                                        <p:tgtEl>
                                          <p:spTgt spid="34"/>
                                        </p:tgtEl>
                                        <p:attrNameLst>
                                          <p:attrName>style.visibility</p:attrName>
                                        </p:attrNameLst>
                                      </p:cBhvr>
                                      <p:to>
                                        <p:strVal val="visible"/>
                                      </p:to>
                                    </p:set>
                                    <p:animEffect transition="in" filter="fade">
                                      <p:cBhvr>
                                        <p:cTn id="55" dur="500"/>
                                        <p:tgtEl>
                                          <p:spTgt spid="34"/>
                                        </p:tgtEl>
                                      </p:cBhvr>
                                    </p:animEffect>
                                    <p:anim calcmode="lin" valueType="num">
                                      <p:cBhvr>
                                        <p:cTn id="56" dur="500" fill="hold"/>
                                        <p:tgtEl>
                                          <p:spTgt spid="34"/>
                                        </p:tgtEl>
                                        <p:attrNameLst>
                                          <p:attrName>ppt_x</p:attrName>
                                        </p:attrNameLst>
                                      </p:cBhvr>
                                      <p:tavLst>
                                        <p:tav tm="0">
                                          <p:val>
                                            <p:strVal val="#ppt_x"/>
                                          </p:val>
                                        </p:tav>
                                        <p:tav tm="100000">
                                          <p:val>
                                            <p:strVal val="#ppt_x"/>
                                          </p:val>
                                        </p:tav>
                                      </p:tavLst>
                                    </p:anim>
                                    <p:anim calcmode="lin" valueType="num">
                                      <p:cBhvr>
                                        <p:cTn id="57" dur="500" fill="hold"/>
                                        <p:tgtEl>
                                          <p:spTgt spid="34"/>
                                        </p:tgtEl>
                                        <p:attrNameLst>
                                          <p:attrName>ppt_y</p:attrName>
                                        </p:attrNameLst>
                                      </p:cBhvr>
                                      <p:tavLst>
                                        <p:tav tm="0">
                                          <p:val>
                                            <p:strVal val="#ppt_y-.1"/>
                                          </p:val>
                                        </p:tav>
                                        <p:tav tm="100000">
                                          <p:val>
                                            <p:strVal val="#ppt_y"/>
                                          </p:val>
                                        </p:tav>
                                      </p:tavLst>
                                    </p:anim>
                                  </p:childTnLst>
                                </p:cTn>
                              </p:par>
                              <p:par>
                                <p:cTn id="58" presetID="23" presetClass="entr" presetSubtype="16" fill="hold" grpId="0" nodeType="withEffect">
                                  <p:stCondLst>
                                    <p:cond delay="900"/>
                                  </p:stCondLst>
                                  <p:childTnLst>
                                    <p:set>
                                      <p:cBhvr>
                                        <p:cTn id="59" dur="1" fill="hold">
                                          <p:stCondLst>
                                            <p:cond delay="0"/>
                                          </p:stCondLst>
                                        </p:cTn>
                                        <p:tgtEl>
                                          <p:spTgt spid="49"/>
                                        </p:tgtEl>
                                        <p:attrNameLst>
                                          <p:attrName>style.visibility</p:attrName>
                                        </p:attrNameLst>
                                      </p:cBhvr>
                                      <p:to>
                                        <p:strVal val="visible"/>
                                      </p:to>
                                    </p:set>
                                    <p:anim calcmode="lin" valueType="num">
                                      <p:cBhvr>
                                        <p:cTn id="60" dur="500" fill="hold"/>
                                        <p:tgtEl>
                                          <p:spTgt spid="49"/>
                                        </p:tgtEl>
                                        <p:attrNameLst>
                                          <p:attrName>ppt_w</p:attrName>
                                        </p:attrNameLst>
                                      </p:cBhvr>
                                      <p:tavLst>
                                        <p:tav tm="0">
                                          <p:val>
                                            <p:fltVal val="0"/>
                                          </p:val>
                                        </p:tav>
                                        <p:tav tm="100000">
                                          <p:val>
                                            <p:strVal val="#ppt_w"/>
                                          </p:val>
                                        </p:tav>
                                      </p:tavLst>
                                    </p:anim>
                                    <p:anim calcmode="lin" valueType="num">
                                      <p:cBhvr>
                                        <p:cTn id="61" dur="500" fill="hold"/>
                                        <p:tgtEl>
                                          <p:spTgt spid="49"/>
                                        </p:tgtEl>
                                        <p:attrNameLst>
                                          <p:attrName>ppt_h</p:attrName>
                                        </p:attrNameLst>
                                      </p:cBhvr>
                                      <p:tavLst>
                                        <p:tav tm="0">
                                          <p:val>
                                            <p:fltVal val="0"/>
                                          </p:val>
                                        </p:tav>
                                        <p:tav tm="100000">
                                          <p:val>
                                            <p:strVal val="#ppt_h"/>
                                          </p:val>
                                        </p:tav>
                                      </p:tavLst>
                                    </p:anim>
                                  </p:childTnLst>
                                </p:cTn>
                              </p:par>
                              <p:par>
                                <p:cTn id="62" presetID="12" presetClass="entr" presetSubtype="8" fill="hold" grpId="0" nodeType="withEffect">
                                  <p:stCondLst>
                                    <p:cond delay="900"/>
                                  </p:stCondLst>
                                  <p:childTnLst>
                                    <p:set>
                                      <p:cBhvr>
                                        <p:cTn id="63" dur="1" fill="hold">
                                          <p:stCondLst>
                                            <p:cond delay="0"/>
                                          </p:stCondLst>
                                        </p:cTn>
                                        <p:tgtEl>
                                          <p:spTgt spid="51"/>
                                        </p:tgtEl>
                                        <p:attrNameLst>
                                          <p:attrName>style.visibility</p:attrName>
                                        </p:attrNameLst>
                                      </p:cBhvr>
                                      <p:to>
                                        <p:strVal val="visible"/>
                                      </p:to>
                                    </p:set>
                                    <p:animEffect transition="in" filter="slide(fromLeft)">
                                      <p:cBhvr>
                                        <p:cTn id="64" dur="500"/>
                                        <p:tgtEl>
                                          <p:spTgt spid="51"/>
                                        </p:tgtEl>
                                      </p:cBhvr>
                                    </p:animEffect>
                                  </p:childTnLst>
                                </p:cTn>
                              </p:par>
                            </p:childTnLst>
                          </p:cTn>
                        </p:par>
                        <p:par>
                          <p:cTn id="65" fill="hold">
                            <p:stCondLst>
                              <p:cond delay="500"/>
                            </p:stCondLst>
                            <p:childTnLst>
                              <p:par>
                                <p:cTn id="66" presetID="22" presetClass="entr" presetSubtype="4" fill="hold" grpId="0" nodeType="afterEffect">
                                  <p:stCondLst>
                                    <p:cond delay="0"/>
                                  </p:stCondLst>
                                  <p:childTnLst>
                                    <p:set>
                                      <p:cBhvr>
                                        <p:cTn id="67" dur="1" fill="hold">
                                          <p:stCondLst>
                                            <p:cond delay="0"/>
                                          </p:stCondLst>
                                        </p:cTn>
                                        <p:tgtEl>
                                          <p:spTgt spid="57"/>
                                        </p:tgtEl>
                                        <p:attrNameLst>
                                          <p:attrName>style.visibility</p:attrName>
                                        </p:attrNameLst>
                                      </p:cBhvr>
                                      <p:to>
                                        <p:strVal val="visible"/>
                                      </p:to>
                                    </p:set>
                                    <p:animEffect transition="in" filter="wipe(down)">
                                      <p:cBhvr>
                                        <p:cTn id="68" dur="125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utoUpdateAnimBg="0"/>
      <p:bldP spid="47" grpId="0" autoUpdateAnimBg="0"/>
      <p:bldP spid="48" grpId="0" autoUpdateAnimBg="0"/>
      <p:bldP spid="49" grpId="0" autoUpdateAnimBg="0"/>
      <p:bldP spid="50" grpId="0" autoUpdateAnimBg="0"/>
      <p:bldP spid="51" grpId="0" autoUpdateAnimBg="0"/>
      <p:bldP spid="52" grpId="0" autoUpdateAnimBg="0"/>
      <p:bldP spid="53" grpId="0" autoUpdateAnimBg="0"/>
      <p:bldP spid="54" grpId="0" autoUpdateAnimBg="0"/>
      <p:bldP spid="55" grpId="0" autoUpdateAnimBg="0"/>
      <p:bldP spid="5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4083051" y="1676400"/>
            <a:ext cx="3354916" cy="3344333"/>
            <a:chOff x="4083050" y="1676400"/>
            <a:chExt cx="3354388" cy="3344863"/>
          </a:xfrm>
        </p:grpSpPr>
        <p:sp>
          <p:nvSpPr>
            <p:cNvPr id="6" name="等腰三角形 5"/>
            <p:cNvSpPr/>
            <p:nvPr/>
          </p:nvSpPr>
          <p:spPr>
            <a:xfrm rot="5400000">
              <a:off x="4125079" y="3135313"/>
              <a:ext cx="1886248" cy="1885653"/>
            </a:xfrm>
            <a:prstGeom prst="triangl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7" name="等腰三角形 6"/>
            <p:cNvSpPr/>
            <p:nvPr/>
          </p:nvSpPr>
          <p:spPr>
            <a:xfrm rot="10800000">
              <a:off x="4083050" y="1695454"/>
              <a:ext cx="1887770" cy="1886248"/>
            </a:xfrm>
            <a:prstGeom prst="triangl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8" name="等腰三角形 7"/>
            <p:cNvSpPr/>
            <p:nvPr/>
          </p:nvSpPr>
          <p:spPr>
            <a:xfrm flipH="1">
              <a:off x="5549668" y="3115961"/>
              <a:ext cx="1887770" cy="1886249"/>
            </a:xfrm>
            <a:prstGeom prst="triangl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9" name="等腰三角形 8"/>
            <p:cNvSpPr/>
            <p:nvPr/>
          </p:nvSpPr>
          <p:spPr>
            <a:xfrm rot="16200000" flipH="1">
              <a:off x="5521858" y="1676699"/>
              <a:ext cx="1886249" cy="1885653"/>
            </a:xfrm>
            <a:prstGeom prst="triangl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grpSp>
      <p:grpSp>
        <p:nvGrpSpPr>
          <p:cNvPr id="10" name="组合 9"/>
          <p:cNvGrpSpPr/>
          <p:nvPr/>
        </p:nvGrpSpPr>
        <p:grpSpPr bwMode="auto">
          <a:xfrm>
            <a:off x="1382185" y="1686985"/>
            <a:ext cx="2273300" cy="3295559"/>
            <a:chOff x="1382712" y="1685925"/>
            <a:chExt cx="2271713" cy="3297498"/>
          </a:xfrm>
        </p:grpSpPr>
        <p:grpSp>
          <p:nvGrpSpPr>
            <p:cNvPr id="11" name="组合 18"/>
            <p:cNvGrpSpPr/>
            <p:nvPr/>
          </p:nvGrpSpPr>
          <p:grpSpPr bwMode="auto">
            <a:xfrm>
              <a:off x="1382712" y="1685925"/>
              <a:ext cx="2271713" cy="1340807"/>
              <a:chOff x="1382712" y="1685925"/>
              <a:chExt cx="2271713" cy="1340807"/>
            </a:xfrm>
          </p:grpSpPr>
          <p:sp>
            <p:nvSpPr>
              <p:cNvPr id="18" name="文本框 58"/>
              <p:cNvSpPr txBox="1">
                <a:spLocks noChangeArrowheads="1"/>
              </p:cNvSpPr>
              <p:nvPr/>
            </p:nvSpPr>
            <p:spPr bwMode="auto">
              <a:xfrm>
                <a:off x="1382712" y="1685925"/>
                <a:ext cx="1902352" cy="379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endParaRPr lang="zh-CN" altLang="en-US" sz="1865">
                  <a:solidFill>
                    <a:srgbClr val="969696"/>
                  </a:solidFill>
                  <a:latin typeface="Impact" panose="020B0806030902050204" pitchFamily="34" charset="0"/>
                  <a:ea typeface="+mn-ea"/>
                  <a:cs typeface="+mn-ea"/>
                </a:endParaRPr>
              </a:p>
            </p:txBody>
          </p:sp>
          <p:sp>
            <p:nvSpPr>
              <p:cNvPr id="19" name="文本框 69"/>
              <p:cNvSpPr txBox="1">
                <a:spLocks noChangeArrowheads="1"/>
              </p:cNvSpPr>
              <p:nvPr/>
            </p:nvSpPr>
            <p:spPr bwMode="auto">
              <a:xfrm>
                <a:off x="1403350" y="1917700"/>
                <a:ext cx="2251075" cy="1109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pPr>
                <a:r>
                  <a:rPr lang="zh-CN" altLang="en-US" sz="1465">
                    <a:solidFill>
                      <a:srgbClr val="969696"/>
                    </a:solidFill>
                    <a:latin typeface="+mn-ea"/>
                    <a:ea typeface="+mn-ea"/>
                    <a:cs typeface="+mn-ea"/>
                  </a:rPr>
                  <a:t>单击此处添加段落文本单击此处添加段落文本单击此处添加段落文本</a:t>
                </a:r>
                <a:endParaRPr lang="zh-CN" altLang="en-US" sz="1465">
                  <a:solidFill>
                    <a:srgbClr val="969696"/>
                  </a:solidFill>
                  <a:latin typeface="+mn-ea"/>
                  <a:ea typeface="+mn-ea"/>
                  <a:cs typeface="+mn-ea"/>
                </a:endParaRPr>
              </a:p>
            </p:txBody>
          </p:sp>
        </p:grpSp>
        <p:grpSp>
          <p:nvGrpSpPr>
            <p:cNvPr id="12" name="组合 19"/>
            <p:cNvGrpSpPr/>
            <p:nvPr/>
          </p:nvGrpSpPr>
          <p:grpSpPr bwMode="auto">
            <a:xfrm>
              <a:off x="1382713" y="3642616"/>
              <a:ext cx="2271712" cy="1340807"/>
              <a:chOff x="1382713" y="1685925"/>
              <a:chExt cx="2271712" cy="1340807"/>
            </a:xfrm>
          </p:grpSpPr>
          <p:sp>
            <p:nvSpPr>
              <p:cNvPr id="13" name="文本框 58"/>
              <p:cNvSpPr txBox="1">
                <a:spLocks noChangeArrowheads="1"/>
              </p:cNvSpPr>
              <p:nvPr/>
            </p:nvSpPr>
            <p:spPr bwMode="auto">
              <a:xfrm>
                <a:off x="1382713" y="1685925"/>
                <a:ext cx="1902353" cy="379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endParaRPr lang="zh-CN" altLang="en-US" sz="1865">
                  <a:solidFill>
                    <a:srgbClr val="969696"/>
                  </a:solidFill>
                  <a:latin typeface="Impact" panose="020B0806030902050204" pitchFamily="34" charset="0"/>
                  <a:ea typeface="+mn-ea"/>
                  <a:cs typeface="+mn-ea"/>
                </a:endParaRPr>
              </a:p>
            </p:txBody>
          </p:sp>
          <p:sp>
            <p:nvSpPr>
              <p:cNvPr id="17" name="文本框 69"/>
              <p:cNvSpPr txBox="1">
                <a:spLocks noChangeArrowheads="1"/>
              </p:cNvSpPr>
              <p:nvPr/>
            </p:nvSpPr>
            <p:spPr bwMode="auto">
              <a:xfrm>
                <a:off x="1403351" y="1917700"/>
                <a:ext cx="2251074" cy="1109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pPr>
                <a:r>
                  <a:rPr lang="zh-CN" altLang="en-US" sz="1465">
                    <a:solidFill>
                      <a:srgbClr val="969696"/>
                    </a:solidFill>
                    <a:latin typeface="+mn-ea"/>
                    <a:ea typeface="+mn-ea"/>
                    <a:cs typeface="+mn-ea"/>
                  </a:rPr>
                  <a:t>单击此处添加段落文本单击此处添加段落文本单击此处添加段落文本</a:t>
                </a:r>
                <a:endParaRPr lang="zh-CN" altLang="en-US" sz="1465">
                  <a:solidFill>
                    <a:srgbClr val="969696"/>
                  </a:solidFill>
                  <a:latin typeface="+mn-ea"/>
                  <a:ea typeface="+mn-ea"/>
                  <a:cs typeface="+mn-ea"/>
                </a:endParaRPr>
              </a:p>
            </p:txBody>
          </p:sp>
        </p:grpSp>
      </p:grpSp>
      <p:grpSp>
        <p:nvGrpSpPr>
          <p:cNvPr id="20" name="组合 19"/>
          <p:cNvGrpSpPr/>
          <p:nvPr/>
        </p:nvGrpSpPr>
        <p:grpSpPr bwMode="auto">
          <a:xfrm>
            <a:off x="8252885" y="1686985"/>
            <a:ext cx="2273300" cy="3295559"/>
            <a:chOff x="8253413" y="1685925"/>
            <a:chExt cx="2271712" cy="3297498"/>
          </a:xfrm>
        </p:grpSpPr>
        <p:grpSp>
          <p:nvGrpSpPr>
            <p:cNvPr id="21" name="组合 25"/>
            <p:cNvGrpSpPr/>
            <p:nvPr/>
          </p:nvGrpSpPr>
          <p:grpSpPr bwMode="auto">
            <a:xfrm>
              <a:off x="8253413" y="1685925"/>
              <a:ext cx="2271712" cy="1340807"/>
              <a:chOff x="1382713" y="1685925"/>
              <a:chExt cx="2271712" cy="1340807"/>
            </a:xfrm>
          </p:grpSpPr>
          <p:sp>
            <p:nvSpPr>
              <p:cNvPr id="25" name="文本框 58"/>
              <p:cNvSpPr txBox="1">
                <a:spLocks noChangeArrowheads="1"/>
              </p:cNvSpPr>
              <p:nvPr/>
            </p:nvSpPr>
            <p:spPr bwMode="auto">
              <a:xfrm>
                <a:off x="1382713" y="1685925"/>
                <a:ext cx="1821920" cy="379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endParaRPr lang="zh-CN" altLang="en-US" sz="1865">
                  <a:solidFill>
                    <a:srgbClr val="969696"/>
                  </a:solidFill>
                  <a:latin typeface="Impact" panose="020B0806030902050204" pitchFamily="34" charset="0"/>
                  <a:ea typeface="+mn-ea"/>
                  <a:cs typeface="+mn-ea"/>
                </a:endParaRPr>
              </a:p>
            </p:txBody>
          </p:sp>
          <p:sp>
            <p:nvSpPr>
              <p:cNvPr id="26" name="文本框 69"/>
              <p:cNvSpPr txBox="1">
                <a:spLocks noChangeArrowheads="1"/>
              </p:cNvSpPr>
              <p:nvPr/>
            </p:nvSpPr>
            <p:spPr bwMode="auto">
              <a:xfrm>
                <a:off x="1403351" y="1917700"/>
                <a:ext cx="2251074" cy="1109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pPr>
                <a:r>
                  <a:rPr lang="zh-CN" altLang="en-US" sz="1465">
                    <a:solidFill>
                      <a:srgbClr val="969696"/>
                    </a:solidFill>
                    <a:latin typeface="+mn-ea"/>
                    <a:ea typeface="+mn-ea"/>
                    <a:cs typeface="+mn-ea"/>
                  </a:rPr>
                  <a:t>单击此处添加段落文本单击此处添加段落文本单击此处添加段落文本</a:t>
                </a:r>
                <a:endParaRPr lang="zh-CN" altLang="en-US" sz="1465">
                  <a:solidFill>
                    <a:srgbClr val="969696"/>
                  </a:solidFill>
                  <a:latin typeface="+mn-ea"/>
                  <a:ea typeface="+mn-ea"/>
                  <a:cs typeface="+mn-ea"/>
                </a:endParaRPr>
              </a:p>
            </p:txBody>
          </p:sp>
        </p:grpSp>
        <p:grpSp>
          <p:nvGrpSpPr>
            <p:cNvPr id="22" name="组合 26"/>
            <p:cNvGrpSpPr/>
            <p:nvPr/>
          </p:nvGrpSpPr>
          <p:grpSpPr bwMode="auto">
            <a:xfrm>
              <a:off x="8253413" y="3642616"/>
              <a:ext cx="2271712" cy="1340807"/>
              <a:chOff x="1382713" y="1685925"/>
              <a:chExt cx="2271712" cy="1340807"/>
            </a:xfrm>
          </p:grpSpPr>
          <p:sp>
            <p:nvSpPr>
              <p:cNvPr id="23" name="文本框 58"/>
              <p:cNvSpPr txBox="1">
                <a:spLocks noChangeArrowheads="1"/>
              </p:cNvSpPr>
              <p:nvPr/>
            </p:nvSpPr>
            <p:spPr bwMode="auto">
              <a:xfrm>
                <a:off x="1382713" y="1685925"/>
                <a:ext cx="1821920" cy="379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dirty="0">
                    <a:solidFill>
                      <a:srgbClr val="969696"/>
                    </a:solidFill>
                    <a:latin typeface="Impact" panose="020B0806030902050204" pitchFamily="34" charset="0"/>
                    <a:ea typeface="+mn-ea"/>
                    <a:cs typeface="+mn-ea"/>
                  </a:rPr>
                  <a:t>标题文字内容</a:t>
                </a:r>
                <a:endParaRPr lang="zh-CN" altLang="en-US" sz="1865" dirty="0">
                  <a:solidFill>
                    <a:srgbClr val="969696"/>
                  </a:solidFill>
                  <a:latin typeface="Impact" panose="020B0806030902050204" pitchFamily="34" charset="0"/>
                  <a:ea typeface="+mn-ea"/>
                  <a:cs typeface="+mn-ea"/>
                </a:endParaRPr>
              </a:p>
            </p:txBody>
          </p:sp>
          <p:sp>
            <p:nvSpPr>
              <p:cNvPr id="24" name="文本框 69"/>
              <p:cNvSpPr txBox="1">
                <a:spLocks noChangeArrowheads="1"/>
              </p:cNvSpPr>
              <p:nvPr/>
            </p:nvSpPr>
            <p:spPr bwMode="auto">
              <a:xfrm>
                <a:off x="1403351" y="1917700"/>
                <a:ext cx="2251074" cy="1109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pPr>
                <a:r>
                  <a:rPr lang="zh-CN" altLang="en-US" sz="1465">
                    <a:solidFill>
                      <a:srgbClr val="969696"/>
                    </a:solidFill>
                    <a:latin typeface="+mn-ea"/>
                    <a:ea typeface="+mn-ea"/>
                    <a:cs typeface="+mn-ea"/>
                  </a:rPr>
                  <a:t>单击此处添加段落文本单击此处添加段落文本单击此处添加段落文本</a:t>
                </a:r>
                <a:endParaRPr lang="zh-CN" altLang="en-US" sz="1465">
                  <a:solidFill>
                    <a:srgbClr val="969696"/>
                  </a:solidFill>
                  <a:latin typeface="+mn-ea"/>
                  <a:ea typeface="+mn-ea"/>
                  <a:cs typeface="+mn-ea"/>
                </a:endParaRPr>
              </a:p>
            </p:txBody>
          </p:sp>
        </p:grpSp>
      </p:grpSp>
      <p:sp>
        <p:nvSpPr>
          <p:cNvPr id="2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8" name="文本框 27"/>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 calcmode="lin" valueType="num">
                                      <p:cBhvr>
                                        <p:cTn id="9" dur="1000" fill="hold"/>
                                        <p:tgtEl>
                                          <p:spTgt spid="5"/>
                                        </p:tgtEl>
                                        <p:attrNameLst>
                                          <p:attrName>style.rotation</p:attrName>
                                        </p:attrNameLst>
                                      </p:cBhvr>
                                      <p:tavLst>
                                        <p:tav tm="0">
                                          <p:val>
                                            <p:fltVal val="90"/>
                                          </p:val>
                                        </p:tav>
                                        <p:tav tm="100000">
                                          <p:val>
                                            <p:fltVal val="0"/>
                                          </p:val>
                                        </p:tav>
                                      </p:tavLst>
                                    </p:anim>
                                    <p:animEffect transition="in" filter="fade">
                                      <p:cBhvr>
                                        <p:cTn id="10" dur="1000"/>
                                        <p:tgtEl>
                                          <p:spTgt spid="5"/>
                                        </p:tgtEl>
                                      </p:cBhvr>
                                    </p:animEffect>
                                  </p:childTnLst>
                                </p:cTn>
                              </p:par>
                            </p:childTnLst>
                          </p:cTn>
                        </p:par>
                        <p:par>
                          <p:cTn id="11" fill="hold">
                            <p:stCondLst>
                              <p:cond delay="1000"/>
                            </p:stCondLst>
                            <p:childTnLst>
                              <p:par>
                                <p:cTn id="12" presetID="2" presetClass="entr" presetSubtype="8" fill="hold" nodeType="afterEffect">
                                  <p:stCondLst>
                                    <p:cond delay="0"/>
                                  </p:stCondLst>
                                  <p:childTnLst>
                                    <p:set>
                                      <p:cBhvr>
                                        <p:cTn id="13" dur="1" fill="hold">
                                          <p:stCondLst>
                                            <p:cond delay="0"/>
                                          </p:stCondLst>
                                        </p:cTn>
                                        <p:tgtEl>
                                          <p:spTgt spid="10"/>
                                        </p:tgtEl>
                                        <p:attrNameLst>
                                          <p:attrName>style.visibility</p:attrName>
                                        </p:attrNameLst>
                                      </p:cBhvr>
                                      <p:to>
                                        <p:strVal val="visible"/>
                                      </p:to>
                                    </p:set>
                                    <p:anim calcmode="lin" valueType="num">
                                      <p:cBhvr additive="base">
                                        <p:cTn id="14" dur="500" fill="hold"/>
                                        <p:tgtEl>
                                          <p:spTgt spid="10"/>
                                        </p:tgtEl>
                                        <p:attrNameLst>
                                          <p:attrName>ppt_x</p:attrName>
                                        </p:attrNameLst>
                                      </p:cBhvr>
                                      <p:tavLst>
                                        <p:tav tm="0">
                                          <p:val>
                                            <p:strVal val="0-#ppt_w/2"/>
                                          </p:val>
                                        </p:tav>
                                        <p:tav tm="100000">
                                          <p:val>
                                            <p:strVal val="#ppt_x"/>
                                          </p:val>
                                        </p:tav>
                                      </p:tavLst>
                                    </p:anim>
                                    <p:anim calcmode="lin" valueType="num">
                                      <p:cBhvr additive="base">
                                        <p:cTn id="15" dur="500" fill="hold"/>
                                        <p:tgtEl>
                                          <p:spTgt spid="10"/>
                                        </p:tgtEl>
                                        <p:attrNameLst>
                                          <p:attrName>ppt_y</p:attrName>
                                        </p:attrNameLst>
                                      </p:cBhvr>
                                      <p:tavLst>
                                        <p:tav tm="0">
                                          <p:val>
                                            <p:strVal val="#ppt_y"/>
                                          </p:val>
                                        </p:tav>
                                        <p:tav tm="100000">
                                          <p:val>
                                            <p:strVal val="#ppt_y"/>
                                          </p:val>
                                        </p:tav>
                                      </p:tavLst>
                                    </p:anim>
                                  </p:childTnLst>
                                </p:cTn>
                              </p:par>
                            </p:childTnLst>
                          </p:cTn>
                        </p:par>
                        <p:par>
                          <p:cTn id="16" fill="hold">
                            <p:stCondLst>
                              <p:cond delay="1500"/>
                            </p:stCondLst>
                            <p:childTnLst>
                              <p:par>
                                <p:cTn id="17" presetID="2" presetClass="entr" presetSubtype="2"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500" fill="hold"/>
                                        <p:tgtEl>
                                          <p:spTgt spid="20"/>
                                        </p:tgtEl>
                                        <p:attrNameLst>
                                          <p:attrName>ppt_x</p:attrName>
                                        </p:attrNameLst>
                                      </p:cBhvr>
                                      <p:tavLst>
                                        <p:tav tm="0">
                                          <p:val>
                                            <p:strVal val="1+#ppt_w/2"/>
                                          </p:val>
                                        </p:tav>
                                        <p:tav tm="100000">
                                          <p:val>
                                            <p:strVal val="#ppt_x"/>
                                          </p:val>
                                        </p:tav>
                                      </p:tavLst>
                                    </p:anim>
                                    <p:anim calcmode="lin" valueType="num">
                                      <p:cBhvr additive="base">
                                        <p:cTn id="20" dur="500" fill="hold"/>
                                        <p:tgtEl>
                                          <p:spTgt spid="20"/>
                                        </p:tgtEl>
                                        <p:attrNameLst>
                                          <p:attrName>ppt_y</p:attrName>
                                        </p:attrNameLst>
                                      </p:cBhvr>
                                      <p:tavLst>
                                        <p:tav tm="0">
                                          <p:val>
                                            <p:strVal val="#ppt_y"/>
                                          </p:val>
                                        </p:tav>
                                        <p:tav tm="100000">
                                          <p:val>
                                            <p:strVal val="#ppt_y"/>
                                          </p:val>
                                        </p:tav>
                                      </p:tavLst>
                                    </p:anim>
                                  </p:childTnLst>
                                </p:cTn>
                              </p:par>
                            </p:childTnLst>
                          </p:cTn>
                        </p:par>
                        <p:par>
                          <p:cTn id="21" fill="hold">
                            <p:stCondLst>
                              <p:cond delay="2000"/>
                            </p:stCondLst>
                            <p:childTnLst>
                              <p:par>
                                <p:cTn id="22" presetID="22" presetClass="entr" presetSubtype="4" fill="hold" grpId="0" nodeType="after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wipe(down)">
                                      <p:cBhvr>
                                        <p:cTn id="24" dur="125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descr="C:\Users\shangdongying\Desktop\New-York-City-At-Morning-Wallpaper.jpg"/>
          <p:cNvPicPr>
            <a:picLocks noChangeAspect="1" noChangeArrowheads="1"/>
          </p:cNvPicPr>
          <p:nvPr/>
        </p:nvPicPr>
        <p:blipFill>
          <a:blip r:embed="rId1" cstate="print"/>
          <a:srcRect/>
          <a:stretch>
            <a:fillRect/>
          </a:stretch>
        </p:blipFill>
        <p:spPr bwMode="auto">
          <a:xfrm>
            <a:off x="0" y="0"/>
            <a:ext cx="12188328" cy="6858000"/>
          </a:xfrm>
          <a:prstGeom prst="rect">
            <a:avLst/>
          </a:prstGeom>
          <a:noFill/>
        </p:spPr>
      </p:pic>
      <p:sp>
        <p:nvSpPr>
          <p:cNvPr id="6" name="矩形 5"/>
          <p:cNvSpPr/>
          <p:nvPr/>
        </p:nvSpPr>
        <p:spPr>
          <a:xfrm>
            <a:off x="0" y="0"/>
            <a:ext cx="12192000" cy="6858000"/>
          </a:xfrm>
          <a:prstGeom prst="rect">
            <a:avLst/>
          </a:prstGeom>
          <a:solidFill>
            <a:schemeClr val="accent6">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7" name="矩形 6"/>
          <p:cNvSpPr/>
          <p:nvPr/>
        </p:nvSpPr>
        <p:spPr>
          <a:xfrm>
            <a:off x="8496267" y="0"/>
            <a:ext cx="369573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8" name="直角三角形 7"/>
          <p:cNvSpPr/>
          <p:nvPr/>
        </p:nvSpPr>
        <p:spPr>
          <a:xfrm flipH="1">
            <a:off x="5243194" y="0"/>
            <a:ext cx="3253073" cy="68580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9" name="直角三角形 8"/>
          <p:cNvSpPr/>
          <p:nvPr/>
        </p:nvSpPr>
        <p:spPr>
          <a:xfrm rot="10800000" flipH="1">
            <a:off x="0" y="0"/>
            <a:ext cx="2255573" cy="3977680"/>
          </a:xfrm>
          <a:prstGeom prst="r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0" name="平行四边形 9"/>
          <p:cNvSpPr/>
          <p:nvPr/>
        </p:nvSpPr>
        <p:spPr>
          <a:xfrm flipH="1">
            <a:off x="0" y="0"/>
            <a:ext cx="3744416" cy="2468893"/>
          </a:xfrm>
          <a:prstGeom prst="parallelogram">
            <a:avLst>
              <a:gd name="adj" fmla="val 46637"/>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1" name="等腰三角形 10"/>
          <p:cNvSpPr/>
          <p:nvPr/>
        </p:nvSpPr>
        <p:spPr>
          <a:xfrm>
            <a:off x="-122115" y="1164309"/>
            <a:ext cx="1295467" cy="1332860"/>
          </a:xfrm>
          <a:prstGeom prs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2" name="等腰三角形 11"/>
          <p:cNvSpPr/>
          <p:nvPr/>
        </p:nvSpPr>
        <p:spPr>
          <a:xfrm>
            <a:off x="5231905" y="5525141"/>
            <a:ext cx="1295467" cy="1332860"/>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3" name="等腰三角形 12"/>
          <p:cNvSpPr/>
          <p:nvPr/>
        </p:nvSpPr>
        <p:spPr>
          <a:xfrm rot="10800000">
            <a:off x="2577473" y="0"/>
            <a:ext cx="1295467" cy="1332859"/>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4" name="TextBox 13"/>
          <p:cNvSpPr txBox="1"/>
          <p:nvPr/>
        </p:nvSpPr>
        <p:spPr>
          <a:xfrm>
            <a:off x="606509" y="893262"/>
            <a:ext cx="2688299" cy="748988"/>
          </a:xfrm>
          <a:prstGeom prst="rect">
            <a:avLst/>
          </a:prstGeom>
          <a:noFill/>
        </p:spPr>
        <p:txBody>
          <a:bodyPr wrap="square" rtlCol="0">
            <a:spAutoFit/>
          </a:bodyPr>
          <a:lstStyle/>
          <a:p>
            <a:r>
              <a:rPr lang="en-US" altLang="zh-CN" sz="4265" b="1" dirty="0">
                <a:solidFill>
                  <a:schemeClr val="bg1"/>
                </a:solidFill>
                <a:latin typeface="+mn-ea"/>
                <a:cs typeface="+mn-ea"/>
              </a:rPr>
              <a:t>contents</a:t>
            </a:r>
            <a:endParaRPr lang="zh-CN" altLang="en-US" sz="4265" b="1" dirty="0">
              <a:solidFill>
                <a:schemeClr val="bg1"/>
              </a:solidFill>
              <a:latin typeface="+mn-ea"/>
              <a:cs typeface="+mn-ea"/>
            </a:endParaRPr>
          </a:p>
        </p:txBody>
      </p:sp>
      <p:sp>
        <p:nvSpPr>
          <p:cNvPr id="15" name="圆角矩形 14"/>
          <p:cNvSpPr/>
          <p:nvPr/>
        </p:nvSpPr>
        <p:spPr>
          <a:xfrm>
            <a:off x="6993861" y="836712"/>
            <a:ext cx="4992555" cy="1056117"/>
          </a:xfrm>
          <a:prstGeom prst="roundRect">
            <a:avLst>
              <a:gd name="adj" fmla="val 50000"/>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r>
              <a:rPr lang="zh-CN" altLang="en-US" sz="2400" dirty="0">
                <a:solidFill>
                  <a:schemeClr val="tx1"/>
                </a:solidFill>
                <a:latin typeface="+mn-ea"/>
                <a:cs typeface="+mn-ea"/>
              </a:rPr>
              <a:t>点击输入标题内容</a:t>
            </a:r>
            <a:endParaRPr lang="zh-CN" altLang="en-US" sz="2400" dirty="0">
              <a:solidFill>
                <a:schemeClr val="tx1"/>
              </a:solidFill>
              <a:latin typeface="+mn-ea"/>
              <a:cs typeface="+mn-ea"/>
            </a:endParaRPr>
          </a:p>
        </p:txBody>
      </p:sp>
      <p:sp>
        <p:nvSpPr>
          <p:cNvPr id="16" name="圆角矩形 15"/>
          <p:cNvSpPr/>
          <p:nvPr/>
        </p:nvSpPr>
        <p:spPr>
          <a:xfrm>
            <a:off x="6395321" y="2203440"/>
            <a:ext cx="4992555" cy="1056117"/>
          </a:xfrm>
          <a:prstGeom prst="roundRect">
            <a:avLst>
              <a:gd name="adj" fmla="val 50000"/>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r>
              <a:rPr lang="zh-CN" altLang="en-US" sz="2400" dirty="0">
                <a:solidFill>
                  <a:schemeClr val="tx1"/>
                </a:solidFill>
                <a:latin typeface="+mn-ea"/>
                <a:cs typeface="+mn-ea"/>
              </a:rPr>
              <a:t>点击输入标题内容</a:t>
            </a:r>
            <a:endParaRPr lang="zh-CN" altLang="en-US" sz="2400" dirty="0">
              <a:solidFill>
                <a:schemeClr val="tx1"/>
              </a:solidFill>
              <a:latin typeface="+mn-ea"/>
              <a:cs typeface="+mn-ea"/>
            </a:endParaRPr>
          </a:p>
        </p:txBody>
      </p:sp>
      <p:sp>
        <p:nvSpPr>
          <p:cNvPr id="17" name="圆角矩形 16"/>
          <p:cNvSpPr/>
          <p:nvPr/>
        </p:nvSpPr>
        <p:spPr>
          <a:xfrm>
            <a:off x="5807968" y="3525011"/>
            <a:ext cx="4992555" cy="1056117"/>
          </a:xfrm>
          <a:prstGeom prst="roundRect">
            <a:avLst>
              <a:gd name="adj" fmla="val 50000"/>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r>
              <a:rPr lang="zh-CN" altLang="en-US" sz="2400" dirty="0">
                <a:solidFill>
                  <a:schemeClr val="tx1"/>
                </a:solidFill>
                <a:latin typeface="+mn-ea"/>
                <a:cs typeface="+mn-ea"/>
              </a:rPr>
              <a:t>点击输入标题内容</a:t>
            </a:r>
            <a:endParaRPr lang="zh-CN" altLang="en-US" sz="2400" dirty="0">
              <a:solidFill>
                <a:schemeClr val="tx1"/>
              </a:solidFill>
              <a:latin typeface="+mn-ea"/>
              <a:cs typeface="+mn-ea"/>
            </a:endParaRPr>
          </a:p>
        </p:txBody>
      </p:sp>
      <p:sp>
        <p:nvSpPr>
          <p:cNvPr id="18" name="圆角矩形 17"/>
          <p:cNvSpPr/>
          <p:nvPr/>
        </p:nvSpPr>
        <p:spPr>
          <a:xfrm>
            <a:off x="5248889" y="4869160"/>
            <a:ext cx="4992555" cy="1056117"/>
          </a:xfrm>
          <a:prstGeom prst="roundRect">
            <a:avLst>
              <a:gd name="adj" fmla="val 50000"/>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r>
              <a:rPr lang="zh-CN" altLang="en-US" sz="2400" dirty="0">
                <a:solidFill>
                  <a:schemeClr val="tx1"/>
                </a:solidFill>
                <a:latin typeface="+mn-ea"/>
                <a:cs typeface="+mn-ea"/>
              </a:rPr>
              <a:t>点击输入标题内容</a:t>
            </a:r>
            <a:endParaRPr lang="zh-CN" altLang="en-US" sz="2400" dirty="0">
              <a:solidFill>
                <a:schemeClr val="tx1"/>
              </a:solidFill>
              <a:latin typeface="+mn-ea"/>
              <a:cs typeface="+mn-ea"/>
            </a:endParaRPr>
          </a:p>
        </p:txBody>
      </p:sp>
      <p:sp>
        <p:nvSpPr>
          <p:cNvPr id="19" name="椭圆 18"/>
          <p:cNvSpPr/>
          <p:nvPr/>
        </p:nvSpPr>
        <p:spPr>
          <a:xfrm>
            <a:off x="7044715" y="881869"/>
            <a:ext cx="960107" cy="960107"/>
          </a:xfrm>
          <a:prstGeom prst="ellipse">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endParaRPr lang="zh-CN" altLang="en-US" sz="1400" b="1">
              <a:solidFill>
                <a:schemeClr val="tx2"/>
              </a:solidFill>
              <a:latin typeface="+mn-ea"/>
              <a:cs typeface="+mn-ea"/>
            </a:endParaRPr>
          </a:p>
        </p:txBody>
      </p:sp>
      <p:sp>
        <p:nvSpPr>
          <p:cNvPr id="20" name="椭圆 19"/>
          <p:cNvSpPr/>
          <p:nvPr/>
        </p:nvSpPr>
        <p:spPr>
          <a:xfrm>
            <a:off x="6434885" y="2254293"/>
            <a:ext cx="960107" cy="960107"/>
          </a:xfrm>
          <a:prstGeom prst="ellipse">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endParaRPr lang="zh-CN" altLang="en-US" sz="1400" b="1">
              <a:solidFill>
                <a:schemeClr val="tx2"/>
              </a:solidFill>
              <a:latin typeface="+mn-ea"/>
              <a:cs typeface="+mn-ea"/>
            </a:endParaRPr>
          </a:p>
        </p:txBody>
      </p:sp>
      <p:sp>
        <p:nvSpPr>
          <p:cNvPr id="21" name="椭圆 20"/>
          <p:cNvSpPr/>
          <p:nvPr/>
        </p:nvSpPr>
        <p:spPr>
          <a:xfrm>
            <a:off x="5847532" y="3564575"/>
            <a:ext cx="960107" cy="960107"/>
          </a:xfrm>
          <a:prstGeom prst="ellipse">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endParaRPr lang="zh-CN" altLang="en-US" sz="1400" b="1">
              <a:solidFill>
                <a:schemeClr val="tx2"/>
              </a:solidFill>
              <a:latin typeface="+mn-ea"/>
              <a:cs typeface="+mn-ea"/>
            </a:endParaRPr>
          </a:p>
        </p:txBody>
      </p:sp>
      <p:sp>
        <p:nvSpPr>
          <p:cNvPr id="22" name="椭圆 21"/>
          <p:cNvSpPr/>
          <p:nvPr/>
        </p:nvSpPr>
        <p:spPr>
          <a:xfrm>
            <a:off x="5322321" y="4914317"/>
            <a:ext cx="960107" cy="960107"/>
          </a:xfrm>
          <a:prstGeom prst="ellipse">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endParaRPr lang="zh-CN" altLang="en-US" sz="1400" b="1">
              <a:solidFill>
                <a:schemeClr val="tx2"/>
              </a:solidFill>
              <a:latin typeface="+mn-ea"/>
              <a:cs typeface="+mn-ea"/>
            </a:endParaRPr>
          </a:p>
        </p:txBody>
      </p:sp>
      <p:sp>
        <p:nvSpPr>
          <p:cNvPr id="23" name="TextBox 22"/>
          <p:cNvSpPr txBox="1"/>
          <p:nvPr/>
        </p:nvSpPr>
        <p:spPr>
          <a:xfrm>
            <a:off x="7180289" y="887566"/>
            <a:ext cx="960107" cy="995209"/>
          </a:xfrm>
          <a:prstGeom prst="rect">
            <a:avLst/>
          </a:prstGeom>
          <a:noFill/>
        </p:spPr>
        <p:txBody>
          <a:bodyPr wrap="square" rtlCol="0">
            <a:spAutoFit/>
          </a:bodyPr>
          <a:lstStyle/>
          <a:p>
            <a:r>
              <a:rPr lang="en-US" altLang="zh-CN" sz="5865" dirty="0">
                <a:solidFill>
                  <a:srgbClr val="969696"/>
                </a:solidFill>
                <a:latin typeface="+mn-ea"/>
                <a:cs typeface="+mn-ea"/>
              </a:rPr>
              <a:t>1</a:t>
            </a:r>
            <a:endParaRPr lang="zh-CN" altLang="en-US" sz="5865" dirty="0">
              <a:solidFill>
                <a:srgbClr val="969696"/>
              </a:solidFill>
              <a:latin typeface="+mn-ea"/>
              <a:cs typeface="+mn-ea"/>
            </a:endParaRPr>
          </a:p>
        </p:txBody>
      </p:sp>
      <p:sp>
        <p:nvSpPr>
          <p:cNvPr id="24" name="TextBox 23"/>
          <p:cNvSpPr txBox="1"/>
          <p:nvPr/>
        </p:nvSpPr>
        <p:spPr>
          <a:xfrm>
            <a:off x="6576053" y="2259888"/>
            <a:ext cx="960107" cy="995209"/>
          </a:xfrm>
          <a:prstGeom prst="rect">
            <a:avLst/>
          </a:prstGeom>
          <a:noFill/>
        </p:spPr>
        <p:txBody>
          <a:bodyPr wrap="square" rtlCol="0">
            <a:spAutoFit/>
          </a:bodyPr>
          <a:lstStyle/>
          <a:p>
            <a:r>
              <a:rPr lang="en-US" altLang="zh-CN" sz="5865" dirty="0">
                <a:solidFill>
                  <a:srgbClr val="969696"/>
                </a:solidFill>
                <a:latin typeface="+mn-ea"/>
                <a:cs typeface="+mn-ea"/>
              </a:rPr>
              <a:t>2</a:t>
            </a:r>
            <a:endParaRPr lang="zh-CN" altLang="en-US" sz="5865" dirty="0">
              <a:solidFill>
                <a:srgbClr val="969696"/>
              </a:solidFill>
              <a:latin typeface="+mn-ea"/>
              <a:cs typeface="+mn-ea"/>
            </a:endParaRPr>
          </a:p>
        </p:txBody>
      </p:sp>
      <p:sp>
        <p:nvSpPr>
          <p:cNvPr id="25" name="TextBox 24"/>
          <p:cNvSpPr txBox="1"/>
          <p:nvPr/>
        </p:nvSpPr>
        <p:spPr>
          <a:xfrm>
            <a:off x="5988700" y="3570169"/>
            <a:ext cx="960107" cy="995209"/>
          </a:xfrm>
          <a:prstGeom prst="rect">
            <a:avLst/>
          </a:prstGeom>
          <a:noFill/>
        </p:spPr>
        <p:txBody>
          <a:bodyPr wrap="square" rtlCol="0">
            <a:spAutoFit/>
          </a:bodyPr>
          <a:lstStyle/>
          <a:p>
            <a:r>
              <a:rPr lang="en-US" altLang="zh-CN" sz="5865" dirty="0">
                <a:solidFill>
                  <a:srgbClr val="969696"/>
                </a:solidFill>
                <a:latin typeface="+mn-ea"/>
                <a:cs typeface="+mn-ea"/>
              </a:rPr>
              <a:t>3</a:t>
            </a:r>
            <a:endParaRPr lang="zh-CN" altLang="en-US" sz="5865" dirty="0">
              <a:solidFill>
                <a:srgbClr val="969696"/>
              </a:solidFill>
              <a:latin typeface="+mn-ea"/>
              <a:cs typeface="+mn-ea"/>
            </a:endParaRPr>
          </a:p>
        </p:txBody>
      </p:sp>
      <p:sp>
        <p:nvSpPr>
          <p:cNvPr id="26" name="TextBox 25"/>
          <p:cNvSpPr txBox="1"/>
          <p:nvPr/>
        </p:nvSpPr>
        <p:spPr>
          <a:xfrm>
            <a:off x="5423925" y="4914318"/>
            <a:ext cx="960107" cy="995209"/>
          </a:xfrm>
          <a:prstGeom prst="rect">
            <a:avLst/>
          </a:prstGeom>
          <a:noFill/>
        </p:spPr>
        <p:txBody>
          <a:bodyPr wrap="square" rtlCol="0">
            <a:spAutoFit/>
          </a:bodyPr>
          <a:lstStyle/>
          <a:p>
            <a:r>
              <a:rPr lang="en-US" altLang="zh-CN" sz="5865" dirty="0">
                <a:solidFill>
                  <a:srgbClr val="969696"/>
                </a:solidFill>
                <a:latin typeface="+mn-ea"/>
                <a:cs typeface="+mn-ea"/>
              </a:rPr>
              <a:t>4</a:t>
            </a:r>
            <a:endParaRPr lang="zh-CN" altLang="en-US" sz="5865" dirty="0">
              <a:solidFill>
                <a:srgbClr val="969696"/>
              </a:solidFill>
              <a:latin typeface="+mn-ea"/>
              <a:cs typeface="+mn-ea"/>
            </a:endParaRPr>
          </a:p>
        </p:txBody>
      </p:sp>
      <p:sp>
        <p:nvSpPr>
          <p:cNvPr id="27" name="文本框 26"/>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1600">
        <p:blinds dir="vert"/>
      </p:transition>
    </mc:Choice>
    <mc:Fallback>
      <p:transition spd="slow">
        <p:blinds dir="vert"/>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par>
                              <p:cTn id="8" fill="hold">
                                <p:stCondLst>
                                  <p:cond delay="500"/>
                                </p:stCondLst>
                                <p:childTnLst>
                                  <p:par>
                                    <p:cTn id="9" presetID="14" presetClass="entr" presetSubtype="1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randombar(horizontal)">
                                          <p:cBhvr>
                                            <p:cTn id="11" dur="500"/>
                                            <p:tgtEl>
                                              <p:spTgt spid="13"/>
                                            </p:tgtEl>
                                          </p:cBhvr>
                                        </p:animEffect>
                                      </p:childTnLst>
                                    </p:cTn>
                                  </p:par>
                                  <p:par>
                                    <p:cTn id="12" presetID="14" presetClass="entr" presetSubtype="1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randombar(horizontal)">
                                          <p:cBhvr>
                                            <p:cTn id="14" dur="500"/>
                                            <p:tgtEl>
                                              <p:spTgt spid="11"/>
                                            </p:tgtEl>
                                          </p:cBhvr>
                                        </p:animEffect>
                                      </p:childTnLst>
                                    </p:cTn>
                                  </p:par>
                                </p:childTnLst>
                              </p:cTn>
                            </p:par>
                            <p:par>
                              <p:cTn id="15" fill="hold">
                                <p:stCondLst>
                                  <p:cond delay="1000"/>
                                </p:stCondLst>
                                <p:childTnLst>
                                  <p:par>
                                    <p:cTn id="16" presetID="14" presetClass="entr" presetSubtype="10" fill="hold" grpId="0" nodeType="afterEffect">
                                      <p:stCondLst>
                                        <p:cond delay="0"/>
                                      </p:stCondLst>
                                      <p:iterate type="lt">
                                        <p:tmPct val="10000"/>
                                      </p:iterate>
                                      <p:childTnLst>
                                        <p:set>
                                          <p:cBhvr>
                                            <p:cTn id="17" dur="1" fill="hold">
                                              <p:stCondLst>
                                                <p:cond delay="0"/>
                                              </p:stCondLst>
                                            </p:cTn>
                                            <p:tgtEl>
                                              <p:spTgt spid="14"/>
                                            </p:tgtEl>
                                            <p:attrNameLst>
                                              <p:attrName>style.visibility</p:attrName>
                                            </p:attrNameLst>
                                          </p:cBhvr>
                                          <p:to>
                                            <p:strVal val="visible"/>
                                          </p:to>
                                        </p:set>
                                        <p:animEffect transition="in" filter="randombar(horizontal)">
                                          <p:cBhvr>
                                            <p:cTn id="18" dur="750"/>
                                            <p:tgtEl>
                                              <p:spTgt spid="14"/>
                                            </p:tgtEl>
                                          </p:cBhvr>
                                        </p:animEffect>
                                      </p:childTnLst>
                                    </p:cTn>
                                  </p:par>
                                </p:childTnLst>
                              </p:cTn>
                            </p:par>
                            <p:par>
                              <p:cTn id="19" fill="hold">
                                <p:stCondLst>
                                  <p:cond delay="2275"/>
                                </p:stCondLst>
                                <p:childTnLst>
                                  <p:par>
                                    <p:cTn id="20" presetID="2" presetClass="entr" presetSubtype="4" accel="48000" fill="hold" grpId="0" nodeType="afterEffect" p14:presetBounceEnd="48000">
                                      <p:stCondLst>
                                        <p:cond delay="0"/>
                                      </p:stCondLst>
                                      <p:childTnLst>
                                        <p:set>
                                          <p:cBhvr>
                                            <p:cTn id="21" dur="1" fill="hold">
                                              <p:stCondLst>
                                                <p:cond delay="0"/>
                                              </p:stCondLst>
                                            </p:cTn>
                                            <p:tgtEl>
                                              <p:spTgt spid="19"/>
                                            </p:tgtEl>
                                            <p:attrNameLst>
                                              <p:attrName>style.visibility</p:attrName>
                                            </p:attrNameLst>
                                          </p:cBhvr>
                                          <p:to>
                                            <p:strVal val="visible"/>
                                          </p:to>
                                        </p:set>
                                        <p:anim calcmode="lin" valueType="num" p14:bounceEnd="48000">
                                          <p:cBhvr additive="base">
                                            <p:cTn id="22" dur="1250" fill="hold"/>
                                            <p:tgtEl>
                                              <p:spTgt spid="19"/>
                                            </p:tgtEl>
                                            <p:attrNameLst>
                                              <p:attrName>ppt_x</p:attrName>
                                            </p:attrNameLst>
                                          </p:cBhvr>
                                          <p:tavLst>
                                            <p:tav tm="0">
                                              <p:val>
                                                <p:strVal val="#ppt_x"/>
                                              </p:val>
                                            </p:tav>
                                            <p:tav tm="100000">
                                              <p:val>
                                                <p:strVal val="#ppt_x"/>
                                              </p:val>
                                            </p:tav>
                                          </p:tavLst>
                                        </p:anim>
                                        <p:anim calcmode="lin" valueType="num" p14:bounceEnd="48000">
                                          <p:cBhvr additive="base">
                                            <p:cTn id="23" dur="1250" fill="hold"/>
                                            <p:tgtEl>
                                              <p:spTgt spid="19"/>
                                            </p:tgtEl>
                                            <p:attrNameLst>
                                              <p:attrName>ppt_y</p:attrName>
                                            </p:attrNameLst>
                                          </p:cBhvr>
                                          <p:tavLst>
                                            <p:tav tm="0">
                                              <p:val>
                                                <p:strVal val="1+#ppt_h/2"/>
                                              </p:val>
                                            </p:tav>
                                            <p:tav tm="100000">
                                              <p:val>
                                                <p:strVal val="#ppt_y"/>
                                              </p:val>
                                            </p:tav>
                                          </p:tavLst>
                                        </p:anim>
                                      </p:childTnLst>
                                    </p:cTn>
                                  </p:par>
                                  <p:par>
                                    <p:cTn id="24" presetID="2" presetClass="entr" presetSubtype="4" accel="48000" fill="hold" grpId="0" nodeType="withEffect" p14:presetBounceEnd="48000">
                                      <p:stCondLst>
                                        <p:cond delay="0"/>
                                      </p:stCondLst>
                                      <p:childTnLst>
                                        <p:set>
                                          <p:cBhvr>
                                            <p:cTn id="25" dur="1" fill="hold">
                                              <p:stCondLst>
                                                <p:cond delay="0"/>
                                              </p:stCondLst>
                                            </p:cTn>
                                            <p:tgtEl>
                                              <p:spTgt spid="20"/>
                                            </p:tgtEl>
                                            <p:attrNameLst>
                                              <p:attrName>style.visibility</p:attrName>
                                            </p:attrNameLst>
                                          </p:cBhvr>
                                          <p:to>
                                            <p:strVal val="visible"/>
                                          </p:to>
                                        </p:set>
                                        <p:anim calcmode="lin" valueType="num" p14:bounceEnd="48000">
                                          <p:cBhvr additive="base">
                                            <p:cTn id="26" dur="1250" fill="hold"/>
                                            <p:tgtEl>
                                              <p:spTgt spid="20"/>
                                            </p:tgtEl>
                                            <p:attrNameLst>
                                              <p:attrName>ppt_x</p:attrName>
                                            </p:attrNameLst>
                                          </p:cBhvr>
                                          <p:tavLst>
                                            <p:tav tm="0">
                                              <p:val>
                                                <p:strVal val="#ppt_x"/>
                                              </p:val>
                                            </p:tav>
                                            <p:tav tm="100000">
                                              <p:val>
                                                <p:strVal val="#ppt_x"/>
                                              </p:val>
                                            </p:tav>
                                          </p:tavLst>
                                        </p:anim>
                                        <p:anim calcmode="lin" valueType="num" p14:bounceEnd="48000">
                                          <p:cBhvr additive="base">
                                            <p:cTn id="27" dur="1250" fill="hold"/>
                                            <p:tgtEl>
                                              <p:spTgt spid="20"/>
                                            </p:tgtEl>
                                            <p:attrNameLst>
                                              <p:attrName>ppt_y</p:attrName>
                                            </p:attrNameLst>
                                          </p:cBhvr>
                                          <p:tavLst>
                                            <p:tav tm="0">
                                              <p:val>
                                                <p:strVal val="1+#ppt_h/2"/>
                                              </p:val>
                                            </p:tav>
                                            <p:tav tm="100000">
                                              <p:val>
                                                <p:strVal val="#ppt_y"/>
                                              </p:val>
                                            </p:tav>
                                          </p:tavLst>
                                        </p:anim>
                                      </p:childTnLst>
                                    </p:cTn>
                                  </p:par>
                                  <p:par>
                                    <p:cTn id="28" presetID="2" presetClass="entr" presetSubtype="4" accel="48000" fill="hold" grpId="0" nodeType="withEffect" p14:presetBounceEnd="48000">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14:bounceEnd="48000">
                                          <p:cBhvr additive="base">
                                            <p:cTn id="30" dur="1250" fill="hold"/>
                                            <p:tgtEl>
                                              <p:spTgt spid="21"/>
                                            </p:tgtEl>
                                            <p:attrNameLst>
                                              <p:attrName>ppt_x</p:attrName>
                                            </p:attrNameLst>
                                          </p:cBhvr>
                                          <p:tavLst>
                                            <p:tav tm="0">
                                              <p:val>
                                                <p:strVal val="#ppt_x"/>
                                              </p:val>
                                            </p:tav>
                                            <p:tav tm="100000">
                                              <p:val>
                                                <p:strVal val="#ppt_x"/>
                                              </p:val>
                                            </p:tav>
                                          </p:tavLst>
                                        </p:anim>
                                        <p:anim calcmode="lin" valueType="num" p14:bounceEnd="48000">
                                          <p:cBhvr additive="base">
                                            <p:cTn id="31" dur="1250" fill="hold"/>
                                            <p:tgtEl>
                                              <p:spTgt spid="21"/>
                                            </p:tgtEl>
                                            <p:attrNameLst>
                                              <p:attrName>ppt_y</p:attrName>
                                            </p:attrNameLst>
                                          </p:cBhvr>
                                          <p:tavLst>
                                            <p:tav tm="0">
                                              <p:val>
                                                <p:strVal val="1+#ppt_h/2"/>
                                              </p:val>
                                            </p:tav>
                                            <p:tav tm="100000">
                                              <p:val>
                                                <p:strVal val="#ppt_y"/>
                                              </p:val>
                                            </p:tav>
                                          </p:tavLst>
                                        </p:anim>
                                      </p:childTnLst>
                                    </p:cTn>
                                  </p:par>
                                  <p:par>
                                    <p:cTn id="32" presetID="2" presetClass="entr" presetSubtype="4" accel="48000" fill="hold" grpId="0" nodeType="withEffect" p14:presetBounceEnd="48000">
                                      <p:stCondLst>
                                        <p:cond delay="0"/>
                                      </p:stCondLst>
                                      <p:childTnLst>
                                        <p:set>
                                          <p:cBhvr>
                                            <p:cTn id="33" dur="1" fill="hold">
                                              <p:stCondLst>
                                                <p:cond delay="0"/>
                                              </p:stCondLst>
                                            </p:cTn>
                                            <p:tgtEl>
                                              <p:spTgt spid="22"/>
                                            </p:tgtEl>
                                            <p:attrNameLst>
                                              <p:attrName>style.visibility</p:attrName>
                                            </p:attrNameLst>
                                          </p:cBhvr>
                                          <p:to>
                                            <p:strVal val="visible"/>
                                          </p:to>
                                        </p:set>
                                        <p:anim calcmode="lin" valueType="num" p14:bounceEnd="48000">
                                          <p:cBhvr additive="base">
                                            <p:cTn id="34" dur="1250" fill="hold"/>
                                            <p:tgtEl>
                                              <p:spTgt spid="22"/>
                                            </p:tgtEl>
                                            <p:attrNameLst>
                                              <p:attrName>ppt_x</p:attrName>
                                            </p:attrNameLst>
                                          </p:cBhvr>
                                          <p:tavLst>
                                            <p:tav tm="0">
                                              <p:val>
                                                <p:strVal val="#ppt_x"/>
                                              </p:val>
                                            </p:tav>
                                            <p:tav tm="100000">
                                              <p:val>
                                                <p:strVal val="#ppt_x"/>
                                              </p:val>
                                            </p:tav>
                                          </p:tavLst>
                                        </p:anim>
                                        <p:anim calcmode="lin" valueType="num" p14:bounceEnd="48000">
                                          <p:cBhvr additive="base">
                                            <p:cTn id="35" dur="1250" fill="hold"/>
                                            <p:tgtEl>
                                              <p:spTgt spid="22"/>
                                            </p:tgtEl>
                                            <p:attrNameLst>
                                              <p:attrName>ppt_y</p:attrName>
                                            </p:attrNameLst>
                                          </p:cBhvr>
                                          <p:tavLst>
                                            <p:tav tm="0">
                                              <p:val>
                                                <p:strVal val="1+#ppt_h/2"/>
                                              </p:val>
                                            </p:tav>
                                            <p:tav tm="100000">
                                              <p:val>
                                                <p:strVal val="#ppt_y"/>
                                              </p:val>
                                            </p:tav>
                                          </p:tavLst>
                                        </p:anim>
                                      </p:childTnLst>
                                    </p:cTn>
                                  </p:par>
                                  <p:par>
                                    <p:cTn id="36" presetID="2" presetClass="entr" presetSubtype="2" fill="hold" grpId="0" nodeType="withEffect">
                                      <p:stCondLst>
                                        <p:cond delay="0"/>
                                      </p:stCondLst>
                                      <p:childTnLst>
                                        <p:set>
                                          <p:cBhvr>
                                            <p:cTn id="37" dur="1" fill="hold">
                                              <p:stCondLst>
                                                <p:cond delay="0"/>
                                              </p:stCondLst>
                                            </p:cTn>
                                            <p:tgtEl>
                                              <p:spTgt spid="23"/>
                                            </p:tgtEl>
                                            <p:attrNameLst>
                                              <p:attrName>style.visibility</p:attrName>
                                            </p:attrNameLst>
                                          </p:cBhvr>
                                          <p:to>
                                            <p:strVal val="visible"/>
                                          </p:to>
                                        </p:set>
                                        <p:anim calcmode="lin" valueType="num">
                                          <p:cBhvr additive="base">
                                            <p:cTn id="38" dur="750" fill="hold"/>
                                            <p:tgtEl>
                                              <p:spTgt spid="23"/>
                                            </p:tgtEl>
                                            <p:attrNameLst>
                                              <p:attrName>ppt_x</p:attrName>
                                            </p:attrNameLst>
                                          </p:cBhvr>
                                          <p:tavLst>
                                            <p:tav tm="0">
                                              <p:val>
                                                <p:strVal val="1+#ppt_w/2"/>
                                              </p:val>
                                            </p:tav>
                                            <p:tav tm="100000">
                                              <p:val>
                                                <p:strVal val="#ppt_x"/>
                                              </p:val>
                                            </p:tav>
                                          </p:tavLst>
                                        </p:anim>
                                        <p:anim calcmode="lin" valueType="num">
                                          <p:cBhvr additive="base">
                                            <p:cTn id="39" dur="750" fill="hold"/>
                                            <p:tgtEl>
                                              <p:spTgt spid="23"/>
                                            </p:tgtEl>
                                            <p:attrNameLst>
                                              <p:attrName>ppt_y</p:attrName>
                                            </p:attrNameLst>
                                          </p:cBhvr>
                                          <p:tavLst>
                                            <p:tav tm="0">
                                              <p:val>
                                                <p:strVal val="#ppt_y"/>
                                              </p:val>
                                            </p:tav>
                                            <p:tav tm="100000">
                                              <p:val>
                                                <p:strVal val="#ppt_y"/>
                                              </p:val>
                                            </p:tav>
                                          </p:tavLst>
                                        </p:anim>
                                      </p:childTnLst>
                                    </p:cTn>
                                  </p:par>
                                  <p:par>
                                    <p:cTn id="40" presetID="2" presetClass="entr" presetSubtype="2" fill="hold" grpId="0" nodeType="withEffect">
                                      <p:stCondLst>
                                        <p:cond delay="0"/>
                                      </p:stCondLst>
                                      <p:childTnLst>
                                        <p:set>
                                          <p:cBhvr>
                                            <p:cTn id="41" dur="1" fill="hold">
                                              <p:stCondLst>
                                                <p:cond delay="0"/>
                                              </p:stCondLst>
                                            </p:cTn>
                                            <p:tgtEl>
                                              <p:spTgt spid="24"/>
                                            </p:tgtEl>
                                            <p:attrNameLst>
                                              <p:attrName>style.visibility</p:attrName>
                                            </p:attrNameLst>
                                          </p:cBhvr>
                                          <p:to>
                                            <p:strVal val="visible"/>
                                          </p:to>
                                        </p:set>
                                        <p:anim calcmode="lin" valueType="num">
                                          <p:cBhvr additive="base">
                                            <p:cTn id="42" dur="750" fill="hold"/>
                                            <p:tgtEl>
                                              <p:spTgt spid="24"/>
                                            </p:tgtEl>
                                            <p:attrNameLst>
                                              <p:attrName>ppt_x</p:attrName>
                                            </p:attrNameLst>
                                          </p:cBhvr>
                                          <p:tavLst>
                                            <p:tav tm="0">
                                              <p:val>
                                                <p:strVal val="1+#ppt_w/2"/>
                                              </p:val>
                                            </p:tav>
                                            <p:tav tm="100000">
                                              <p:val>
                                                <p:strVal val="#ppt_x"/>
                                              </p:val>
                                            </p:tav>
                                          </p:tavLst>
                                        </p:anim>
                                        <p:anim calcmode="lin" valueType="num">
                                          <p:cBhvr additive="base">
                                            <p:cTn id="43" dur="750" fill="hold"/>
                                            <p:tgtEl>
                                              <p:spTgt spid="24"/>
                                            </p:tgtEl>
                                            <p:attrNameLst>
                                              <p:attrName>ppt_y</p:attrName>
                                            </p:attrNameLst>
                                          </p:cBhvr>
                                          <p:tavLst>
                                            <p:tav tm="0">
                                              <p:val>
                                                <p:strVal val="#ppt_y"/>
                                              </p:val>
                                            </p:tav>
                                            <p:tav tm="100000">
                                              <p:val>
                                                <p:strVal val="#ppt_y"/>
                                              </p:val>
                                            </p:tav>
                                          </p:tavLst>
                                        </p:anim>
                                      </p:childTnLst>
                                    </p:cTn>
                                  </p:par>
                                  <p:par>
                                    <p:cTn id="44" presetID="2" presetClass="entr" presetSubtype="2" fill="hold" grpId="0" nodeType="withEffect">
                                      <p:stCondLst>
                                        <p:cond delay="0"/>
                                      </p:stCondLst>
                                      <p:childTnLst>
                                        <p:set>
                                          <p:cBhvr>
                                            <p:cTn id="45" dur="1" fill="hold">
                                              <p:stCondLst>
                                                <p:cond delay="0"/>
                                              </p:stCondLst>
                                            </p:cTn>
                                            <p:tgtEl>
                                              <p:spTgt spid="25"/>
                                            </p:tgtEl>
                                            <p:attrNameLst>
                                              <p:attrName>style.visibility</p:attrName>
                                            </p:attrNameLst>
                                          </p:cBhvr>
                                          <p:to>
                                            <p:strVal val="visible"/>
                                          </p:to>
                                        </p:set>
                                        <p:anim calcmode="lin" valueType="num">
                                          <p:cBhvr additive="base">
                                            <p:cTn id="46" dur="750" fill="hold"/>
                                            <p:tgtEl>
                                              <p:spTgt spid="25"/>
                                            </p:tgtEl>
                                            <p:attrNameLst>
                                              <p:attrName>ppt_x</p:attrName>
                                            </p:attrNameLst>
                                          </p:cBhvr>
                                          <p:tavLst>
                                            <p:tav tm="0">
                                              <p:val>
                                                <p:strVal val="1+#ppt_w/2"/>
                                              </p:val>
                                            </p:tav>
                                            <p:tav tm="100000">
                                              <p:val>
                                                <p:strVal val="#ppt_x"/>
                                              </p:val>
                                            </p:tav>
                                          </p:tavLst>
                                        </p:anim>
                                        <p:anim calcmode="lin" valueType="num">
                                          <p:cBhvr additive="base">
                                            <p:cTn id="47" dur="750" fill="hold"/>
                                            <p:tgtEl>
                                              <p:spTgt spid="25"/>
                                            </p:tgtEl>
                                            <p:attrNameLst>
                                              <p:attrName>ppt_y</p:attrName>
                                            </p:attrNameLst>
                                          </p:cBhvr>
                                          <p:tavLst>
                                            <p:tav tm="0">
                                              <p:val>
                                                <p:strVal val="#ppt_y"/>
                                              </p:val>
                                            </p:tav>
                                            <p:tav tm="100000">
                                              <p:val>
                                                <p:strVal val="#ppt_y"/>
                                              </p:val>
                                            </p:tav>
                                          </p:tavLst>
                                        </p:anim>
                                      </p:childTnLst>
                                    </p:cTn>
                                  </p:par>
                                  <p:par>
                                    <p:cTn id="48" presetID="2" presetClass="entr" presetSubtype="2" fill="hold" grpId="0" nodeType="withEffect">
                                      <p:stCondLst>
                                        <p:cond delay="0"/>
                                      </p:stCondLst>
                                      <p:childTnLst>
                                        <p:set>
                                          <p:cBhvr>
                                            <p:cTn id="49" dur="1" fill="hold">
                                              <p:stCondLst>
                                                <p:cond delay="0"/>
                                              </p:stCondLst>
                                            </p:cTn>
                                            <p:tgtEl>
                                              <p:spTgt spid="26"/>
                                            </p:tgtEl>
                                            <p:attrNameLst>
                                              <p:attrName>style.visibility</p:attrName>
                                            </p:attrNameLst>
                                          </p:cBhvr>
                                          <p:to>
                                            <p:strVal val="visible"/>
                                          </p:to>
                                        </p:set>
                                        <p:anim calcmode="lin" valueType="num">
                                          <p:cBhvr additive="base">
                                            <p:cTn id="50" dur="750" fill="hold"/>
                                            <p:tgtEl>
                                              <p:spTgt spid="26"/>
                                            </p:tgtEl>
                                            <p:attrNameLst>
                                              <p:attrName>ppt_x</p:attrName>
                                            </p:attrNameLst>
                                          </p:cBhvr>
                                          <p:tavLst>
                                            <p:tav tm="0">
                                              <p:val>
                                                <p:strVal val="1+#ppt_w/2"/>
                                              </p:val>
                                            </p:tav>
                                            <p:tav tm="100000">
                                              <p:val>
                                                <p:strVal val="#ppt_x"/>
                                              </p:val>
                                            </p:tav>
                                          </p:tavLst>
                                        </p:anim>
                                        <p:anim calcmode="lin" valueType="num">
                                          <p:cBhvr additive="base">
                                            <p:cTn id="51" dur="750" fill="hold"/>
                                            <p:tgtEl>
                                              <p:spTgt spid="26"/>
                                            </p:tgtEl>
                                            <p:attrNameLst>
                                              <p:attrName>ppt_y</p:attrName>
                                            </p:attrNameLst>
                                          </p:cBhvr>
                                          <p:tavLst>
                                            <p:tav tm="0">
                                              <p:val>
                                                <p:strVal val="#ppt_y"/>
                                              </p:val>
                                            </p:tav>
                                            <p:tav tm="100000">
                                              <p:val>
                                                <p:strVal val="#ppt_y"/>
                                              </p:val>
                                            </p:tav>
                                          </p:tavLst>
                                        </p:anim>
                                      </p:childTnLst>
                                    </p:cTn>
                                  </p:par>
                                </p:childTnLst>
                              </p:cTn>
                            </p:par>
                            <p:par>
                              <p:cTn id="52" fill="hold">
                                <p:stCondLst>
                                  <p:cond delay="3775"/>
                                </p:stCondLst>
                                <p:childTnLst>
                                  <p:par>
                                    <p:cTn id="53" presetID="2" presetClass="entr" presetSubtype="2" accel="56000" fill="hold" grpId="0" nodeType="afterEffect" p14:presetBounceEnd="40000">
                                      <p:stCondLst>
                                        <p:cond delay="0"/>
                                      </p:stCondLst>
                                      <p:childTnLst>
                                        <p:set>
                                          <p:cBhvr>
                                            <p:cTn id="54" dur="1" fill="hold">
                                              <p:stCondLst>
                                                <p:cond delay="0"/>
                                              </p:stCondLst>
                                            </p:cTn>
                                            <p:tgtEl>
                                              <p:spTgt spid="15"/>
                                            </p:tgtEl>
                                            <p:attrNameLst>
                                              <p:attrName>style.visibility</p:attrName>
                                            </p:attrNameLst>
                                          </p:cBhvr>
                                          <p:to>
                                            <p:strVal val="visible"/>
                                          </p:to>
                                        </p:set>
                                        <p:anim calcmode="lin" valueType="num" p14:bounceEnd="40000">
                                          <p:cBhvr additive="base">
                                            <p:cTn id="55" dur="1250" fill="hold"/>
                                            <p:tgtEl>
                                              <p:spTgt spid="15"/>
                                            </p:tgtEl>
                                            <p:attrNameLst>
                                              <p:attrName>ppt_x</p:attrName>
                                            </p:attrNameLst>
                                          </p:cBhvr>
                                          <p:tavLst>
                                            <p:tav tm="0">
                                              <p:val>
                                                <p:strVal val="1+#ppt_w/2"/>
                                              </p:val>
                                            </p:tav>
                                            <p:tav tm="100000">
                                              <p:val>
                                                <p:strVal val="#ppt_x"/>
                                              </p:val>
                                            </p:tav>
                                          </p:tavLst>
                                        </p:anim>
                                        <p:anim calcmode="lin" valueType="num" p14:bounceEnd="40000">
                                          <p:cBhvr additive="base">
                                            <p:cTn id="56" dur="1250" fill="hold"/>
                                            <p:tgtEl>
                                              <p:spTgt spid="15"/>
                                            </p:tgtEl>
                                            <p:attrNameLst>
                                              <p:attrName>ppt_y</p:attrName>
                                            </p:attrNameLst>
                                          </p:cBhvr>
                                          <p:tavLst>
                                            <p:tav tm="0">
                                              <p:val>
                                                <p:strVal val="#ppt_y"/>
                                              </p:val>
                                            </p:tav>
                                            <p:tav tm="100000">
                                              <p:val>
                                                <p:strVal val="#ppt_y"/>
                                              </p:val>
                                            </p:tav>
                                          </p:tavLst>
                                        </p:anim>
                                      </p:childTnLst>
                                    </p:cTn>
                                  </p:par>
                                  <p:par>
                                    <p:cTn id="57" presetID="2" presetClass="entr" presetSubtype="2" accel="56000" fill="hold" grpId="0" nodeType="withEffect" p14:presetBounceEnd="40000">
                                      <p:stCondLst>
                                        <p:cond delay="0"/>
                                      </p:stCondLst>
                                      <p:childTnLst>
                                        <p:set>
                                          <p:cBhvr>
                                            <p:cTn id="58" dur="1" fill="hold">
                                              <p:stCondLst>
                                                <p:cond delay="0"/>
                                              </p:stCondLst>
                                            </p:cTn>
                                            <p:tgtEl>
                                              <p:spTgt spid="16"/>
                                            </p:tgtEl>
                                            <p:attrNameLst>
                                              <p:attrName>style.visibility</p:attrName>
                                            </p:attrNameLst>
                                          </p:cBhvr>
                                          <p:to>
                                            <p:strVal val="visible"/>
                                          </p:to>
                                        </p:set>
                                        <p:anim calcmode="lin" valueType="num" p14:bounceEnd="40000">
                                          <p:cBhvr additive="base">
                                            <p:cTn id="59" dur="1250" fill="hold"/>
                                            <p:tgtEl>
                                              <p:spTgt spid="16"/>
                                            </p:tgtEl>
                                            <p:attrNameLst>
                                              <p:attrName>ppt_x</p:attrName>
                                            </p:attrNameLst>
                                          </p:cBhvr>
                                          <p:tavLst>
                                            <p:tav tm="0">
                                              <p:val>
                                                <p:strVal val="1+#ppt_w/2"/>
                                              </p:val>
                                            </p:tav>
                                            <p:tav tm="100000">
                                              <p:val>
                                                <p:strVal val="#ppt_x"/>
                                              </p:val>
                                            </p:tav>
                                          </p:tavLst>
                                        </p:anim>
                                        <p:anim calcmode="lin" valueType="num" p14:bounceEnd="40000">
                                          <p:cBhvr additive="base">
                                            <p:cTn id="60" dur="1250" fill="hold"/>
                                            <p:tgtEl>
                                              <p:spTgt spid="16"/>
                                            </p:tgtEl>
                                            <p:attrNameLst>
                                              <p:attrName>ppt_y</p:attrName>
                                            </p:attrNameLst>
                                          </p:cBhvr>
                                          <p:tavLst>
                                            <p:tav tm="0">
                                              <p:val>
                                                <p:strVal val="#ppt_y"/>
                                              </p:val>
                                            </p:tav>
                                            <p:tav tm="100000">
                                              <p:val>
                                                <p:strVal val="#ppt_y"/>
                                              </p:val>
                                            </p:tav>
                                          </p:tavLst>
                                        </p:anim>
                                      </p:childTnLst>
                                    </p:cTn>
                                  </p:par>
                                  <p:par>
                                    <p:cTn id="61" presetID="2" presetClass="entr" presetSubtype="2" accel="56000" fill="hold" grpId="0" nodeType="withEffect" p14:presetBounceEnd="40000">
                                      <p:stCondLst>
                                        <p:cond delay="0"/>
                                      </p:stCondLst>
                                      <p:childTnLst>
                                        <p:set>
                                          <p:cBhvr>
                                            <p:cTn id="62" dur="1" fill="hold">
                                              <p:stCondLst>
                                                <p:cond delay="0"/>
                                              </p:stCondLst>
                                            </p:cTn>
                                            <p:tgtEl>
                                              <p:spTgt spid="17"/>
                                            </p:tgtEl>
                                            <p:attrNameLst>
                                              <p:attrName>style.visibility</p:attrName>
                                            </p:attrNameLst>
                                          </p:cBhvr>
                                          <p:to>
                                            <p:strVal val="visible"/>
                                          </p:to>
                                        </p:set>
                                        <p:anim calcmode="lin" valueType="num" p14:bounceEnd="40000">
                                          <p:cBhvr additive="base">
                                            <p:cTn id="63" dur="1250" fill="hold"/>
                                            <p:tgtEl>
                                              <p:spTgt spid="17"/>
                                            </p:tgtEl>
                                            <p:attrNameLst>
                                              <p:attrName>ppt_x</p:attrName>
                                            </p:attrNameLst>
                                          </p:cBhvr>
                                          <p:tavLst>
                                            <p:tav tm="0">
                                              <p:val>
                                                <p:strVal val="1+#ppt_w/2"/>
                                              </p:val>
                                            </p:tav>
                                            <p:tav tm="100000">
                                              <p:val>
                                                <p:strVal val="#ppt_x"/>
                                              </p:val>
                                            </p:tav>
                                          </p:tavLst>
                                        </p:anim>
                                        <p:anim calcmode="lin" valueType="num" p14:bounceEnd="40000">
                                          <p:cBhvr additive="base">
                                            <p:cTn id="64" dur="1250" fill="hold"/>
                                            <p:tgtEl>
                                              <p:spTgt spid="17"/>
                                            </p:tgtEl>
                                            <p:attrNameLst>
                                              <p:attrName>ppt_y</p:attrName>
                                            </p:attrNameLst>
                                          </p:cBhvr>
                                          <p:tavLst>
                                            <p:tav tm="0">
                                              <p:val>
                                                <p:strVal val="#ppt_y"/>
                                              </p:val>
                                            </p:tav>
                                            <p:tav tm="100000">
                                              <p:val>
                                                <p:strVal val="#ppt_y"/>
                                              </p:val>
                                            </p:tav>
                                          </p:tavLst>
                                        </p:anim>
                                      </p:childTnLst>
                                    </p:cTn>
                                  </p:par>
                                  <p:par>
                                    <p:cTn id="65" presetID="2" presetClass="entr" presetSubtype="2" accel="56000" fill="hold" grpId="0" nodeType="withEffect" p14:presetBounceEnd="40000">
                                      <p:stCondLst>
                                        <p:cond delay="0"/>
                                      </p:stCondLst>
                                      <p:childTnLst>
                                        <p:set>
                                          <p:cBhvr>
                                            <p:cTn id="66" dur="1" fill="hold">
                                              <p:stCondLst>
                                                <p:cond delay="0"/>
                                              </p:stCondLst>
                                            </p:cTn>
                                            <p:tgtEl>
                                              <p:spTgt spid="18"/>
                                            </p:tgtEl>
                                            <p:attrNameLst>
                                              <p:attrName>style.visibility</p:attrName>
                                            </p:attrNameLst>
                                          </p:cBhvr>
                                          <p:to>
                                            <p:strVal val="visible"/>
                                          </p:to>
                                        </p:set>
                                        <p:anim calcmode="lin" valueType="num" p14:bounceEnd="40000">
                                          <p:cBhvr additive="base">
                                            <p:cTn id="67" dur="1250" fill="hold"/>
                                            <p:tgtEl>
                                              <p:spTgt spid="18"/>
                                            </p:tgtEl>
                                            <p:attrNameLst>
                                              <p:attrName>ppt_x</p:attrName>
                                            </p:attrNameLst>
                                          </p:cBhvr>
                                          <p:tavLst>
                                            <p:tav tm="0">
                                              <p:val>
                                                <p:strVal val="1+#ppt_w/2"/>
                                              </p:val>
                                            </p:tav>
                                            <p:tav tm="100000">
                                              <p:val>
                                                <p:strVal val="#ppt_x"/>
                                              </p:val>
                                            </p:tav>
                                          </p:tavLst>
                                        </p:anim>
                                        <p:anim calcmode="lin" valueType="num" p14:bounceEnd="40000">
                                          <p:cBhvr additive="base">
                                            <p:cTn id="68" dur="1250" fill="hold"/>
                                            <p:tgtEl>
                                              <p:spTgt spid="18"/>
                                            </p:tgtEl>
                                            <p:attrNameLst>
                                              <p:attrName>ppt_y</p:attrName>
                                            </p:attrNameLst>
                                          </p:cBhvr>
                                          <p:tavLst>
                                            <p:tav tm="0">
                                              <p:val>
                                                <p:strVal val="#ppt_y"/>
                                              </p:val>
                                            </p:tav>
                                            <p:tav tm="100000">
                                              <p:val>
                                                <p:strVal val="#ppt_y"/>
                                              </p:val>
                                            </p:tav>
                                          </p:tavLst>
                                        </p:anim>
                                      </p:childTnLst>
                                    </p:cTn>
                                  </p:par>
                                </p:childTnLst>
                              </p:cTn>
                            </p:par>
                            <p:par>
                              <p:cTn id="69" fill="hold">
                                <p:stCondLst>
                                  <p:cond delay="5275"/>
                                </p:stCondLst>
                                <p:childTnLst>
                                  <p:par>
                                    <p:cTn id="70" presetID="27" presetClass="emph" presetSubtype="0" fill="remove" grpId="1" nodeType="afterEffect">
                                      <p:stCondLst>
                                        <p:cond delay="0"/>
                                      </p:stCondLst>
                                      <p:childTnLst>
                                        <p:animClr clrSpc="rgb" dir="cw">
                                          <p:cBhvr override="childStyle">
                                            <p:cTn id="71" dur="250" autoRev="1" fill="remove"/>
                                            <p:tgtEl>
                                              <p:spTgt spid="15"/>
                                            </p:tgtEl>
                                            <p:attrNameLst>
                                              <p:attrName>style.color</p:attrName>
                                            </p:attrNameLst>
                                          </p:cBhvr>
                                          <p:to>
                                            <a:schemeClr val="bg1"/>
                                          </p:to>
                                        </p:animClr>
                                        <p:animClr clrSpc="rgb" dir="cw">
                                          <p:cBhvr>
                                            <p:cTn id="72" dur="250" autoRev="1" fill="remove"/>
                                            <p:tgtEl>
                                              <p:spTgt spid="15"/>
                                            </p:tgtEl>
                                            <p:attrNameLst>
                                              <p:attrName>fillcolor</p:attrName>
                                            </p:attrNameLst>
                                          </p:cBhvr>
                                          <p:to>
                                            <a:schemeClr val="bg1"/>
                                          </p:to>
                                        </p:animClr>
                                        <p:set>
                                          <p:cBhvr>
                                            <p:cTn id="73" dur="250" autoRev="1" fill="remove"/>
                                            <p:tgtEl>
                                              <p:spTgt spid="15"/>
                                            </p:tgtEl>
                                            <p:attrNameLst>
                                              <p:attrName>fill.type</p:attrName>
                                            </p:attrNameLst>
                                          </p:cBhvr>
                                          <p:to>
                                            <p:strVal val="solid"/>
                                          </p:to>
                                        </p:set>
                                        <p:set>
                                          <p:cBhvr>
                                            <p:cTn id="74" dur="250" autoRev="1" fill="remove"/>
                                            <p:tgtEl>
                                              <p:spTgt spid="15"/>
                                            </p:tgtEl>
                                            <p:attrNameLst>
                                              <p:attrName>fill.on</p:attrName>
                                            </p:attrNameLst>
                                          </p:cBhvr>
                                          <p:to>
                                            <p:strVal val="true"/>
                                          </p:to>
                                        </p:set>
                                      </p:childTnLst>
                                    </p:cTn>
                                  </p:par>
                                </p:childTnLst>
                              </p:cTn>
                            </p:par>
                            <p:par>
                              <p:cTn id="75" fill="hold">
                                <p:stCondLst>
                                  <p:cond delay="5775"/>
                                </p:stCondLst>
                                <p:childTnLst>
                                  <p:par>
                                    <p:cTn id="76" presetID="27" presetClass="emph" presetSubtype="0" fill="remove" grpId="1" nodeType="afterEffect">
                                      <p:stCondLst>
                                        <p:cond delay="0"/>
                                      </p:stCondLst>
                                      <p:childTnLst>
                                        <p:animClr clrSpc="rgb" dir="cw">
                                          <p:cBhvr override="childStyle">
                                            <p:cTn id="77" dur="250" autoRev="1" fill="remove"/>
                                            <p:tgtEl>
                                              <p:spTgt spid="16"/>
                                            </p:tgtEl>
                                            <p:attrNameLst>
                                              <p:attrName>style.color</p:attrName>
                                            </p:attrNameLst>
                                          </p:cBhvr>
                                          <p:to>
                                            <a:schemeClr val="bg1"/>
                                          </p:to>
                                        </p:animClr>
                                        <p:animClr clrSpc="rgb" dir="cw">
                                          <p:cBhvr>
                                            <p:cTn id="78" dur="250" autoRev="1" fill="remove"/>
                                            <p:tgtEl>
                                              <p:spTgt spid="16"/>
                                            </p:tgtEl>
                                            <p:attrNameLst>
                                              <p:attrName>fillcolor</p:attrName>
                                            </p:attrNameLst>
                                          </p:cBhvr>
                                          <p:to>
                                            <a:schemeClr val="bg1"/>
                                          </p:to>
                                        </p:animClr>
                                        <p:set>
                                          <p:cBhvr>
                                            <p:cTn id="79" dur="250" autoRev="1" fill="remove"/>
                                            <p:tgtEl>
                                              <p:spTgt spid="16"/>
                                            </p:tgtEl>
                                            <p:attrNameLst>
                                              <p:attrName>fill.type</p:attrName>
                                            </p:attrNameLst>
                                          </p:cBhvr>
                                          <p:to>
                                            <p:strVal val="solid"/>
                                          </p:to>
                                        </p:set>
                                        <p:set>
                                          <p:cBhvr>
                                            <p:cTn id="80" dur="250" autoRev="1" fill="remove"/>
                                            <p:tgtEl>
                                              <p:spTgt spid="16"/>
                                            </p:tgtEl>
                                            <p:attrNameLst>
                                              <p:attrName>fill.on</p:attrName>
                                            </p:attrNameLst>
                                          </p:cBhvr>
                                          <p:to>
                                            <p:strVal val="true"/>
                                          </p:to>
                                        </p:set>
                                      </p:childTnLst>
                                    </p:cTn>
                                  </p:par>
                                </p:childTnLst>
                              </p:cTn>
                            </p:par>
                            <p:par>
                              <p:cTn id="81" fill="hold">
                                <p:stCondLst>
                                  <p:cond delay="6275"/>
                                </p:stCondLst>
                                <p:childTnLst>
                                  <p:par>
                                    <p:cTn id="82" presetID="27" presetClass="emph" presetSubtype="0" fill="remove" grpId="1" nodeType="afterEffect">
                                      <p:stCondLst>
                                        <p:cond delay="0"/>
                                      </p:stCondLst>
                                      <p:childTnLst>
                                        <p:animClr clrSpc="rgb" dir="cw">
                                          <p:cBhvr override="childStyle">
                                            <p:cTn id="83" dur="250" autoRev="1" fill="remove"/>
                                            <p:tgtEl>
                                              <p:spTgt spid="17"/>
                                            </p:tgtEl>
                                            <p:attrNameLst>
                                              <p:attrName>style.color</p:attrName>
                                            </p:attrNameLst>
                                          </p:cBhvr>
                                          <p:to>
                                            <a:schemeClr val="bg1"/>
                                          </p:to>
                                        </p:animClr>
                                        <p:animClr clrSpc="rgb" dir="cw">
                                          <p:cBhvr>
                                            <p:cTn id="84" dur="250" autoRev="1" fill="remove"/>
                                            <p:tgtEl>
                                              <p:spTgt spid="17"/>
                                            </p:tgtEl>
                                            <p:attrNameLst>
                                              <p:attrName>fillcolor</p:attrName>
                                            </p:attrNameLst>
                                          </p:cBhvr>
                                          <p:to>
                                            <a:schemeClr val="bg1"/>
                                          </p:to>
                                        </p:animClr>
                                        <p:set>
                                          <p:cBhvr>
                                            <p:cTn id="85" dur="250" autoRev="1" fill="remove"/>
                                            <p:tgtEl>
                                              <p:spTgt spid="17"/>
                                            </p:tgtEl>
                                            <p:attrNameLst>
                                              <p:attrName>fill.type</p:attrName>
                                            </p:attrNameLst>
                                          </p:cBhvr>
                                          <p:to>
                                            <p:strVal val="solid"/>
                                          </p:to>
                                        </p:set>
                                        <p:set>
                                          <p:cBhvr>
                                            <p:cTn id="86" dur="250" autoRev="1" fill="remove"/>
                                            <p:tgtEl>
                                              <p:spTgt spid="17"/>
                                            </p:tgtEl>
                                            <p:attrNameLst>
                                              <p:attrName>fill.on</p:attrName>
                                            </p:attrNameLst>
                                          </p:cBhvr>
                                          <p:to>
                                            <p:strVal val="true"/>
                                          </p:to>
                                        </p:set>
                                      </p:childTnLst>
                                    </p:cTn>
                                  </p:par>
                                </p:childTnLst>
                              </p:cTn>
                            </p:par>
                            <p:par>
                              <p:cTn id="87" fill="hold">
                                <p:stCondLst>
                                  <p:cond delay="6775"/>
                                </p:stCondLst>
                                <p:childTnLst>
                                  <p:par>
                                    <p:cTn id="88" presetID="27" presetClass="emph" presetSubtype="0" fill="remove" grpId="1" nodeType="afterEffect">
                                      <p:stCondLst>
                                        <p:cond delay="0"/>
                                      </p:stCondLst>
                                      <p:childTnLst>
                                        <p:animClr clrSpc="rgb" dir="cw">
                                          <p:cBhvr override="childStyle">
                                            <p:cTn id="89" dur="250" autoRev="1" fill="remove"/>
                                            <p:tgtEl>
                                              <p:spTgt spid="18"/>
                                            </p:tgtEl>
                                            <p:attrNameLst>
                                              <p:attrName>style.color</p:attrName>
                                            </p:attrNameLst>
                                          </p:cBhvr>
                                          <p:to>
                                            <a:schemeClr val="bg1"/>
                                          </p:to>
                                        </p:animClr>
                                        <p:animClr clrSpc="rgb" dir="cw">
                                          <p:cBhvr>
                                            <p:cTn id="90" dur="250" autoRev="1" fill="remove"/>
                                            <p:tgtEl>
                                              <p:spTgt spid="18"/>
                                            </p:tgtEl>
                                            <p:attrNameLst>
                                              <p:attrName>fillcolor</p:attrName>
                                            </p:attrNameLst>
                                          </p:cBhvr>
                                          <p:to>
                                            <a:schemeClr val="bg1"/>
                                          </p:to>
                                        </p:animClr>
                                        <p:set>
                                          <p:cBhvr>
                                            <p:cTn id="91" dur="250" autoRev="1" fill="remove"/>
                                            <p:tgtEl>
                                              <p:spTgt spid="18"/>
                                            </p:tgtEl>
                                            <p:attrNameLst>
                                              <p:attrName>fill.type</p:attrName>
                                            </p:attrNameLst>
                                          </p:cBhvr>
                                          <p:to>
                                            <p:strVal val="solid"/>
                                          </p:to>
                                        </p:set>
                                        <p:set>
                                          <p:cBhvr>
                                            <p:cTn id="92" dur="250" autoRev="1" fill="remove"/>
                                            <p:tgtEl>
                                              <p:spTgt spid="18"/>
                                            </p:tgtEl>
                                            <p:attrNameLst>
                                              <p:attrName>fill.on</p:attrName>
                                            </p:attrNameLst>
                                          </p:cBhvr>
                                          <p:to>
                                            <p:strVal val="true"/>
                                          </p:to>
                                        </p:set>
                                      </p:childTnLst>
                                    </p:cTn>
                                  </p:par>
                                </p:childTnLst>
                              </p:cTn>
                            </p:par>
                            <p:par>
                              <p:cTn id="93" fill="hold">
                                <p:stCondLst>
                                  <p:cond delay="7275"/>
                                </p:stCondLst>
                                <p:childTnLst>
                                  <p:par>
                                    <p:cTn id="94" presetID="22" presetClass="entr" presetSubtype="4" fill="hold" grpId="0" nodeType="afterEffect">
                                      <p:stCondLst>
                                        <p:cond delay="0"/>
                                      </p:stCondLst>
                                      <p:childTnLst>
                                        <p:set>
                                          <p:cBhvr>
                                            <p:cTn id="95" dur="1" fill="hold">
                                              <p:stCondLst>
                                                <p:cond delay="0"/>
                                              </p:stCondLst>
                                            </p:cTn>
                                            <p:tgtEl>
                                              <p:spTgt spid="27"/>
                                            </p:tgtEl>
                                            <p:attrNameLst>
                                              <p:attrName>style.visibility</p:attrName>
                                            </p:attrNameLst>
                                          </p:cBhvr>
                                          <p:to>
                                            <p:strVal val="visible"/>
                                          </p:to>
                                        </p:set>
                                        <p:animEffect transition="in" filter="wipe(down)">
                                          <p:cBhvr>
                                            <p:cTn id="96" dur="1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4" grpId="0"/>
          <p:bldP spid="15" grpId="0" animBg="1"/>
          <p:bldP spid="15" grpId="1" animBg="1"/>
          <p:bldP spid="16" grpId="0" animBg="1"/>
          <p:bldP spid="16" grpId="1" animBg="1"/>
          <p:bldP spid="17" grpId="0" animBg="1"/>
          <p:bldP spid="17" grpId="1" animBg="1"/>
          <p:bldP spid="18" grpId="0" animBg="1"/>
          <p:bldP spid="18" grpId="1" animBg="1"/>
          <p:bldP spid="19" grpId="0" animBg="1"/>
          <p:bldP spid="20" grpId="0" animBg="1"/>
          <p:bldP spid="21" grpId="0" animBg="1"/>
          <p:bldP spid="22" grpId="0" animBg="1"/>
          <p:bldP spid="23" grpId="0"/>
          <p:bldP spid="24" grpId="0"/>
          <p:bldP spid="25" grpId="0"/>
          <p:bldP spid="26" grpId="0"/>
          <p:bldP spid="27"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par>
                              <p:cTn id="8" fill="hold">
                                <p:stCondLst>
                                  <p:cond delay="500"/>
                                </p:stCondLst>
                                <p:childTnLst>
                                  <p:par>
                                    <p:cTn id="9" presetID="14" presetClass="entr" presetSubtype="1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randombar(horizontal)">
                                          <p:cBhvr>
                                            <p:cTn id="11" dur="500"/>
                                            <p:tgtEl>
                                              <p:spTgt spid="13"/>
                                            </p:tgtEl>
                                          </p:cBhvr>
                                        </p:animEffect>
                                      </p:childTnLst>
                                    </p:cTn>
                                  </p:par>
                                  <p:par>
                                    <p:cTn id="12" presetID="14" presetClass="entr" presetSubtype="1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randombar(horizontal)">
                                          <p:cBhvr>
                                            <p:cTn id="14" dur="500"/>
                                            <p:tgtEl>
                                              <p:spTgt spid="11"/>
                                            </p:tgtEl>
                                          </p:cBhvr>
                                        </p:animEffect>
                                      </p:childTnLst>
                                    </p:cTn>
                                  </p:par>
                                </p:childTnLst>
                              </p:cTn>
                            </p:par>
                            <p:par>
                              <p:cTn id="15" fill="hold">
                                <p:stCondLst>
                                  <p:cond delay="1000"/>
                                </p:stCondLst>
                                <p:childTnLst>
                                  <p:par>
                                    <p:cTn id="16" presetID="14" presetClass="entr" presetSubtype="10" fill="hold" grpId="0" nodeType="afterEffect">
                                      <p:stCondLst>
                                        <p:cond delay="0"/>
                                      </p:stCondLst>
                                      <p:iterate type="lt">
                                        <p:tmPct val="10000"/>
                                      </p:iterate>
                                      <p:childTnLst>
                                        <p:set>
                                          <p:cBhvr>
                                            <p:cTn id="17" dur="1" fill="hold">
                                              <p:stCondLst>
                                                <p:cond delay="0"/>
                                              </p:stCondLst>
                                            </p:cTn>
                                            <p:tgtEl>
                                              <p:spTgt spid="14"/>
                                            </p:tgtEl>
                                            <p:attrNameLst>
                                              <p:attrName>style.visibility</p:attrName>
                                            </p:attrNameLst>
                                          </p:cBhvr>
                                          <p:to>
                                            <p:strVal val="visible"/>
                                          </p:to>
                                        </p:set>
                                        <p:animEffect transition="in" filter="randombar(horizontal)">
                                          <p:cBhvr>
                                            <p:cTn id="18" dur="750"/>
                                            <p:tgtEl>
                                              <p:spTgt spid="14"/>
                                            </p:tgtEl>
                                          </p:cBhvr>
                                        </p:animEffect>
                                      </p:childTnLst>
                                    </p:cTn>
                                  </p:par>
                                </p:childTnLst>
                              </p:cTn>
                            </p:par>
                            <p:par>
                              <p:cTn id="19" fill="hold">
                                <p:stCondLst>
                                  <p:cond delay="2275"/>
                                </p:stCondLst>
                                <p:childTnLst>
                                  <p:par>
                                    <p:cTn id="20" presetID="2" presetClass="entr" presetSubtype="4" accel="48000" fill="hold" grpId="0" nodeType="afterEffect">
                                      <p:stCondLst>
                                        <p:cond delay="0"/>
                                      </p:stCondLst>
                                      <p:childTnLst>
                                        <p:set>
                                          <p:cBhvr>
                                            <p:cTn id="21" dur="1" fill="hold">
                                              <p:stCondLst>
                                                <p:cond delay="0"/>
                                              </p:stCondLst>
                                            </p:cTn>
                                            <p:tgtEl>
                                              <p:spTgt spid="19"/>
                                            </p:tgtEl>
                                            <p:attrNameLst>
                                              <p:attrName>style.visibility</p:attrName>
                                            </p:attrNameLst>
                                          </p:cBhvr>
                                          <p:to>
                                            <p:strVal val="visible"/>
                                          </p:to>
                                        </p:set>
                                        <p:anim calcmode="lin" valueType="num">
                                          <p:cBhvr additive="base">
                                            <p:cTn id="22" dur="1250" fill="hold"/>
                                            <p:tgtEl>
                                              <p:spTgt spid="19"/>
                                            </p:tgtEl>
                                            <p:attrNameLst>
                                              <p:attrName>ppt_x</p:attrName>
                                            </p:attrNameLst>
                                          </p:cBhvr>
                                          <p:tavLst>
                                            <p:tav tm="0">
                                              <p:val>
                                                <p:strVal val="#ppt_x"/>
                                              </p:val>
                                            </p:tav>
                                            <p:tav tm="100000">
                                              <p:val>
                                                <p:strVal val="#ppt_x"/>
                                              </p:val>
                                            </p:tav>
                                          </p:tavLst>
                                        </p:anim>
                                        <p:anim calcmode="lin" valueType="num">
                                          <p:cBhvr additive="base">
                                            <p:cTn id="23" dur="1250" fill="hold"/>
                                            <p:tgtEl>
                                              <p:spTgt spid="19"/>
                                            </p:tgtEl>
                                            <p:attrNameLst>
                                              <p:attrName>ppt_y</p:attrName>
                                            </p:attrNameLst>
                                          </p:cBhvr>
                                          <p:tavLst>
                                            <p:tav tm="0">
                                              <p:val>
                                                <p:strVal val="1+#ppt_h/2"/>
                                              </p:val>
                                            </p:tav>
                                            <p:tav tm="100000">
                                              <p:val>
                                                <p:strVal val="#ppt_y"/>
                                              </p:val>
                                            </p:tav>
                                          </p:tavLst>
                                        </p:anim>
                                      </p:childTnLst>
                                    </p:cTn>
                                  </p:par>
                                  <p:par>
                                    <p:cTn id="24" presetID="2" presetClass="entr" presetSubtype="4" accel="48000" fill="hold" grpId="0" nodeType="withEffect">
                                      <p:stCondLst>
                                        <p:cond delay="0"/>
                                      </p:stCondLst>
                                      <p:childTnLst>
                                        <p:set>
                                          <p:cBhvr>
                                            <p:cTn id="25" dur="1" fill="hold">
                                              <p:stCondLst>
                                                <p:cond delay="0"/>
                                              </p:stCondLst>
                                            </p:cTn>
                                            <p:tgtEl>
                                              <p:spTgt spid="20"/>
                                            </p:tgtEl>
                                            <p:attrNameLst>
                                              <p:attrName>style.visibility</p:attrName>
                                            </p:attrNameLst>
                                          </p:cBhvr>
                                          <p:to>
                                            <p:strVal val="visible"/>
                                          </p:to>
                                        </p:set>
                                        <p:anim calcmode="lin" valueType="num">
                                          <p:cBhvr additive="base">
                                            <p:cTn id="26" dur="1250" fill="hold"/>
                                            <p:tgtEl>
                                              <p:spTgt spid="20"/>
                                            </p:tgtEl>
                                            <p:attrNameLst>
                                              <p:attrName>ppt_x</p:attrName>
                                            </p:attrNameLst>
                                          </p:cBhvr>
                                          <p:tavLst>
                                            <p:tav tm="0">
                                              <p:val>
                                                <p:strVal val="#ppt_x"/>
                                              </p:val>
                                            </p:tav>
                                            <p:tav tm="100000">
                                              <p:val>
                                                <p:strVal val="#ppt_x"/>
                                              </p:val>
                                            </p:tav>
                                          </p:tavLst>
                                        </p:anim>
                                        <p:anim calcmode="lin" valueType="num">
                                          <p:cBhvr additive="base">
                                            <p:cTn id="27" dur="1250" fill="hold"/>
                                            <p:tgtEl>
                                              <p:spTgt spid="20"/>
                                            </p:tgtEl>
                                            <p:attrNameLst>
                                              <p:attrName>ppt_y</p:attrName>
                                            </p:attrNameLst>
                                          </p:cBhvr>
                                          <p:tavLst>
                                            <p:tav tm="0">
                                              <p:val>
                                                <p:strVal val="1+#ppt_h/2"/>
                                              </p:val>
                                            </p:tav>
                                            <p:tav tm="100000">
                                              <p:val>
                                                <p:strVal val="#ppt_y"/>
                                              </p:val>
                                            </p:tav>
                                          </p:tavLst>
                                        </p:anim>
                                      </p:childTnLst>
                                    </p:cTn>
                                  </p:par>
                                  <p:par>
                                    <p:cTn id="28" presetID="2" presetClass="entr" presetSubtype="4" accel="48000"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cBhvr additive="base">
                                            <p:cTn id="30" dur="1250" fill="hold"/>
                                            <p:tgtEl>
                                              <p:spTgt spid="21"/>
                                            </p:tgtEl>
                                            <p:attrNameLst>
                                              <p:attrName>ppt_x</p:attrName>
                                            </p:attrNameLst>
                                          </p:cBhvr>
                                          <p:tavLst>
                                            <p:tav tm="0">
                                              <p:val>
                                                <p:strVal val="#ppt_x"/>
                                              </p:val>
                                            </p:tav>
                                            <p:tav tm="100000">
                                              <p:val>
                                                <p:strVal val="#ppt_x"/>
                                              </p:val>
                                            </p:tav>
                                          </p:tavLst>
                                        </p:anim>
                                        <p:anim calcmode="lin" valueType="num">
                                          <p:cBhvr additive="base">
                                            <p:cTn id="31" dur="1250" fill="hold"/>
                                            <p:tgtEl>
                                              <p:spTgt spid="21"/>
                                            </p:tgtEl>
                                            <p:attrNameLst>
                                              <p:attrName>ppt_y</p:attrName>
                                            </p:attrNameLst>
                                          </p:cBhvr>
                                          <p:tavLst>
                                            <p:tav tm="0">
                                              <p:val>
                                                <p:strVal val="1+#ppt_h/2"/>
                                              </p:val>
                                            </p:tav>
                                            <p:tav tm="100000">
                                              <p:val>
                                                <p:strVal val="#ppt_y"/>
                                              </p:val>
                                            </p:tav>
                                          </p:tavLst>
                                        </p:anim>
                                      </p:childTnLst>
                                    </p:cTn>
                                  </p:par>
                                  <p:par>
                                    <p:cTn id="32" presetID="2" presetClass="entr" presetSubtype="4" accel="4800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 calcmode="lin" valueType="num">
                                          <p:cBhvr additive="base">
                                            <p:cTn id="34" dur="1250" fill="hold"/>
                                            <p:tgtEl>
                                              <p:spTgt spid="22"/>
                                            </p:tgtEl>
                                            <p:attrNameLst>
                                              <p:attrName>ppt_x</p:attrName>
                                            </p:attrNameLst>
                                          </p:cBhvr>
                                          <p:tavLst>
                                            <p:tav tm="0">
                                              <p:val>
                                                <p:strVal val="#ppt_x"/>
                                              </p:val>
                                            </p:tav>
                                            <p:tav tm="100000">
                                              <p:val>
                                                <p:strVal val="#ppt_x"/>
                                              </p:val>
                                            </p:tav>
                                          </p:tavLst>
                                        </p:anim>
                                        <p:anim calcmode="lin" valueType="num">
                                          <p:cBhvr additive="base">
                                            <p:cTn id="35" dur="1250" fill="hold"/>
                                            <p:tgtEl>
                                              <p:spTgt spid="22"/>
                                            </p:tgtEl>
                                            <p:attrNameLst>
                                              <p:attrName>ppt_y</p:attrName>
                                            </p:attrNameLst>
                                          </p:cBhvr>
                                          <p:tavLst>
                                            <p:tav tm="0">
                                              <p:val>
                                                <p:strVal val="1+#ppt_h/2"/>
                                              </p:val>
                                            </p:tav>
                                            <p:tav tm="100000">
                                              <p:val>
                                                <p:strVal val="#ppt_y"/>
                                              </p:val>
                                            </p:tav>
                                          </p:tavLst>
                                        </p:anim>
                                      </p:childTnLst>
                                    </p:cTn>
                                  </p:par>
                                  <p:par>
                                    <p:cTn id="36" presetID="2" presetClass="entr" presetSubtype="2" fill="hold" grpId="0" nodeType="withEffect">
                                      <p:stCondLst>
                                        <p:cond delay="0"/>
                                      </p:stCondLst>
                                      <p:childTnLst>
                                        <p:set>
                                          <p:cBhvr>
                                            <p:cTn id="37" dur="1" fill="hold">
                                              <p:stCondLst>
                                                <p:cond delay="0"/>
                                              </p:stCondLst>
                                            </p:cTn>
                                            <p:tgtEl>
                                              <p:spTgt spid="23"/>
                                            </p:tgtEl>
                                            <p:attrNameLst>
                                              <p:attrName>style.visibility</p:attrName>
                                            </p:attrNameLst>
                                          </p:cBhvr>
                                          <p:to>
                                            <p:strVal val="visible"/>
                                          </p:to>
                                        </p:set>
                                        <p:anim calcmode="lin" valueType="num">
                                          <p:cBhvr additive="base">
                                            <p:cTn id="38" dur="750" fill="hold"/>
                                            <p:tgtEl>
                                              <p:spTgt spid="23"/>
                                            </p:tgtEl>
                                            <p:attrNameLst>
                                              <p:attrName>ppt_x</p:attrName>
                                            </p:attrNameLst>
                                          </p:cBhvr>
                                          <p:tavLst>
                                            <p:tav tm="0">
                                              <p:val>
                                                <p:strVal val="1+#ppt_w/2"/>
                                              </p:val>
                                            </p:tav>
                                            <p:tav tm="100000">
                                              <p:val>
                                                <p:strVal val="#ppt_x"/>
                                              </p:val>
                                            </p:tav>
                                          </p:tavLst>
                                        </p:anim>
                                        <p:anim calcmode="lin" valueType="num">
                                          <p:cBhvr additive="base">
                                            <p:cTn id="39" dur="750" fill="hold"/>
                                            <p:tgtEl>
                                              <p:spTgt spid="23"/>
                                            </p:tgtEl>
                                            <p:attrNameLst>
                                              <p:attrName>ppt_y</p:attrName>
                                            </p:attrNameLst>
                                          </p:cBhvr>
                                          <p:tavLst>
                                            <p:tav tm="0">
                                              <p:val>
                                                <p:strVal val="#ppt_y"/>
                                              </p:val>
                                            </p:tav>
                                            <p:tav tm="100000">
                                              <p:val>
                                                <p:strVal val="#ppt_y"/>
                                              </p:val>
                                            </p:tav>
                                          </p:tavLst>
                                        </p:anim>
                                      </p:childTnLst>
                                    </p:cTn>
                                  </p:par>
                                  <p:par>
                                    <p:cTn id="40" presetID="2" presetClass="entr" presetSubtype="2" fill="hold" grpId="0" nodeType="withEffect">
                                      <p:stCondLst>
                                        <p:cond delay="0"/>
                                      </p:stCondLst>
                                      <p:childTnLst>
                                        <p:set>
                                          <p:cBhvr>
                                            <p:cTn id="41" dur="1" fill="hold">
                                              <p:stCondLst>
                                                <p:cond delay="0"/>
                                              </p:stCondLst>
                                            </p:cTn>
                                            <p:tgtEl>
                                              <p:spTgt spid="24"/>
                                            </p:tgtEl>
                                            <p:attrNameLst>
                                              <p:attrName>style.visibility</p:attrName>
                                            </p:attrNameLst>
                                          </p:cBhvr>
                                          <p:to>
                                            <p:strVal val="visible"/>
                                          </p:to>
                                        </p:set>
                                        <p:anim calcmode="lin" valueType="num">
                                          <p:cBhvr additive="base">
                                            <p:cTn id="42" dur="750" fill="hold"/>
                                            <p:tgtEl>
                                              <p:spTgt spid="24"/>
                                            </p:tgtEl>
                                            <p:attrNameLst>
                                              <p:attrName>ppt_x</p:attrName>
                                            </p:attrNameLst>
                                          </p:cBhvr>
                                          <p:tavLst>
                                            <p:tav tm="0">
                                              <p:val>
                                                <p:strVal val="1+#ppt_w/2"/>
                                              </p:val>
                                            </p:tav>
                                            <p:tav tm="100000">
                                              <p:val>
                                                <p:strVal val="#ppt_x"/>
                                              </p:val>
                                            </p:tav>
                                          </p:tavLst>
                                        </p:anim>
                                        <p:anim calcmode="lin" valueType="num">
                                          <p:cBhvr additive="base">
                                            <p:cTn id="43" dur="750" fill="hold"/>
                                            <p:tgtEl>
                                              <p:spTgt spid="24"/>
                                            </p:tgtEl>
                                            <p:attrNameLst>
                                              <p:attrName>ppt_y</p:attrName>
                                            </p:attrNameLst>
                                          </p:cBhvr>
                                          <p:tavLst>
                                            <p:tav tm="0">
                                              <p:val>
                                                <p:strVal val="#ppt_y"/>
                                              </p:val>
                                            </p:tav>
                                            <p:tav tm="100000">
                                              <p:val>
                                                <p:strVal val="#ppt_y"/>
                                              </p:val>
                                            </p:tav>
                                          </p:tavLst>
                                        </p:anim>
                                      </p:childTnLst>
                                    </p:cTn>
                                  </p:par>
                                  <p:par>
                                    <p:cTn id="44" presetID="2" presetClass="entr" presetSubtype="2" fill="hold" grpId="0" nodeType="withEffect">
                                      <p:stCondLst>
                                        <p:cond delay="0"/>
                                      </p:stCondLst>
                                      <p:childTnLst>
                                        <p:set>
                                          <p:cBhvr>
                                            <p:cTn id="45" dur="1" fill="hold">
                                              <p:stCondLst>
                                                <p:cond delay="0"/>
                                              </p:stCondLst>
                                            </p:cTn>
                                            <p:tgtEl>
                                              <p:spTgt spid="25"/>
                                            </p:tgtEl>
                                            <p:attrNameLst>
                                              <p:attrName>style.visibility</p:attrName>
                                            </p:attrNameLst>
                                          </p:cBhvr>
                                          <p:to>
                                            <p:strVal val="visible"/>
                                          </p:to>
                                        </p:set>
                                        <p:anim calcmode="lin" valueType="num">
                                          <p:cBhvr additive="base">
                                            <p:cTn id="46" dur="750" fill="hold"/>
                                            <p:tgtEl>
                                              <p:spTgt spid="25"/>
                                            </p:tgtEl>
                                            <p:attrNameLst>
                                              <p:attrName>ppt_x</p:attrName>
                                            </p:attrNameLst>
                                          </p:cBhvr>
                                          <p:tavLst>
                                            <p:tav tm="0">
                                              <p:val>
                                                <p:strVal val="1+#ppt_w/2"/>
                                              </p:val>
                                            </p:tav>
                                            <p:tav tm="100000">
                                              <p:val>
                                                <p:strVal val="#ppt_x"/>
                                              </p:val>
                                            </p:tav>
                                          </p:tavLst>
                                        </p:anim>
                                        <p:anim calcmode="lin" valueType="num">
                                          <p:cBhvr additive="base">
                                            <p:cTn id="47" dur="750" fill="hold"/>
                                            <p:tgtEl>
                                              <p:spTgt spid="25"/>
                                            </p:tgtEl>
                                            <p:attrNameLst>
                                              <p:attrName>ppt_y</p:attrName>
                                            </p:attrNameLst>
                                          </p:cBhvr>
                                          <p:tavLst>
                                            <p:tav tm="0">
                                              <p:val>
                                                <p:strVal val="#ppt_y"/>
                                              </p:val>
                                            </p:tav>
                                            <p:tav tm="100000">
                                              <p:val>
                                                <p:strVal val="#ppt_y"/>
                                              </p:val>
                                            </p:tav>
                                          </p:tavLst>
                                        </p:anim>
                                      </p:childTnLst>
                                    </p:cTn>
                                  </p:par>
                                  <p:par>
                                    <p:cTn id="48" presetID="2" presetClass="entr" presetSubtype="2" fill="hold" grpId="0" nodeType="withEffect">
                                      <p:stCondLst>
                                        <p:cond delay="0"/>
                                      </p:stCondLst>
                                      <p:childTnLst>
                                        <p:set>
                                          <p:cBhvr>
                                            <p:cTn id="49" dur="1" fill="hold">
                                              <p:stCondLst>
                                                <p:cond delay="0"/>
                                              </p:stCondLst>
                                            </p:cTn>
                                            <p:tgtEl>
                                              <p:spTgt spid="26"/>
                                            </p:tgtEl>
                                            <p:attrNameLst>
                                              <p:attrName>style.visibility</p:attrName>
                                            </p:attrNameLst>
                                          </p:cBhvr>
                                          <p:to>
                                            <p:strVal val="visible"/>
                                          </p:to>
                                        </p:set>
                                        <p:anim calcmode="lin" valueType="num">
                                          <p:cBhvr additive="base">
                                            <p:cTn id="50" dur="750" fill="hold"/>
                                            <p:tgtEl>
                                              <p:spTgt spid="26"/>
                                            </p:tgtEl>
                                            <p:attrNameLst>
                                              <p:attrName>ppt_x</p:attrName>
                                            </p:attrNameLst>
                                          </p:cBhvr>
                                          <p:tavLst>
                                            <p:tav tm="0">
                                              <p:val>
                                                <p:strVal val="1+#ppt_w/2"/>
                                              </p:val>
                                            </p:tav>
                                            <p:tav tm="100000">
                                              <p:val>
                                                <p:strVal val="#ppt_x"/>
                                              </p:val>
                                            </p:tav>
                                          </p:tavLst>
                                        </p:anim>
                                        <p:anim calcmode="lin" valueType="num">
                                          <p:cBhvr additive="base">
                                            <p:cTn id="51" dur="750" fill="hold"/>
                                            <p:tgtEl>
                                              <p:spTgt spid="26"/>
                                            </p:tgtEl>
                                            <p:attrNameLst>
                                              <p:attrName>ppt_y</p:attrName>
                                            </p:attrNameLst>
                                          </p:cBhvr>
                                          <p:tavLst>
                                            <p:tav tm="0">
                                              <p:val>
                                                <p:strVal val="#ppt_y"/>
                                              </p:val>
                                            </p:tav>
                                            <p:tav tm="100000">
                                              <p:val>
                                                <p:strVal val="#ppt_y"/>
                                              </p:val>
                                            </p:tav>
                                          </p:tavLst>
                                        </p:anim>
                                      </p:childTnLst>
                                    </p:cTn>
                                  </p:par>
                                </p:childTnLst>
                              </p:cTn>
                            </p:par>
                            <p:par>
                              <p:cTn id="52" fill="hold">
                                <p:stCondLst>
                                  <p:cond delay="3775"/>
                                </p:stCondLst>
                                <p:childTnLst>
                                  <p:par>
                                    <p:cTn id="53" presetID="2" presetClass="entr" presetSubtype="2" accel="56000" fill="hold" grpId="0" nodeType="afterEffect">
                                      <p:stCondLst>
                                        <p:cond delay="0"/>
                                      </p:stCondLst>
                                      <p:childTnLst>
                                        <p:set>
                                          <p:cBhvr>
                                            <p:cTn id="54" dur="1" fill="hold">
                                              <p:stCondLst>
                                                <p:cond delay="0"/>
                                              </p:stCondLst>
                                            </p:cTn>
                                            <p:tgtEl>
                                              <p:spTgt spid="15"/>
                                            </p:tgtEl>
                                            <p:attrNameLst>
                                              <p:attrName>style.visibility</p:attrName>
                                            </p:attrNameLst>
                                          </p:cBhvr>
                                          <p:to>
                                            <p:strVal val="visible"/>
                                          </p:to>
                                        </p:set>
                                        <p:anim calcmode="lin" valueType="num">
                                          <p:cBhvr additive="base">
                                            <p:cTn id="55" dur="1250" fill="hold"/>
                                            <p:tgtEl>
                                              <p:spTgt spid="15"/>
                                            </p:tgtEl>
                                            <p:attrNameLst>
                                              <p:attrName>ppt_x</p:attrName>
                                            </p:attrNameLst>
                                          </p:cBhvr>
                                          <p:tavLst>
                                            <p:tav tm="0">
                                              <p:val>
                                                <p:strVal val="1+#ppt_w/2"/>
                                              </p:val>
                                            </p:tav>
                                            <p:tav tm="100000">
                                              <p:val>
                                                <p:strVal val="#ppt_x"/>
                                              </p:val>
                                            </p:tav>
                                          </p:tavLst>
                                        </p:anim>
                                        <p:anim calcmode="lin" valueType="num">
                                          <p:cBhvr additive="base">
                                            <p:cTn id="56" dur="1250" fill="hold"/>
                                            <p:tgtEl>
                                              <p:spTgt spid="15"/>
                                            </p:tgtEl>
                                            <p:attrNameLst>
                                              <p:attrName>ppt_y</p:attrName>
                                            </p:attrNameLst>
                                          </p:cBhvr>
                                          <p:tavLst>
                                            <p:tav tm="0">
                                              <p:val>
                                                <p:strVal val="#ppt_y"/>
                                              </p:val>
                                            </p:tav>
                                            <p:tav tm="100000">
                                              <p:val>
                                                <p:strVal val="#ppt_y"/>
                                              </p:val>
                                            </p:tav>
                                          </p:tavLst>
                                        </p:anim>
                                      </p:childTnLst>
                                    </p:cTn>
                                  </p:par>
                                  <p:par>
                                    <p:cTn id="57" presetID="2" presetClass="entr" presetSubtype="2" accel="56000" fill="hold" grpId="0" nodeType="withEffect">
                                      <p:stCondLst>
                                        <p:cond delay="0"/>
                                      </p:stCondLst>
                                      <p:childTnLst>
                                        <p:set>
                                          <p:cBhvr>
                                            <p:cTn id="58" dur="1" fill="hold">
                                              <p:stCondLst>
                                                <p:cond delay="0"/>
                                              </p:stCondLst>
                                            </p:cTn>
                                            <p:tgtEl>
                                              <p:spTgt spid="16"/>
                                            </p:tgtEl>
                                            <p:attrNameLst>
                                              <p:attrName>style.visibility</p:attrName>
                                            </p:attrNameLst>
                                          </p:cBhvr>
                                          <p:to>
                                            <p:strVal val="visible"/>
                                          </p:to>
                                        </p:set>
                                        <p:anim calcmode="lin" valueType="num">
                                          <p:cBhvr additive="base">
                                            <p:cTn id="59" dur="1250" fill="hold"/>
                                            <p:tgtEl>
                                              <p:spTgt spid="16"/>
                                            </p:tgtEl>
                                            <p:attrNameLst>
                                              <p:attrName>ppt_x</p:attrName>
                                            </p:attrNameLst>
                                          </p:cBhvr>
                                          <p:tavLst>
                                            <p:tav tm="0">
                                              <p:val>
                                                <p:strVal val="1+#ppt_w/2"/>
                                              </p:val>
                                            </p:tav>
                                            <p:tav tm="100000">
                                              <p:val>
                                                <p:strVal val="#ppt_x"/>
                                              </p:val>
                                            </p:tav>
                                          </p:tavLst>
                                        </p:anim>
                                        <p:anim calcmode="lin" valueType="num">
                                          <p:cBhvr additive="base">
                                            <p:cTn id="60" dur="1250" fill="hold"/>
                                            <p:tgtEl>
                                              <p:spTgt spid="16"/>
                                            </p:tgtEl>
                                            <p:attrNameLst>
                                              <p:attrName>ppt_y</p:attrName>
                                            </p:attrNameLst>
                                          </p:cBhvr>
                                          <p:tavLst>
                                            <p:tav tm="0">
                                              <p:val>
                                                <p:strVal val="#ppt_y"/>
                                              </p:val>
                                            </p:tav>
                                            <p:tav tm="100000">
                                              <p:val>
                                                <p:strVal val="#ppt_y"/>
                                              </p:val>
                                            </p:tav>
                                          </p:tavLst>
                                        </p:anim>
                                      </p:childTnLst>
                                    </p:cTn>
                                  </p:par>
                                  <p:par>
                                    <p:cTn id="61" presetID="2" presetClass="entr" presetSubtype="2" accel="56000" fill="hold" grpId="0" nodeType="withEffect">
                                      <p:stCondLst>
                                        <p:cond delay="0"/>
                                      </p:stCondLst>
                                      <p:childTnLst>
                                        <p:set>
                                          <p:cBhvr>
                                            <p:cTn id="62" dur="1" fill="hold">
                                              <p:stCondLst>
                                                <p:cond delay="0"/>
                                              </p:stCondLst>
                                            </p:cTn>
                                            <p:tgtEl>
                                              <p:spTgt spid="17"/>
                                            </p:tgtEl>
                                            <p:attrNameLst>
                                              <p:attrName>style.visibility</p:attrName>
                                            </p:attrNameLst>
                                          </p:cBhvr>
                                          <p:to>
                                            <p:strVal val="visible"/>
                                          </p:to>
                                        </p:set>
                                        <p:anim calcmode="lin" valueType="num">
                                          <p:cBhvr additive="base">
                                            <p:cTn id="63" dur="1250" fill="hold"/>
                                            <p:tgtEl>
                                              <p:spTgt spid="17"/>
                                            </p:tgtEl>
                                            <p:attrNameLst>
                                              <p:attrName>ppt_x</p:attrName>
                                            </p:attrNameLst>
                                          </p:cBhvr>
                                          <p:tavLst>
                                            <p:tav tm="0">
                                              <p:val>
                                                <p:strVal val="1+#ppt_w/2"/>
                                              </p:val>
                                            </p:tav>
                                            <p:tav tm="100000">
                                              <p:val>
                                                <p:strVal val="#ppt_x"/>
                                              </p:val>
                                            </p:tav>
                                          </p:tavLst>
                                        </p:anim>
                                        <p:anim calcmode="lin" valueType="num">
                                          <p:cBhvr additive="base">
                                            <p:cTn id="64" dur="1250" fill="hold"/>
                                            <p:tgtEl>
                                              <p:spTgt spid="17"/>
                                            </p:tgtEl>
                                            <p:attrNameLst>
                                              <p:attrName>ppt_y</p:attrName>
                                            </p:attrNameLst>
                                          </p:cBhvr>
                                          <p:tavLst>
                                            <p:tav tm="0">
                                              <p:val>
                                                <p:strVal val="#ppt_y"/>
                                              </p:val>
                                            </p:tav>
                                            <p:tav tm="100000">
                                              <p:val>
                                                <p:strVal val="#ppt_y"/>
                                              </p:val>
                                            </p:tav>
                                          </p:tavLst>
                                        </p:anim>
                                      </p:childTnLst>
                                    </p:cTn>
                                  </p:par>
                                  <p:par>
                                    <p:cTn id="65" presetID="2" presetClass="entr" presetSubtype="2" accel="56000" fill="hold" grpId="0" nodeType="withEffect">
                                      <p:stCondLst>
                                        <p:cond delay="0"/>
                                      </p:stCondLst>
                                      <p:childTnLst>
                                        <p:set>
                                          <p:cBhvr>
                                            <p:cTn id="66" dur="1" fill="hold">
                                              <p:stCondLst>
                                                <p:cond delay="0"/>
                                              </p:stCondLst>
                                            </p:cTn>
                                            <p:tgtEl>
                                              <p:spTgt spid="18"/>
                                            </p:tgtEl>
                                            <p:attrNameLst>
                                              <p:attrName>style.visibility</p:attrName>
                                            </p:attrNameLst>
                                          </p:cBhvr>
                                          <p:to>
                                            <p:strVal val="visible"/>
                                          </p:to>
                                        </p:set>
                                        <p:anim calcmode="lin" valueType="num">
                                          <p:cBhvr additive="base">
                                            <p:cTn id="67" dur="1250" fill="hold"/>
                                            <p:tgtEl>
                                              <p:spTgt spid="18"/>
                                            </p:tgtEl>
                                            <p:attrNameLst>
                                              <p:attrName>ppt_x</p:attrName>
                                            </p:attrNameLst>
                                          </p:cBhvr>
                                          <p:tavLst>
                                            <p:tav tm="0">
                                              <p:val>
                                                <p:strVal val="1+#ppt_w/2"/>
                                              </p:val>
                                            </p:tav>
                                            <p:tav tm="100000">
                                              <p:val>
                                                <p:strVal val="#ppt_x"/>
                                              </p:val>
                                            </p:tav>
                                          </p:tavLst>
                                        </p:anim>
                                        <p:anim calcmode="lin" valueType="num">
                                          <p:cBhvr additive="base">
                                            <p:cTn id="68" dur="1250" fill="hold"/>
                                            <p:tgtEl>
                                              <p:spTgt spid="18"/>
                                            </p:tgtEl>
                                            <p:attrNameLst>
                                              <p:attrName>ppt_y</p:attrName>
                                            </p:attrNameLst>
                                          </p:cBhvr>
                                          <p:tavLst>
                                            <p:tav tm="0">
                                              <p:val>
                                                <p:strVal val="#ppt_y"/>
                                              </p:val>
                                            </p:tav>
                                            <p:tav tm="100000">
                                              <p:val>
                                                <p:strVal val="#ppt_y"/>
                                              </p:val>
                                            </p:tav>
                                          </p:tavLst>
                                        </p:anim>
                                      </p:childTnLst>
                                    </p:cTn>
                                  </p:par>
                                </p:childTnLst>
                              </p:cTn>
                            </p:par>
                            <p:par>
                              <p:cTn id="69" fill="hold">
                                <p:stCondLst>
                                  <p:cond delay="5275"/>
                                </p:stCondLst>
                                <p:childTnLst>
                                  <p:par>
                                    <p:cTn id="70" presetID="27" presetClass="emph" presetSubtype="0" fill="remove" grpId="1" nodeType="afterEffect">
                                      <p:stCondLst>
                                        <p:cond delay="0"/>
                                      </p:stCondLst>
                                      <p:childTnLst>
                                        <p:animClr clrSpc="rgb" dir="cw">
                                          <p:cBhvr override="childStyle">
                                            <p:cTn id="71" dur="250" autoRev="1" fill="remove"/>
                                            <p:tgtEl>
                                              <p:spTgt spid="15"/>
                                            </p:tgtEl>
                                            <p:attrNameLst>
                                              <p:attrName>style.color</p:attrName>
                                            </p:attrNameLst>
                                          </p:cBhvr>
                                          <p:to>
                                            <a:schemeClr val="bg1"/>
                                          </p:to>
                                        </p:animClr>
                                        <p:animClr clrSpc="rgb" dir="cw">
                                          <p:cBhvr>
                                            <p:cTn id="72" dur="250" autoRev="1" fill="remove"/>
                                            <p:tgtEl>
                                              <p:spTgt spid="15"/>
                                            </p:tgtEl>
                                            <p:attrNameLst>
                                              <p:attrName>fillcolor</p:attrName>
                                            </p:attrNameLst>
                                          </p:cBhvr>
                                          <p:to>
                                            <a:schemeClr val="bg1"/>
                                          </p:to>
                                        </p:animClr>
                                        <p:set>
                                          <p:cBhvr>
                                            <p:cTn id="73" dur="250" autoRev="1" fill="remove"/>
                                            <p:tgtEl>
                                              <p:spTgt spid="15"/>
                                            </p:tgtEl>
                                            <p:attrNameLst>
                                              <p:attrName>fill.type</p:attrName>
                                            </p:attrNameLst>
                                          </p:cBhvr>
                                          <p:to>
                                            <p:strVal val="solid"/>
                                          </p:to>
                                        </p:set>
                                        <p:set>
                                          <p:cBhvr>
                                            <p:cTn id="74" dur="250" autoRev="1" fill="remove"/>
                                            <p:tgtEl>
                                              <p:spTgt spid="15"/>
                                            </p:tgtEl>
                                            <p:attrNameLst>
                                              <p:attrName>fill.on</p:attrName>
                                            </p:attrNameLst>
                                          </p:cBhvr>
                                          <p:to>
                                            <p:strVal val="true"/>
                                          </p:to>
                                        </p:set>
                                      </p:childTnLst>
                                    </p:cTn>
                                  </p:par>
                                </p:childTnLst>
                              </p:cTn>
                            </p:par>
                            <p:par>
                              <p:cTn id="75" fill="hold">
                                <p:stCondLst>
                                  <p:cond delay="5775"/>
                                </p:stCondLst>
                                <p:childTnLst>
                                  <p:par>
                                    <p:cTn id="76" presetID="27" presetClass="emph" presetSubtype="0" fill="remove" grpId="1" nodeType="afterEffect">
                                      <p:stCondLst>
                                        <p:cond delay="0"/>
                                      </p:stCondLst>
                                      <p:childTnLst>
                                        <p:animClr clrSpc="rgb" dir="cw">
                                          <p:cBhvr override="childStyle">
                                            <p:cTn id="77" dur="250" autoRev="1" fill="remove"/>
                                            <p:tgtEl>
                                              <p:spTgt spid="16"/>
                                            </p:tgtEl>
                                            <p:attrNameLst>
                                              <p:attrName>style.color</p:attrName>
                                            </p:attrNameLst>
                                          </p:cBhvr>
                                          <p:to>
                                            <a:schemeClr val="bg1"/>
                                          </p:to>
                                        </p:animClr>
                                        <p:animClr clrSpc="rgb" dir="cw">
                                          <p:cBhvr>
                                            <p:cTn id="78" dur="250" autoRev="1" fill="remove"/>
                                            <p:tgtEl>
                                              <p:spTgt spid="16"/>
                                            </p:tgtEl>
                                            <p:attrNameLst>
                                              <p:attrName>fillcolor</p:attrName>
                                            </p:attrNameLst>
                                          </p:cBhvr>
                                          <p:to>
                                            <a:schemeClr val="bg1"/>
                                          </p:to>
                                        </p:animClr>
                                        <p:set>
                                          <p:cBhvr>
                                            <p:cTn id="79" dur="250" autoRev="1" fill="remove"/>
                                            <p:tgtEl>
                                              <p:spTgt spid="16"/>
                                            </p:tgtEl>
                                            <p:attrNameLst>
                                              <p:attrName>fill.type</p:attrName>
                                            </p:attrNameLst>
                                          </p:cBhvr>
                                          <p:to>
                                            <p:strVal val="solid"/>
                                          </p:to>
                                        </p:set>
                                        <p:set>
                                          <p:cBhvr>
                                            <p:cTn id="80" dur="250" autoRev="1" fill="remove"/>
                                            <p:tgtEl>
                                              <p:spTgt spid="16"/>
                                            </p:tgtEl>
                                            <p:attrNameLst>
                                              <p:attrName>fill.on</p:attrName>
                                            </p:attrNameLst>
                                          </p:cBhvr>
                                          <p:to>
                                            <p:strVal val="true"/>
                                          </p:to>
                                        </p:set>
                                      </p:childTnLst>
                                    </p:cTn>
                                  </p:par>
                                </p:childTnLst>
                              </p:cTn>
                            </p:par>
                            <p:par>
                              <p:cTn id="81" fill="hold">
                                <p:stCondLst>
                                  <p:cond delay="6275"/>
                                </p:stCondLst>
                                <p:childTnLst>
                                  <p:par>
                                    <p:cTn id="82" presetID="27" presetClass="emph" presetSubtype="0" fill="remove" grpId="1" nodeType="afterEffect">
                                      <p:stCondLst>
                                        <p:cond delay="0"/>
                                      </p:stCondLst>
                                      <p:childTnLst>
                                        <p:animClr clrSpc="rgb" dir="cw">
                                          <p:cBhvr override="childStyle">
                                            <p:cTn id="83" dur="250" autoRev="1" fill="remove"/>
                                            <p:tgtEl>
                                              <p:spTgt spid="17"/>
                                            </p:tgtEl>
                                            <p:attrNameLst>
                                              <p:attrName>style.color</p:attrName>
                                            </p:attrNameLst>
                                          </p:cBhvr>
                                          <p:to>
                                            <a:schemeClr val="bg1"/>
                                          </p:to>
                                        </p:animClr>
                                        <p:animClr clrSpc="rgb" dir="cw">
                                          <p:cBhvr>
                                            <p:cTn id="84" dur="250" autoRev="1" fill="remove"/>
                                            <p:tgtEl>
                                              <p:spTgt spid="17"/>
                                            </p:tgtEl>
                                            <p:attrNameLst>
                                              <p:attrName>fillcolor</p:attrName>
                                            </p:attrNameLst>
                                          </p:cBhvr>
                                          <p:to>
                                            <a:schemeClr val="bg1"/>
                                          </p:to>
                                        </p:animClr>
                                        <p:set>
                                          <p:cBhvr>
                                            <p:cTn id="85" dur="250" autoRev="1" fill="remove"/>
                                            <p:tgtEl>
                                              <p:spTgt spid="17"/>
                                            </p:tgtEl>
                                            <p:attrNameLst>
                                              <p:attrName>fill.type</p:attrName>
                                            </p:attrNameLst>
                                          </p:cBhvr>
                                          <p:to>
                                            <p:strVal val="solid"/>
                                          </p:to>
                                        </p:set>
                                        <p:set>
                                          <p:cBhvr>
                                            <p:cTn id="86" dur="250" autoRev="1" fill="remove"/>
                                            <p:tgtEl>
                                              <p:spTgt spid="17"/>
                                            </p:tgtEl>
                                            <p:attrNameLst>
                                              <p:attrName>fill.on</p:attrName>
                                            </p:attrNameLst>
                                          </p:cBhvr>
                                          <p:to>
                                            <p:strVal val="true"/>
                                          </p:to>
                                        </p:set>
                                      </p:childTnLst>
                                    </p:cTn>
                                  </p:par>
                                </p:childTnLst>
                              </p:cTn>
                            </p:par>
                            <p:par>
                              <p:cTn id="87" fill="hold">
                                <p:stCondLst>
                                  <p:cond delay="6775"/>
                                </p:stCondLst>
                                <p:childTnLst>
                                  <p:par>
                                    <p:cTn id="88" presetID="27" presetClass="emph" presetSubtype="0" fill="remove" grpId="1" nodeType="afterEffect">
                                      <p:stCondLst>
                                        <p:cond delay="0"/>
                                      </p:stCondLst>
                                      <p:childTnLst>
                                        <p:animClr clrSpc="rgb" dir="cw">
                                          <p:cBhvr override="childStyle">
                                            <p:cTn id="89" dur="250" autoRev="1" fill="remove"/>
                                            <p:tgtEl>
                                              <p:spTgt spid="18"/>
                                            </p:tgtEl>
                                            <p:attrNameLst>
                                              <p:attrName>style.color</p:attrName>
                                            </p:attrNameLst>
                                          </p:cBhvr>
                                          <p:to>
                                            <a:schemeClr val="bg1"/>
                                          </p:to>
                                        </p:animClr>
                                        <p:animClr clrSpc="rgb" dir="cw">
                                          <p:cBhvr>
                                            <p:cTn id="90" dur="250" autoRev="1" fill="remove"/>
                                            <p:tgtEl>
                                              <p:spTgt spid="18"/>
                                            </p:tgtEl>
                                            <p:attrNameLst>
                                              <p:attrName>fillcolor</p:attrName>
                                            </p:attrNameLst>
                                          </p:cBhvr>
                                          <p:to>
                                            <a:schemeClr val="bg1"/>
                                          </p:to>
                                        </p:animClr>
                                        <p:set>
                                          <p:cBhvr>
                                            <p:cTn id="91" dur="250" autoRev="1" fill="remove"/>
                                            <p:tgtEl>
                                              <p:spTgt spid="18"/>
                                            </p:tgtEl>
                                            <p:attrNameLst>
                                              <p:attrName>fill.type</p:attrName>
                                            </p:attrNameLst>
                                          </p:cBhvr>
                                          <p:to>
                                            <p:strVal val="solid"/>
                                          </p:to>
                                        </p:set>
                                        <p:set>
                                          <p:cBhvr>
                                            <p:cTn id="92" dur="250" autoRev="1" fill="remove"/>
                                            <p:tgtEl>
                                              <p:spTgt spid="18"/>
                                            </p:tgtEl>
                                            <p:attrNameLst>
                                              <p:attrName>fill.on</p:attrName>
                                            </p:attrNameLst>
                                          </p:cBhvr>
                                          <p:to>
                                            <p:strVal val="true"/>
                                          </p:to>
                                        </p:set>
                                      </p:childTnLst>
                                    </p:cTn>
                                  </p:par>
                                </p:childTnLst>
                              </p:cTn>
                            </p:par>
                            <p:par>
                              <p:cTn id="93" fill="hold">
                                <p:stCondLst>
                                  <p:cond delay="7275"/>
                                </p:stCondLst>
                                <p:childTnLst>
                                  <p:par>
                                    <p:cTn id="94" presetID="22" presetClass="entr" presetSubtype="4" fill="hold" grpId="0" nodeType="afterEffect">
                                      <p:stCondLst>
                                        <p:cond delay="0"/>
                                      </p:stCondLst>
                                      <p:childTnLst>
                                        <p:set>
                                          <p:cBhvr>
                                            <p:cTn id="95" dur="1" fill="hold">
                                              <p:stCondLst>
                                                <p:cond delay="0"/>
                                              </p:stCondLst>
                                            </p:cTn>
                                            <p:tgtEl>
                                              <p:spTgt spid="27"/>
                                            </p:tgtEl>
                                            <p:attrNameLst>
                                              <p:attrName>style.visibility</p:attrName>
                                            </p:attrNameLst>
                                          </p:cBhvr>
                                          <p:to>
                                            <p:strVal val="visible"/>
                                          </p:to>
                                        </p:set>
                                        <p:animEffect transition="in" filter="wipe(down)">
                                          <p:cBhvr>
                                            <p:cTn id="96" dur="1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4" grpId="0"/>
          <p:bldP spid="15" grpId="0" animBg="1"/>
          <p:bldP spid="15" grpId="1" animBg="1"/>
          <p:bldP spid="16" grpId="0" animBg="1"/>
          <p:bldP spid="16" grpId="1" animBg="1"/>
          <p:bldP spid="17" grpId="0" animBg="1"/>
          <p:bldP spid="17" grpId="1" animBg="1"/>
          <p:bldP spid="18" grpId="0" animBg="1"/>
          <p:bldP spid="18" grpId="1" animBg="1"/>
          <p:bldP spid="19" grpId="0" animBg="1"/>
          <p:bldP spid="20" grpId="0" animBg="1"/>
          <p:bldP spid="21" grpId="0" animBg="1"/>
          <p:bldP spid="22" grpId="0" animBg="1"/>
          <p:bldP spid="23" grpId="0"/>
          <p:bldP spid="24" grpId="0"/>
          <p:bldP spid="25" grpId="0"/>
          <p:bldP spid="26" grpId="0"/>
          <p:bldP spid="27" grpId="0"/>
        </p:bldLst>
      </p:timing>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1170517" y="1712384"/>
            <a:ext cx="3748616" cy="3750733"/>
            <a:chOff x="1169988" y="1695450"/>
            <a:chExt cx="3749675" cy="3749675"/>
          </a:xfrm>
        </p:grpSpPr>
        <p:sp>
          <p:nvSpPr>
            <p:cNvPr id="6" name="空心弧 5"/>
            <p:cNvSpPr>
              <a:spLocks noChangeAspect="1"/>
            </p:cNvSpPr>
            <p:nvPr/>
          </p:nvSpPr>
          <p:spPr>
            <a:xfrm>
              <a:off x="1750119" y="2275253"/>
              <a:ext cx="2555538" cy="2556212"/>
            </a:xfrm>
            <a:prstGeom prst="blockArc">
              <a:avLst>
                <a:gd name="adj1" fmla="val 5268572"/>
                <a:gd name="adj2" fmla="val 21504623"/>
                <a:gd name="adj3" fmla="val 16189"/>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7" name="空心弧 6"/>
            <p:cNvSpPr/>
            <p:nvPr/>
          </p:nvSpPr>
          <p:spPr>
            <a:xfrm>
              <a:off x="1169988" y="1695450"/>
              <a:ext cx="3749675" cy="3749675"/>
            </a:xfrm>
            <a:prstGeom prst="blockArc">
              <a:avLst>
                <a:gd name="adj1" fmla="val 21096084"/>
                <a:gd name="adj2" fmla="val 16972853"/>
                <a:gd name="adj3" fmla="val 11581"/>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8" name="空心弧 7"/>
            <p:cNvSpPr>
              <a:spLocks noChangeAspect="1"/>
            </p:cNvSpPr>
            <p:nvPr/>
          </p:nvSpPr>
          <p:spPr>
            <a:xfrm>
              <a:off x="2323897" y="2850824"/>
              <a:ext cx="1439740" cy="1441043"/>
            </a:xfrm>
            <a:prstGeom prst="blockArc">
              <a:avLst>
                <a:gd name="adj1" fmla="val 18134875"/>
                <a:gd name="adj2" fmla="val 11608361"/>
                <a:gd name="adj3" fmla="val 25066"/>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grpSp>
      <p:grpSp>
        <p:nvGrpSpPr>
          <p:cNvPr id="9" name="组合 8"/>
          <p:cNvGrpSpPr/>
          <p:nvPr/>
        </p:nvGrpSpPr>
        <p:grpSpPr bwMode="auto">
          <a:xfrm>
            <a:off x="3551767" y="1735667"/>
            <a:ext cx="7454900" cy="1521884"/>
            <a:chOff x="3551238" y="1719257"/>
            <a:chExt cx="7455430" cy="1520831"/>
          </a:xfrm>
        </p:grpSpPr>
        <p:sp>
          <p:nvSpPr>
            <p:cNvPr id="10" name="任意多边形 9"/>
            <p:cNvSpPr/>
            <p:nvPr/>
          </p:nvSpPr>
          <p:spPr>
            <a:xfrm>
              <a:off x="3551238" y="2129606"/>
              <a:ext cx="2631204" cy="1110482"/>
            </a:xfrm>
            <a:custGeom>
              <a:avLst/>
              <a:gdLst>
                <a:gd name="connsiteX0" fmla="*/ 0 w 2630658"/>
                <a:gd name="connsiteY0" fmla="*/ 1111348 h 1111348"/>
                <a:gd name="connsiteX1" fmla="*/ 1111348 w 2630658"/>
                <a:gd name="connsiteY1" fmla="*/ 0 h 1111348"/>
                <a:gd name="connsiteX2" fmla="*/ 2630658 w 2630658"/>
                <a:gd name="connsiteY2" fmla="*/ 0 h 1111348"/>
              </a:gdLst>
              <a:ahLst/>
              <a:cxnLst>
                <a:cxn ang="0">
                  <a:pos x="connsiteX0" y="connsiteY0"/>
                </a:cxn>
                <a:cxn ang="0">
                  <a:pos x="connsiteX1" y="connsiteY1"/>
                </a:cxn>
                <a:cxn ang="0">
                  <a:pos x="connsiteX2" y="connsiteY2"/>
                </a:cxn>
              </a:cxnLst>
              <a:rect l="l" t="t" r="r" b="b"/>
              <a:pathLst>
                <a:path w="2630658" h="1111348">
                  <a:moveTo>
                    <a:pt x="0" y="1111348"/>
                  </a:moveTo>
                  <a:lnTo>
                    <a:pt x="1111348" y="0"/>
                  </a:lnTo>
                  <a:lnTo>
                    <a:pt x="2630658" y="0"/>
                  </a:lnTo>
                </a:path>
              </a:pathLst>
            </a:custGeom>
            <a:noFill/>
            <a:ln w="12700">
              <a:solidFill>
                <a:srgbClr val="254061"/>
              </a:solidFill>
              <a:headEnd type="diamond"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11" name="文本框 33"/>
            <p:cNvSpPr txBox="1">
              <a:spLocks noChangeArrowheads="1"/>
            </p:cNvSpPr>
            <p:nvPr/>
          </p:nvSpPr>
          <p:spPr bwMode="auto">
            <a:xfrm>
              <a:off x="6181725" y="1944688"/>
              <a:ext cx="1810807" cy="379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endParaRPr lang="zh-CN" altLang="en-US" sz="1865">
                <a:solidFill>
                  <a:srgbClr val="969696"/>
                </a:solidFill>
                <a:latin typeface="Impact" panose="020B0806030902050204" pitchFamily="34" charset="0"/>
                <a:ea typeface="+mn-ea"/>
                <a:cs typeface="+mn-ea"/>
              </a:endParaRPr>
            </a:p>
          </p:txBody>
        </p:sp>
        <p:sp>
          <p:nvSpPr>
            <p:cNvPr id="12" name="矩形 29"/>
            <p:cNvSpPr>
              <a:spLocks noChangeArrowheads="1"/>
            </p:cNvSpPr>
            <p:nvPr/>
          </p:nvSpPr>
          <p:spPr bwMode="auto">
            <a:xfrm>
              <a:off x="7818664" y="1719257"/>
              <a:ext cx="3188004" cy="769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a:t>
              </a:r>
              <a:endParaRPr lang="zh-CN" altLang="en-US" sz="1465">
                <a:solidFill>
                  <a:srgbClr val="969696"/>
                </a:solidFill>
                <a:latin typeface="+mn-ea"/>
                <a:ea typeface="+mn-ea"/>
                <a:cs typeface="+mn-ea"/>
              </a:endParaRPr>
            </a:p>
          </p:txBody>
        </p:sp>
      </p:grpSp>
      <p:grpSp>
        <p:nvGrpSpPr>
          <p:cNvPr id="13" name="组合 12"/>
          <p:cNvGrpSpPr/>
          <p:nvPr/>
        </p:nvGrpSpPr>
        <p:grpSpPr bwMode="auto">
          <a:xfrm>
            <a:off x="4127501" y="3424765"/>
            <a:ext cx="6879167" cy="851346"/>
            <a:chOff x="4127500" y="3408363"/>
            <a:chExt cx="6879167" cy="850011"/>
          </a:xfrm>
        </p:grpSpPr>
        <p:sp>
          <p:nvSpPr>
            <p:cNvPr id="14" name="任意多边形 13"/>
            <p:cNvSpPr/>
            <p:nvPr/>
          </p:nvSpPr>
          <p:spPr>
            <a:xfrm>
              <a:off x="4127500" y="3408363"/>
              <a:ext cx="2067984" cy="450144"/>
            </a:xfrm>
            <a:custGeom>
              <a:avLst/>
              <a:gdLst>
                <a:gd name="connsiteX0" fmla="*/ 0 w 2067951"/>
                <a:gd name="connsiteY0" fmla="*/ 0 h 450166"/>
                <a:gd name="connsiteX1" fmla="*/ 450166 w 2067951"/>
                <a:gd name="connsiteY1" fmla="*/ 450166 h 450166"/>
                <a:gd name="connsiteX2" fmla="*/ 2067951 w 2067951"/>
                <a:gd name="connsiteY2" fmla="*/ 450166 h 450166"/>
              </a:gdLst>
              <a:ahLst/>
              <a:cxnLst>
                <a:cxn ang="0">
                  <a:pos x="connsiteX0" y="connsiteY0"/>
                </a:cxn>
                <a:cxn ang="0">
                  <a:pos x="connsiteX1" y="connsiteY1"/>
                </a:cxn>
                <a:cxn ang="0">
                  <a:pos x="connsiteX2" y="connsiteY2"/>
                </a:cxn>
              </a:cxnLst>
              <a:rect l="l" t="t" r="r" b="b"/>
              <a:pathLst>
                <a:path w="2067951" h="450166">
                  <a:moveTo>
                    <a:pt x="0" y="0"/>
                  </a:moveTo>
                  <a:lnTo>
                    <a:pt x="450166" y="450166"/>
                  </a:lnTo>
                  <a:lnTo>
                    <a:pt x="2067951" y="450166"/>
                  </a:lnTo>
                </a:path>
              </a:pathLst>
            </a:custGeom>
            <a:noFill/>
            <a:ln w="12700">
              <a:solidFill>
                <a:srgbClr val="254061"/>
              </a:solidFill>
              <a:headEnd type="diamond"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15" name="文本框 34"/>
            <p:cNvSpPr txBox="1">
              <a:spLocks noChangeArrowheads="1"/>
            </p:cNvSpPr>
            <p:nvPr/>
          </p:nvSpPr>
          <p:spPr bwMode="auto">
            <a:xfrm>
              <a:off x="6181725" y="3675063"/>
              <a:ext cx="1810808" cy="379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endParaRPr lang="zh-CN" altLang="en-US" sz="1865">
                <a:solidFill>
                  <a:srgbClr val="969696"/>
                </a:solidFill>
                <a:latin typeface="Impact" panose="020B0806030902050204" pitchFamily="34" charset="0"/>
                <a:ea typeface="+mn-ea"/>
                <a:cs typeface="+mn-ea"/>
              </a:endParaRPr>
            </a:p>
          </p:txBody>
        </p:sp>
        <p:sp>
          <p:nvSpPr>
            <p:cNvPr id="16" name="矩形 29"/>
            <p:cNvSpPr>
              <a:spLocks noChangeArrowheads="1"/>
            </p:cNvSpPr>
            <p:nvPr/>
          </p:nvSpPr>
          <p:spPr bwMode="auto">
            <a:xfrm>
              <a:off x="7818663" y="3489883"/>
              <a:ext cx="3188004" cy="768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a:t>
              </a:r>
              <a:endParaRPr lang="zh-CN" altLang="en-US" sz="1465">
                <a:solidFill>
                  <a:srgbClr val="969696"/>
                </a:solidFill>
                <a:latin typeface="+mn-ea"/>
                <a:ea typeface="+mn-ea"/>
                <a:cs typeface="+mn-ea"/>
              </a:endParaRPr>
            </a:p>
          </p:txBody>
        </p:sp>
      </p:grpSp>
      <p:grpSp>
        <p:nvGrpSpPr>
          <p:cNvPr id="17" name="组合 16"/>
          <p:cNvGrpSpPr/>
          <p:nvPr/>
        </p:nvGrpSpPr>
        <p:grpSpPr bwMode="auto">
          <a:xfrm>
            <a:off x="4324351" y="4660893"/>
            <a:ext cx="6682316" cy="769698"/>
            <a:chOff x="4324350" y="4643892"/>
            <a:chExt cx="6682316" cy="770315"/>
          </a:xfrm>
        </p:grpSpPr>
        <p:sp>
          <p:nvSpPr>
            <p:cNvPr id="18" name="任意多边形 17"/>
            <p:cNvSpPr/>
            <p:nvPr/>
          </p:nvSpPr>
          <p:spPr>
            <a:xfrm>
              <a:off x="4324350" y="4660839"/>
              <a:ext cx="1843616" cy="478749"/>
            </a:xfrm>
            <a:custGeom>
              <a:avLst/>
              <a:gdLst>
                <a:gd name="connsiteX0" fmla="*/ 0 w 1842868"/>
                <a:gd name="connsiteY0" fmla="*/ 0 h 478301"/>
                <a:gd name="connsiteX1" fmla="*/ 478301 w 1842868"/>
                <a:gd name="connsiteY1" fmla="*/ 478301 h 478301"/>
                <a:gd name="connsiteX2" fmla="*/ 1842868 w 1842868"/>
                <a:gd name="connsiteY2" fmla="*/ 478301 h 478301"/>
              </a:gdLst>
              <a:ahLst/>
              <a:cxnLst>
                <a:cxn ang="0">
                  <a:pos x="connsiteX0" y="connsiteY0"/>
                </a:cxn>
                <a:cxn ang="0">
                  <a:pos x="connsiteX1" y="connsiteY1"/>
                </a:cxn>
                <a:cxn ang="0">
                  <a:pos x="connsiteX2" y="connsiteY2"/>
                </a:cxn>
              </a:cxnLst>
              <a:rect l="l" t="t" r="r" b="b"/>
              <a:pathLst>
                <a:path w="1842868" h="478301">
                  <a:moveTo>
                    <a:pt x="0" y="0"/>
                  </a:moveTo>
                  <a:lnTo>
                    <a:pt x="478301" y="478301"/>
                  </a:lnTo>
                  <a:lnTo>
                    <a:pt x="1842868" y="478301"/>
                  </a:lnTo>
                </a:path>
              </a:pathLst>
            </a:custGeom>
            <a:noFill/>
            <a:ln w="12700">
              <a:solidFill>
                <a:srgbClr val="254061"/>
              </a:solidFill>
              <a:headEnd type="diamond"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19" name="文本框 35"/>
            <p:cNvSpPr txBox="1">
              <a:spLocks noChangeArrowheads="1"/>
            </p:cNvSpPr>
            <p:nvPr/>
          </p:nvSpPr>
          <p:spPr bwMode="auto">
            <a:xfrm>
              <a:off x="6181725" y="4941888"/>
              <a:ext cx="2014008" cy="379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endParaRPr lang="zh-CN" altLang="en-US" sz="1865">
                <a:solidFill>
                  <a:srgbClr val="969696"/>
                </a:solidFill>
                <a:latin typeface="Impact" panose="020B0806030902050204" pitchFamily="34" charset="0"/>
                <a:ea typeface="+mn-ea"/>
                <a:cs typeface="+mn-ea"/>
              </a:endParaRPr>
            </a:p>
          </p:txBody>
        </p:sp>
        <p:sp>
          <p:nvSpPr>
            <p:cNvPr id="20" name="矩形 29"/>
            <p:cNvSpPr>
              <a:spLocks noChangeArrowheads="1"/>
            </p:cNvSpPr>
            <p:nvPr/>
          </p:nvSpPr>
          <p:spPr bwMode="auto">
            <a:xfrm>
              <a:off x="7818662" y="4643892"/>
              <a:ext cx="3188004" cy="770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dirty="0">
                  <a:solidFill>
                    <a:srgbClr val="969696"/>
                  </a:solidFill>
                  <a:latin typeface="+mn-ea"/>
                  <a:ea typeface="+mn-ea"/>
                  <a:cs typeface="+mn-ea"/>
                </a:rPr>
                <a:t>单击此处添加段落文本单击此处添加段落文本单击此处添加段落文本</a:t>
              </a:r>
              <a:endParaRPr lang="zh-CN" altLang="en-US" sz="1465" dirty="0">
                <a:solidFill>
                  <a:srgbClr val="969696"/>
                </a:solidFill>
                <a:latin typeface="+mn-ea"/>
                <a:ea typeface="+mn-ea"/>
                <a:cs typeface="+mn-ea"/>
              </a:endParaRPr>
            </a:p>
          </p:txBody>
        </p:sp>
      </p:grpSp>
      <p:sp>
        <p:nvSpPr>
          <p:cNvPr id="21"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2" name="文本框 21"/>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500"/>
                            </p:stCondLst>
                            <p:childTnLst>
                              <p:par>
                                <p:cTn id="11" presetID="12" presetClass="entr" presetSubtype="8"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p:tgtEl>
                                          <p:spTgt spid="9"/>
                                        </p:tgtEl>
                                        <p:attrNameLst>
                                          <p:attrName>ppt_x</p:attrName>
                                        </p:attrNameLst>
                                      </p:cBhvr>
                                      <p:tavLst>
                                        <p:tav tm="0">
                                          <p:val>
                                            <p:strVal val="#ppt_x-#ppt_w*1.125000"/>
                                          </p:val>
                                        </p:tav>
                                        <p:tav tm="100000">
                                          <p:val>
                                            <p:strVal val="#ppt_x"/>
                                          </p:val>
                                        </p:tav>
                                      </p:tavLst>
                                    </p:anim>
                                    <p:animEffect transition="in" filter="wipe(right)">
                                      <p:cBhvr>
                                        <p:cTn id="14" dur="500"/>
                                        <p:tgtEl>
                                          <p:spTgt spid="9"/>
                                        </p:tgtEl>
                                      </p:cBhvr>
                                    </p:animEffect>
                                  </p:childTnLst>
                                </p:cTn>
                              </p:par>
                            </p:childTnLst>
                          </p:cTn>
                        </p:par>
                        <p:par>
                          <p:cTn id="15" fill="hold">
                            <p:stCondLst>
                              <p:cond delay="1000"/>
                            </p:stCondLst>
                            <p:childTnLst>
                              <p:par>
                                <p:cTn id="16" presetID="12" presetClass="entr" presetSubtype="8"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anim calcmode="lin" valueType="num">
                                      <p:cBhvr additive="base">
                                        <p:cTn id="18" dur="500"/>
                                        <p:tgtEl>
                                          <p:spTgt spid="13"/>
                                        </p:tgtEl>
                                        <p:attrNameLst>
                                          <p:attrName>ppt_x</p:attrName>
                                        </p:attrNameLst>
                                      </p:cBhvr>
                                      <p:tavLst>
                                        <p:tav tm="0">
                                          <p:val>
                                            <p:strVal val="#ppt_x-#ppt_w*1.125000"/>
                                          </p:val>
                                        </p:tav>
                                        <p:tav tm="100000">
                                          <p:val>
                                            <p:strVal val="#ppt_x"/>
                                          </p:val>
                                        </p:tav>
                                      </p:tavLst>
                                    </p:anim>
                                    <p:animEffect transition="in" filter="wipe(right)">
                                      <p:cBhvr>
                                        <p:cTn id="19" dur="500"/>
                                        <p:tgtEl>
                                          <p:spTgt spid="13"/>
                                        </p:tgtEl>
                                      </p:cBhvr>
                                    </p:animEffect>
                                  </p:childTnLst>
                                </p:cTn>
                              </p:par>
                            </p:childTnLst>
                          </p:cTn>
                        </p:par>
                        <p:par>
                          <p:cTn id="20" fill="hold">
                            <p:stCondLst>
                              <p:cond delay="1500"/>
                            </p:stCondLst>
                            <p:childTnLst>
                              <p:par>
                                <p:cTn id="21" presetID="12" presetClass="entr" presetSubtype="8" fill="hold" nodeType="after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500"/>
                                        <p:tgtEl>
                                          <p:spTgt spid="17"/>
                                        </p:tgtEl>
                                        <p:attrNameLst>
                                          <p:attrName>ppt_x</p:attrName>
                                        </p:attrNameLst>
                                      </p:cBhvr>
                                      <p:tavLst>
                                        <p:tav tm="0">
                                          <p:val>
                                            <p:strVal val="#ppt_x-#ppt_w*1.125000"/>
                                          </p:val>
                                        </p:tav>
                                        <p:tav tm="100000">
                                          <p:val>
                                            <p:strVal val="#ppt_x"/>
                                          </p:val>
                                        </p:tav>
                                      </p:tavLst>
                                    </p:anim>
                                    <p:animEffect transition="in" filter="wipe(right)">
                                      <p:cBhvr>
                                        <p:cTn id="24" dur="500"/>
                                        <p:tgtEl>
                                          <p:spTgt spid="17"/>
                                        </p:tgtEl>
                                      </p:cBhvr>
                                    </p:animEffect>
                                  </p:childTnLst>
                                </p:cTn>
                              </p:par>
                            </p:childTnLst>
                          </p:cTn>
                        </p:par>
                        <p:par>
                          <p:cTn id="25" fill="hold">
                            <p:stCondLst>
                              <p:cond delay="2000"/>
                            </p:stCondLst>
                            <p:childTnLst>
                              <p:par>
                                <p:cTn id="26" presetID="22" presetClass="entr" presetSubtype="4" fill="hold" grpId="0" nodeType="after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wipe(down)">
                                      <p:cBhvr>
                                        <p:cTn id="28" dur="125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组合 20"/>
          <p:cNvGrpSpPr/>
          <p:nvPr/>
        </p:nvGrpSpPr>
        <p:grpSpPr>
          <a:xfrm>
            <a:off x="1199457" y="2404038"/>
            <a:ext cx="6718300" cy="6305549"/>
            <a:chOff x="899592" y="1659012"/>
            <a:chExt cx="5038725" cy="4729162"/>
          </a:xfrm>
        </p:grpSpPr>
        <p:sp>
          <p:nvSpPr>
            <p:cNvPr id="22" name="椭圆 18"/>
            <p:cNvSpPr/>
            <p:nvPr/>
          </p:nvSpPr>
          <p:spPr bwMode="auto">
            <a:xfrm>
              <a:off x="3058592" y="3819599"/>
              <a:ext cx="719137" cy="363538"/>
            </a:xfrm>
            <a:custGeom>
              <a:avLst/>
              <a:gdLst/>
              <a:ahLst/>
              <a:cxnLst/>
              <a:rect l="l" t="t" r="r" b="b"/>
              <a:pathLst>
                <a:path w="720000" h="363666">
                  <a:moveTo>
                    <a:pt x="360000" y="0"/>
                  </a:moveTo>
                  <a:cubicBezTo>
                    <a:pt x="558823" y="0"/>
                    <a:pt x="720000" y="161177"/>
                    <a:pt x="720000" y="360000"/>
                  </a:cubicBezTo>
                  <a:lnTo>
                    <a:pt x="719631" y="363666"/>
                  </a:lnTo>
                  <a:lnTo>
                    <a:pt x="370" y="363666"/>
                  </a:lnTo>
                  <a:cubicBezTo>
                    <a:pt x="6" y="362448"/>
                    <a:pt x="0" y="361225"/>
                    <a:pt x="0" y="360000"/>
                  </a:cubicBezTo>
                  <a:cubicBezTo>
                    <a:pt x="0" y="161177"/>
                    <a:pt x="161177" y="0"/>
                    <a:pt x="360000" y="0"/>
                  </a:cubicBezTo>
                  <a:close/>
                </a:path>
              </a:pathLst>
            </a:custGeom>
            <a:solidFill>
              <a:srgbClr val="254061"/>
            </a:solidFill>
            <a:ln w="28575" cap="flat" cmpd="sng" algn="ctr">
              <a:solidFill>
                <a:srgbClr val="F2F2F2"/>
              </a:solidFill>
              <a:prstDash val="solid"/>
            </a:ln>
            <a:effectLst>
              <a:outerShdw blurRad="88900" dist="75434" dir="2699985" rotWithShape="0">
                <a:scrgbClr r="0" g="0" b="0">
                  <a:alpha val="23000"/>
                </a:scrgbClr>
              </a:outerShdw>
            </a:effectLst>
          </p:spPr>
          <p:txBody>
            <a:bodyPr lIns="0" rIns="0" anchor="ctr"/>
            <a:lstStyle/>
            <a:p>
              <a:pPr algn="ctr">
                <a:lnSpc>
                  <a:spcPct val="120000"/>
                </a:lnSpc>
                <a:spcBef>
                  <a:spcPts val="800"/>
                </a:spcBef>
                <a:spcAft>
                  <a:spcPts val="800"/>
                </a:spcAft>
                <a:defRPr/>
              </a:pPr>
              <a:r>
                <a:rPr lang="zh-CN" altLang="en-US" sz="1865" b="1" kern="0" dirty="0">
                  <a:solidFill>
                    <a:srgbClr val="FFFFFF"/>
                  </a:solidFill>
                  <a:latin typeface="Impact" panose="020B0806030902050204" pitchFamily="34" charset="0"/>
                  <a:cs typeface="+mn-ea"/>
                </a:rPr>
                <a:t>文本</a:t>
              </a:r>
              <a:endParaRPr lang="zh-CN" altLang="en-US" sz="1865" b="1" kern="0" dirty="0">
                <a:solidFill>
                  <a:srgbClr val="FFFFFF"/>
                </a:solidFill>
                <a:latin typeface="Impact" panose="020B0806030902050204" pitchFamily="34" charset="0"/>
                <a:cs typeface="+mn-ea"/>
              </a:endParaRPr>
            </a:p>
          </p:txBody>
        </p:sp>
        <p:grpSp>
          <p:nvGrpSpPr>
            <p:cNvPr id="23" name="组合 4"/>
            <p:cNvGrpSpPr/>
            <p:nvPr/>
          </p:nvGrpSpPr>
          <p:grpSpPr bwMode="auto">
            <a:xfrm>
              <a:off x="2339494" y="3098008"/>
              <a:ext cx="2159454" cy="1852993"/>
              <a:chOff x="3859616" y="2360787"/>
              <a:chExt cx="2160000" cy="1852591"/>
            </a:xfrm>
          </p:grpSpPr>
          <p:sp>
            <p:nvSpPr>
              <p:cNvPr id="30" name="同心圆 15"/>
              <p:cNvSpPr/>
              <p:nvPr/>
            </p:nvSpPr>
            <p:spPr>
              <a:xfrm>
                <a:off x="3859576" y="2360066"/>
                <a:ext cx="2159546" cy="1085614"/>
              </a:xfrm>
              <a:custGeom>
                <a:avLst/>
                <a:gdLst/>
                <a:ahLst/>
                <a:cxnLst/>
                <a:rect l="l" t="t" r="r" b="b"/>
                <a:pathLst>
                  <a:path w="2160000" h="1084663">
                    <a:moveTo>
                      <a:pt x="1080000" y="0"/>
                    </a:moveTo>
                    <a:cubicBezTo>
                      <a:pt x="1676468" y="0"/>
                      <a:pt x="2160000" y="483532"/>
                      <a:pt x="2160000" y="1080000"/>
                    </a:cubicBezTo>
                    <a:lnTo>
                      <a:pt x="2159765" y="1084663"/>
                    </a:lnTo>
                    <a:lnTo>
                      <a:pt x="1619530" y="1084663"/>
                    </a:lnTo>
                    <a:cubicBezTo>
                      <a:pt x="1619994" y="1083113"/>
                      <a:pt x="1620000" y="1081557"/>
                      <a:pt x="1620000" y="1080000"/>
                    </a:cubicBezTo>
                    <a:cubicBezTo>
                      <a:pt x="1620000" y="781766"/>
                      <a:pt x="1378234" y="540000"/>
                      <a:pt x="1080000" y="540000"/>
                    </a:cubicBezTo>
                    <a:cubicBezTo>
                      <a:pt x="781766" y="540000"/>
                      <a:pt x="540000" y="781766"/>
                      <a:pt x="540000" y="1080000"/>
                    </a:cubicBezTo>
                    <a:lnTo>
                      <a:pt x="540470" y="1084663"/>
                    </a:lnTo>
                    <a:lnTo>
                      <a:pt x="236" y="1084663"/>
                    </a:lnTo>
                    <a:cubicBezTo>
                      <a:pt x="3" y="1083110"/>
                      <a:pt x="0" y="1081556"/>
                      <a:pt x="0" y="1080000"/>
                    </a:cubicBezTo>
                    <a:cubicBezTo>
                      <a:pt x="0" y="483532"/>
                      <a:pt x="483532" y="0"/>
                      <a:pt x="1080000" y="0"/>
                    </a:cubicBezTo>
                    <a:close/>
                  </a:path>
                </a:pathLst>
              </a:custGeom>
              <a:solidFill>
                <a:srgbClr val="E46C0A"/>
              </a:solidFill>
              <a:ln w="28575" cap="flat" cmpd="sng" algn="ctr">
                <a:solidFill>
                  <a:srgbClr val="F2F2F2"/>
                </a:solidFill>
                <a:prstDash val="solid"/>
              </a:ln>
              <a:effectLst>
                <a:outerShdw blurRad="88900" dist="75434" dir="2699985" rotWithShape="0">
                  <a:scrgbClr r="0" g="0" b="0">
                    <a:alpha val="23000"/>
                  </a:scrgbClr>
                </a:outerShdw>
              </a:effectLst>
            </p:spPr>
            <p:txBody>
              <a:bodyPr spcFirstLastPara="1" lIns="0" rIns="0" numCol="1" anchor="ctr">
                <a:prstTxWarp prst="textArchUp">
                  <a:avLst>
                    <a:gd name="adj" fmla="val 10748910"/>
                  </a:avLst>
                </a:prstTxWarp>
              </a:bodyPr>
              <a:lstStyle/>
              <a:p>
                <a:pPr algn="ctr">
                  <a:lnSpc>
                    <a:spcPct val="120000"/>
                  </a:lnSpc>
                  <a:spcBef>
                    <a:spcPts val="800"/>
                  </a:spcBef>
                  <a:spcAft>
                    <a:spcPts val="800"/>
                  </a:spcAft>
                  <a:defRPr/>
                </a:pPr>
                <a:endParaRPr lang="zh-CN" altLang="en-US" sz="2400" kern="0">
                  <a:solidFill>
                    <a:srgbClr val="FFFFFF"/>
                  </a:solidFill>
                  <a:latin typeface="Impact" panose="020B0806030902050204" pitchFamily="34" charset="0"/>
                  <a:cs typeface="+mn-ea"/>
                </a:endParaRPr>
              </a:p>
            </p:txBody>
          </p:sp>
          <p:sp>
            <p:nvSpPr>
              <p:cNvPr id="34" name="矩形 33"/>
              <p:cNvSpPr/>
              <p:nvPr/>
            </p:nvSpPr>
            <p:spPr>
              <a:xfrm>
                <a:off x="4166161" y="2667000"/>
                <a:ext cx="1546378" cy="1546378"/>
              </a:xfrm>
              <a:prstGeom prst="rect">
                <a:avLst/>
              </a:prstGeom>
              <a:noFill/>
              <a:ln w="25400" cap="flat" cmpd="sng" algn="ctr">
                <a:noFill/>
                <a:prstDash val="solid"/>
              </a:ln>
              <a:effectLst/>
            </p:spPr>
            <p:txBody>
              <a:bodyPr spcFirstLastPara="1" anchor="ctr">
                <a:prstTxWarp prst="textArchUp">
                  <a:avLst/>
                </a:prstTxWarp>
              </a:bodyPr>
              <a:lstStyle/>
              <a:p>
                <a:pPr algn="ctr">
                  <a:defRPr/>
                </a:pPr>
                <a:r>
                  <a:rPr lang="zh-CN" altLang="en-US" sz="1735" kern="0" dirty="0">
                    <a:solidFill>
                      <a:sysClr val="window" lastClr="FFFFFF"/>
                    </a:solidFill>
                    <a:latin typeface="+mn-ea"/>
                    <a:cs typeface="+mn-ea"/>
                  </a:rPr>
                  <a:t>单击此处添加文本</a:t>
                </a:r>
                <a:endParaRPr lang="zh-CN" altLang="en-US" sz="1735" kern="0" dirty="0">
                  <a:solidFill>
                    <a:sysClr val="window" lastClr="FFFFFF"/>
                  </a:solidFill>
                  <a:latin typeface="+mn-ea"/>
                  <a:cs typeface="+mn-ea"/>
                </a:endParaRPr>
              </a:p>
            </p:txBody>
          </p:sp>
        </p:grpSp>
        <p:grpSp>
          <p:nvGrpSpPr>
            <p:cNvPr id="24" name="组合 7"/>
            <p:cNvGrpSpPr/>
            <p:nvPr/>
          </p:nvGrpSpPr>
          <p:grpSpPr bwMode="auto">
            <a:xfrm>
              <a:off x="1618614" y="2378250"/>
              <a:ext cx="3599089" cy="3303007"/>
              <a:chOff x="3138554" y="1641185"/>
              <a:chExt cx="3600000" cy="3302290"/>
            </a:xfrm>
          </p:grpSpPr>
          <p:sp>
            <p:nvSpPr>
              <p:cNvPr id="28" name="同心圆 14"/>
              <p:cNvSpPr/>
              <p:nvPr/>
            </p:nvSpPr>
            <p:spPr>
              <a:xfrm>
                <a:off x="3138669" y="1641084"/>
                <a:ext cx="3599774" cy="1804596"/>
              </a:xfrm>
              <a:custGeom>
                <a:avLst/>
                <a:gdLst/>
                <a:ahLst/>
                <a:cxnLst/>
                <a:rect l="l" t="t" r="r" b="b"/>
                <a:pathLst>
                  <a:path w="3600000" h="1804264">
                    <a:moveTo>
                      <a:pt x="1800000" y="0"/>
                    </a:moveTo>
                    <a:cubicBezTo>
                      <a:pt x="2794113" y="0"/>
                      <a:pt x="3600000" y="805887"/>
                      <a:pt x="3600000" y="1800000"/>
                    </a:cubicBezTo>
                    <a:lnTo>
                      <a:pt x="3599785" y="1804264"/>
                    </a:lnTo>
                    <a:lnTo>
                      <a:pt x="3058885" y="1804264"/>
                    </a:lnTo>
                    <a:cubicBezTo>
                      <a:pt x="3059098" y="1802844"/>
                      <a:pt x="3059100" y="1801422"/>
                      <a:pt x="3059100" y="1800000"/>
                    </a:cubicBezTo>
                    <a:cubicBezTo>
                      <a:pt x="3059100" y="1104618"/>
                      <a:pt x="2495382" y="540900"/>
                      <a:pt x="1800000" y="540900"/>
                    </a:cubicBezTo>
                    <a:cubicBezTo>
                      <a:pt x="1104618" y="540900"/>
                      <a:pt x="540900" y="1104618"/>
                      <a:pt x="540900" y="1800000"/>
                    </a:cubicBezTo>
                    <a:lnTo>
                      <a:pt x="541115" y="1804264"/>
                    </a:lnTo>
                    <a:lnTo>
                      <a:pt x="215" y="1804264"/>
                    </a:lnTo>
                    <a:cubicBezTo>
                      <a:pt x="2" y="1802844"/>
                      <a:pt x="0" y="1801422"/>
                      <a:pt x="0" y="1800000"/>
                    </a:cubicBezTo>
                    <a:cubicBezTo>
                      <a:pt x="0" y="805887"/>
                      <a:pt x="805887" y="0"/>
                      <a:pt x="1800000" y="0"/>
                    </a:cubicBezTo>
                    <a:close/>
                  </a:path>
                </a:pathLst>
              </a:custGeom>
              <a:solidFill>
                <a:srgbClr val="254061"/>
              </a:solidFill>
              <a:ln w="28575" cap="flat" cmpd="sng" algn="ctr">
                <a:solidFill>
                  <a:srgbClr val="F2F2F2"/>
                </a:solidFill>
                <a:prstDash val="solid"/>
              </a:ln>
              <a:effectLst>
                <a:outerShdw blurRad="88900" dist="75434" dir="2699985" rotWithShape="0">
                  <a:scrgbClr r="0" g="0" b="0">
                    <a:alpha val="23000"/>
                  </a:scrgbClr>
                </a:outerShdw>
              </a:effectLst>
            </p:spPr>
            <p:txBody>
              <a:bodyPr lIns="0" rIns="0" anchor="ctr"/>
              <a:lstStyle/>
              <a:p>
                <a:pPr marL="243205" indent="-243205">
                  <a:lnSpc>
                    <a:spcPct val="120000"/>
                  </a:lnSpc>
                  <a:spcBef>
                    <a:spcPts val="800"/>
                  </a:spcBef>
                  <a:spcAft>
                    <a:spcPts val="800"/>
                  </a:spcAft>
                  <a:buFont typeface="Arial" panose="020B0604020202020204" pitchFamily="34" charset="0"/>
                  <a:buChar char="•"/>
                  <a:defRPr/>
                </a:pPr>
                <a:endParaRPr lang="zh-CN" altLang="en-US" sz="1865" kern="0">
                  <a:solidFill>
                    <a:srgbClr val="FFFFFF"/>
                  </a:solidFill>
                  <a:latin typeface="+mn-ea"/>
                  <a:cs typeface="+mn-ea"/>
                </a:endParaRPr>
              </a:p>
            </p:txBody>
          </p:sp>
          <p:sp>
            <p:nvSpPr>
              <p:cNvPr id="29" name="矩形 28"/>
              <p:cNvSpPr/>
              <p:nvPr/>
            </p:nvSpPr>
            <p:spPr>
              <a:xfrm>
                <a:off x="3436064" y="1936903"/>
                <a:ext cx="3006572" cy="3006572"/>
              </a:xfrm>
              <a:prstGeom prst="rect">
                <a:avLst/>
              </a:prstGeom>
              <a:noFill/>
              <a:ln w="25400" cap="flat" cmpd="sng" algn="ctr">
                <a:noFill/>
                <a:prstDash val="solid"/>
              </a:ln>
              <a:effectLst/>
            </p:spPr>
            <p:txBody>
              <a:bodyPr spcFirstLastPara="1" anchor="ctr">
                <a:prstTxWarp prst="textArchUp">
                  <a:avLst/>
                </a:prstTxWarp>
              </a:bodyPr>
              <a:lstStyle/>
              <a:p>
                <a:pPr algn="ctr">
                  <a:defRPr/>
                </a:pPr>
                <a:r>
                  <a:rPr lang="zh-CN" altLang="en-US" sz="1735" kern="0" dirty="0">
                    <a:solidFill>
                      <a:srgbClr val="FFFFFF"/>
                    </a:solidFill>
                    <a:latin typeface="+mn-ea"/>
                    <a:cs typeface="+mn-ea"/>
                  </a:rPr>
                  <a:t>此处添加文本，此处添加文本</a:t>
                </a:r>
                <a:endParaRPr lang="zh-CN" altLang="en-US" sz="1735" kern="0" dirty="0">
                  <a:solidFill>
                    <a:srgbClr val="FFFFFF"/>
                  </a:solidFill>
                  <a:latin typeface="+mn-ea"/>
                  <a:cs typeface="+mn-ea"/>
                </a:endParaRPr>
              </a:p>
            </p:txBody>
          </p:sp>
        </p:grpSp>
        <p:grpSp>
          <p:nvGrpSpPr>
            <p:cNvPr id="25" name="组合 24"/>
            <p:cNvGrpSpPr/>
            <p:nvPr/>
          </p:nvGrpSpPr>
          <p:grpSpPr bwMode="auto">
            <a:xfrm>
              <a:off x="899592" y="1659012"/>
              <a:ext cx="5038725" cy="4729162"/>
              <a:chOff x="2419350" y="922103"/>
              <a:chExt cx="5040000" cy="4728135"/>
            </a:xfrm>
          </p:grpSpPr>
          <p:sp>
            <p:nvSpPr>
              <p:cNvPr id="26" name="同心圆 2"/>
              <p:cNvSpPr/>
              <p:nvPr/>
            </p:nvSpPr>
            <p:spPr>
              <a:xfrm>
                <a:off x="2419350" y="922103"/>
                <a:ext cx="5040000" cy="2523577"/>
              </a:xfrm>
              <a:custGeom>
                <a:avLst/>
                <a:gdLst/>
                <a:ahLst/>
                <a:cxnLst/>
                <a:rect l="l" t="t" r="r" b="b"/>
                <a:pathLst>
                  <a:path w="5040000" h="2523347">
                    <a:moveTo>
                      <a:pt x="2520000" y="0"/>
                    </a:moveTo>
                    <a:cubicBezTo>
                      <a:pt x="3911758" y="0"/>
                      <a:pt x="5040000" y="1128242"/>
                      <a:pt x="5040000" y="2520000"/>
                    </a:cubicBezTo>
                    <a:lnTo>
                      <a:pt x="5039831" y="2523347"/>
                    </a:lnTo>
                    <a:lnTo>
                      <a:pt x="4496065" y="2523347"/>
                    </a:lnTo>
                    <a:cubicBezTo>
                      <a:pt x="4496233" y="2522232"/>
                      <a:pt x="4496234" y="2521116"/>
                      <a:pt x="4496234" y="2520000"/>
                    </a:cubicBezTo>
                    <a:cubicBezTo>
                      <a:pt x="4496234" y="1428556"/>
                      <a:pt x="3611444" y="543766"/>
                      <a:pt x="2520000" y="543766"/>
                    </a:cubicBezTo>
                    <a:cubicBezTo>
                      <a:pt x="1428556" y="543766"/>
                      <a:pt x="543766" y="1428556"/>
                      <a:pt x="543766" y="2520000"/>
                    </a:cubicBezTo>
                    <a:lnTo>
                      <a:pt x="543935" y="2523347"/>
                    </a:lnTo>
                    <a:lnTo>
                      <a:pt x="169" y="2523347"/>
                    </a:lnTo>
                    <a:cubicBezTo>
                      <a:pt x="1" y="2522232"/>
                      <a:pt x="0" y="2521116"/>
                      <a:pt x="0" y="2520000"/>
                    </a:cubicBezTo>
                    <a:cubicBezTo>
                      <a:pt x="0" y="1128242"/>
                      <a:pt x="1128242" y="0"/>
                      <a:pt x="2520000" y="0"/>
                    </a:cubicBezTo>
                    <a:close/>
                  </a:path>
                </a:pathLst>
              </a:custGeom>
              <a:solidFill>
                <a:srgbClr val="E46C0A"/>
              </a:solidFill>
              <a:ln w="28575" cap="flat" cmpd="sng" algn="ctr">
                <a:solidFill>
                  <a:srgbClr val="F2F2F2"/>
                </a:solidFill>
                <a:prstDash val="solid"/>
              </a:ln>
              <a:effectLst>
                <a:outerShdw blurRad="88900" dist="75434" dir="2699985" rotWithShape="0">
                  <a:scrgbClr r="0" g="0" b="0">
                    <a:alpha val="23000"/>
                  </a:scrgbClr>
                </a:outerShdw>
              </a:effectLst>
            </p:spPr>
            <p:txBody>
              <a:bodyPr anchor="ctr"/>
              <a:lstStyle/>
              <a:p>
                <a:pPr algn="ctr">
                  <a:lnSpc>
                    <a:spcPct val="120000"/>
                  </a:lnSpc>
                  <a:defRPr/>
                </a:pPr>
                <a:endParaRPr lang="zh-CN" altLang="en-US" sz="1600" kern="0">
                  <a:solidFill>
                    <a:srgbClr val="FFFFFF"/>
                  </a:solidFill>
                  <a:latin typeface="+mn-ea"/>
                  <a:cs typeface="+mn-ea"/>
                </a:endParaRPr>
              </a:p>
            </p:txBody>
          </p:sp>
          <p:sp>
            <p:nvSpPr>
              <p:cNvPr id="27" name="矩形 26"/>
              <p:cNvSpPr/>
              <p:nvPr/>
            </p:nvSpPr>
            <p:spPr>
              <a:xfrm>
                <a:off x="2731214" y="1233966"/>
                <a:ext cx="4416272" cy="4416272"/>
              </a:xfrm>
              <a:prstGeom prst="rect">
                <a:avLst/>
              </a:prstGeom>
              <a:noFill/>
              <a:ln w="25400" cap="flat" cmpd="sng" algn="ctr">
                <a:noFill/>
                <a:prstDash val="solid"/>
              </a:ln>
              <a:effectLst/>
            </p:spPr>
            <p:txBody>
              <a:bodyPr spcFirstLastPara="1" anchor="ctr">
                <a:prstTxWarp prst="textArchUp">
                  <a:avLst/>
                </a:prstTxWarp>
              </a:bodyPr>
              <a:lstStyle/>
              <a:p>
                <a:pPr algn="ctr">
                  <a:defRPr/>
                </a:pPr>
                <a:r>
                  <a:rPr lang="zh-CN" altLang="en-US" sz="1735" kern="0" dirty="0">
                    <a:solidFill>
                      <a:srgbClr val="FFFFFF"/>
                    </a:solidFill>
                    <a:latin typeface="+mn-ea"/>
                    <a:cs typeface="+mn-ea"/>
                  </a:rPr>
                  <a:t>单击此处添加文本，单击此处添加文本</a:t>
                </a:r>
                <a:endParaRPr lang="zh-CN" altLang="en-US" sz="1735" kern="0" dirty="0">
                  <a:solidFill>
                    <a:srgbClr val="FFFFFF"/>
                  </a:solidFill>
                  <a:latin typeface="+mn-ea"/>
                  <a:cs typeface="+mn-ea"/>
                </a:endParaRPr>
              </a:p>
            </p:txBody>
          </p:sp>
        </p:grpSp>
      </p:grpSp>
      <p:sp>
        <p:nvSpPr>
          <p:cNvPr id="35" name="AutoShape 7"/>
          <p:cNvSpPr/>
          <p:nvPr/>
        </p:nvSpPr>
        <p:spPr bwMode="auto">
          <a:xfrm>
            <a:off x="8243621" y="4633642"/>
            <a:ext cx="4859935" cy="741621"/>
          </a:xfrm>
          <a:prstGeom prst="accentCallout2">
            <a:avLst>
              <a:gd name="adj1" fmla="val 18750"/>
              <a:gd name="adj2" fmla="val -2421"/>
              <a:gd name="adj3" fmla="val 18750"/>
              <a:gd name="adj4" fmla="val -12097"/>
              <a:gd name="adj5" fmla="val 104426"/>
              <a:gd name="adj6" fmla="val -73236"/>
            </a:avLst>
          </a:prstGeom>
          <a:noFill/>
          <a:ln w="9525">
            <a:solidFill>
              <a:srgbClr val="1C1C1C"/>
            </a:solidFill>
            <a:miter lim="800000"/>
            <a:headEnd type="diamond" w="med" len="med"/>
            <a:tailEnd type="diamond" w="med" len="med"/>
          </a:ln>
        </p:spPr>
        <p:txBody>
          <a:bodyPr anchor="ctr"/>
          <a:lstStyle/>
          <a:p>
            <a:pPr defTabSz="121920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a:p>
            <a:pPr defTabSz="121920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p:txBody>
      </p:sp>
      <p:sp>
        <p:nvSpPr>
          <p:cNvPr id="36" name="AutoShape 8"/>
          <p:cNvSpPr/>
          <p:nvPr/>
        </p:nvSpPr>
        <p:spPr bwMode="gray">
          <a:xfrm>
            <a:off x="7776245" y="3517346"/>
            <a:ext cx="4751247" cy="741621"/>
          </a:xfrm>
          <a:prstGeom prst="accentCallout2">
            <a:avLst>
              <a:gd name="adj1" fmla="val 18750"/>
              <a:gd name="adj2" fmla="val -2241"/>
              <a:gd name="adj3" fmla="val 18750"/>
              <a:gd name="adj4" fmla="val -13444"/>
              <a:gd name="adj5" fmla="val 148958"/>
              <a:gd name="adj6" fmla="val -58356"/>
            </a:avLst>
          </a:prstGeom>
          <a:noFill/>
          <a:ln w="9525">
            <a:solidFill>
              <a:srgbClr val="1C1C1C"/>
            </a:solidFill>
            <a:miter lim="800000"/>
            <a:headEnd type="diamond" w="med" len="med"/>
            <a:tailEnd type="diamond" w="med" len="med"/>
          </a:ln>
        </p:spPr>
        <p:txBody>
          <a:bodyPr anchor="ctr"/>
          <a:lstStyle/>
          <a:p>
            <a:pPr defTabSz="121920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a:p>
            <a:pPr defTabSz="121920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p:txBody>
      </p:sp>
      <p:sp>
        <p:nvSpPr>
          <p:cNvPr id="37" name="AutoShape 9"/>
          <p:cNvSpPr/>
          <p:nvPr/>
        </p:nvSpPr>
        <p:spPr bwMode="gray">
          <a:xfrm>
            <a:off x="7136981" y="2503411"/>
            <a:ext cx="4718435" cy="741621"/>
          </a:xfrm>
          <a:prstGeom prst="accentCallout2">
            <a:avLst>
              <a:gd name="adj1" fmla="val 18750"/>
              <a:gd name="adj2" fmla="val -2250"/>
              <a:gd name="adj3" fmla="val 18750"/>
              <a:gd name="adj4" fmla="val -14759"/>
              <a:gd name="adj5" fmla="val 179690"/>
              <a:gd name="adj6" fmla="val -49389"/>
            </a:avLst>
          </a:prstGeom>
          <a:noFill/>
          <a:ln w="9525">
            <a:solidFill>
              <a:srgbClr val="1C1C1C"/>
            </a:solidFill>
            <a:miter lim="800000"/>
            <a:headEnd type="diamond" w="med" len="med"/>
            <a:tailEnd type="diamond" w="med" len="med"/>
          </a:ln>
        </p:spPr>
        <p:txBody>
          <a:bodyPr anchor="ctr"/>
          <a:lstStyle/>
          <a:p>
            <a:pPr defTabSz="121920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a:p>
            <a:pPr defTabSz="121920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p:txBody>
      </p:sp>
      <p:sp>
        <p:nvSpPr>
          <p:cNvPr id="38" name="AutoShape 10"/>
          <p:cNvSpPr/>
          <p:nvPr/>
        </p:nvSpPr>
        <p:spPr bwMode="auto">
          <a:xfrm>
            <a:off x="6281413" y="1508787"/>
            <a:ext cx="5381983" cy="741621"/>
          </a:xfrm>
          <a:prstGeom prst="accentCallout2">
            <a:avLst>
              <a:gd name="adj1" fmla="val 18750"/>
              <a:gd name="adj2" fmla="val -2259"/>
              <a:gd name="adj3" fmla="val 18750"/>
              <a:gd name="adj4" fmla="val -14884"/>
              <a:gd name="adj5" fmla="val 204690"/>
              <a:gd name="adj6" fmla="val -42301"/>
            </a:avLst>
          </a:prstGeom>
          <a:noFill/>
          <a:ln w="9525">
            <a:solidFill>
              <a:srgbClr val="1C1C1C"/>
            </a:solidFill>
            <a:miter lim="800000"/>
            <a:headEnd type="diamond" w="med" len="med"/>
            <a:tailEnd type="diamond" w="med" len="med"/>
          </a:ln>
        </p:spPr>
        <p:txBody>
          <a:bodyPr anchor="ctr"/>
          <a:lstStyle/>
          <a:p>
            <a:pPr defTabSz="121920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a:p>
            <a:pPr defTabSz="121920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p:txBody>
      </p:sp>
      <p:sp>
        <p:nvSpPr>
          <p:cNvPr id="20"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9" name="文本框 38"/>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1000"/>
                                        <p:tgtEl>
                                          <p:spTgt spid="35"/>
                                        </p:tgtEl>
                                      </p:cBhvr>
                                    </p:animEffect>
                                    <p:anim calcmode="lin" valueType="num">
                                      <p:cBhvr>
                                        <p:cTn id="14" dur="1000" fill="hold"/>
                                        <p:tgtEl>
                                          <p:spTgt spid="35"/>
                                        </p:tgtEl>
                                        <p:attrNameLst>
                                          <p:attrName>ppt_x</p:attrName>
                                        </p:attrNameLst>
                                      </p:cBhvr>
                                      <p:tavLst>
                                        <p:tav tm="0">
                                          <p:val>
                                            <p:strVal val="#ppt_x"/>
                                          </p:val>
                                        </p:tav>
                                        <p:tav tm="100000">
                                          <p:val>
                                            <p:strVal val="#ppt_x"/>
                                          </p:val>
                                        </p:tav>
                                      </p:tavLst>
                                    </p:anim>
                                    <p:anim calcmode="lin" valueType="num">
                                      <p:cBhvr>
                                        <p:cTn id="15" dur="1000" fill="hold"/>
                                        <p:tgtEl>
                                          <p:spTgt spid="3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1000"/>
                                        <p:tgtEl>
                                          <p:spTgt spid="36"/>
                                        </p:tgtEl>
                                      </p:cBhvr>
                                    </p:animEffect>
                                    <p:anim calcmode="lin" valueType="num">
                                      <p:cBhvr>
                                        <p:cTn id="20" dur="1000" fill="hold"/>
                                        <p:tgtEl>
                                          <p:spTgt spid="36"/>
                                        </p:tgtEl>
                                        <p:attrNameLst>
                                          <p:attrName>ppt_x</p:attrName>
                                        </p:attrNameLst>
                                      </p:cBhvr>
                                      <p:tavLst>
                                        <p:tav tm="0">
                                          <p:val>
                                            <p:strVal val="#ppt_x"/>
                                          </p:val>
                                        </p:tav>
                                        <p:tav tm="100000">
                                          <p:val>
                                            <p:strVal val="#ppt_x"/>
                                          </p:val>
                                        </p:tav>
                                      </p:tavLst>
                                    </p:anim>
                                    <p:anim calcmode="lin" valueType="num">
                                      <p:cBhvr>
                                        <p:cTn id="21" dur="1000" fill="hold"/>
                                        <p:tgtEl>
                                          <p:spTgt spid="36"/>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fade">
                                      <p:cBhvr>
                                        <p:cTn id="25" dur="1000"/>
                                        <p:tgtEl>
                                          <p:spTgt spid="37"/>
                                        </p:tgtEl>
                                      </p:cBhvr>
                                    </p:animEffect>
                                    <p:anim calcmode="lin" valueType="num">
                                      <p:cBhvr>
                                        <p:cTn id="26" dur="1000" fill="hold"/>
                                        <p:tgtEl>
                                          <p:spTgt spid="37"/>
                                        </p:tgtEl>
                                        <p:attrNameLst>
                                          <p:attrName>ppt_x</p:attrName>
                                        </p:attrNameLst>
                                      </p:cBhvr>
                                      <p:tavLst>
                                        <p:tav tm="0">
                                          <p:val>
                                            <p:strVal val="#ppt_x"/>
                                          </p:val>
                                        </p:tav>
                                        <p:tav tm="100000">
                                          <p:val>
                                            <p:strVal val="#ppt_x"/>
                                          </p:val>
                                        </p:tav>
                                      </p:tavLst>
                                    </p:anim>
                                    <p:anim calcmode="lin" valueType="num">
                                      <p:cBhvr>
                                        <p:cTn id="27" dur="1000" fill="hold"/>
                                        <p:tgtEl>
                                          <p:spTgt spid="37"/>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fade">
                                      <p:cBhvr>
                                        <p:cTn id="31" dur="1000"/>
                                        <p:tgtEl>
                                          <p:spTgt spid="38"/>
                                        </p:tgtEl>
                                      </p:cBhvr>
                                    </p:animEffect>
                                    <p:anim calcmode="lin" valueType="num">
                                      <p:cBhvr>
                                        <p:cTn id="32" dur="1000" fill="hold"/>
                                        <p:tgtEl>
                                          <p:spTgt spid="38"/>
                                        </p:tgtEl>
                                        <p:attrNameLst>
                                          <p:attrName>ppt_x</p:attrName>
                                        </p:attrNameLst>
                                      </p:cBhvr>
                                      <p:tavLst>
                                        <p:tav tm="0">
                                          <p:val>
                                            <p:strVal val="#ppt_x"/>
                                          </p:val>
                                        </p:tav>
                                        <p:tav tm="100000">
                                          <p:val>
                                            <p:strVal val="#ppt_x"/>
                                          </p:val>
                                        </p:tav>
                                      </p:tavLst>
                                    </p:anim>
                                    <p:anim calcmode="lin" valueType="num">
                                      <p:cBhvr>
                                        <p:cTn id="33" dur="1000" fill="hold"/>
                                        <p:tgtEl>
                                          <p:spTgt spid="38"/>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22" presetClass="entr" presetSubtype="4" fill="hold" grpId="0" nodeType="after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wipe(down)">
                                      <p:cBhvr>
                                        <p:cTn id="37" dur="125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37" grpId="0" animBg="1"/>
      <p:bldP spid="38" grpId="0" animBg="1"/>
      <p:bldP spid="3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bwMode="auto">
          <a:xfrm>
            <a:off x="7020985" y="1927920"/>
            <a:ext cx="3323167" cy="3325283"/>
            <a:chOff x="7021513" y="1484313"/>
            <a:chExt cx="3322637" cy="3324225"/>
          </a:xfrm>
        </p:grpSpPr>
        <p:sp>
          <p:nvSpPr>
            <p:cNvPr id="13" name="椭圆 12"/>
            <p:cNvSpPr/>
            <p:nvPr/>
          </p:nvSpPr>
          <p:spPr>
            <a:xfrm>
              <a:off x="7021513" y="1484313"/>
              <a:ext cx="3322637" cy="3324225"/>
            </a:xfrm>
            <a:prstGeom prst="ellips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7" name="文本框 40"/>
            <p:cNvSpPr txBox="1">
              <a:spLocks noChangeArrowheads="1"/>
            </p:cNvSpPr>
            <p:nvPr/>
          </p:nvSpPr>
          <p:spPr bwMode="auto">
            <a:xfrm>
              <a:off x="7605713" y="1954213"/>
              <a:ext cx="2154237" cy="707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18" name="文本框 48"/>
            <p:cNvSpPr txBox="1">
              <a:spLocks noChangeArrowheads="1"/>
            </p:cNvSpPr>
            <p:nvPr/>
          </p:nvSpPr>
          <p:spPr bwMode="auto">
            <a:xfrm>
              <a:off x="7605713" y="2708276"/>
              <a:ext cx="2154237" cy="461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a:solidFill>
                    <a:srgbClr val="FFFFFF"/>
                  </a:solidFill>
                  <a:latin typeface="+mn-ea"/>
                  <a:ea typeface="+mn-ea"/>
                  <a:cs typeface="+mn-ea"/>
                </a:rPr>
                <a:t>标题文字</a:t>
              </a:r>
              <a:endParaRPr lang="zh-CN" altLang="en-US" sz="2400">
                <a:solidFill>
                  <a:srgbClr val="FFFFFF"/>
                </a:solidFill>
                <a:latin typeface="+mn-ea"/>
                <a:ea typeface="+mn-ea"/>
                <a:cs typeface="+mn-ea"/>
              </a:endParaRPr>
            </a:p>
          </p:txBody>
        </p:sp>
        <p:sp>
          <p:nvSpPr>
            <p:cNvPr id="19" name="五角星 18"/>
            <p:cNvSpPr/>
            <p:nvPr/>
          </p:nvSpPr>
          <p:spPr>
            <a:xfrm>
              <a:off x="8602410" y="3830949"/>
              <a:ext cx="287821"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20" name="五角星 19"/>
            <p:cNvSpPr/>
            <p:nvPr/>
          </p:nvSpPr>
          <p:spPr>
            <a:xfrm>
              <a:off x="8151633" y="3841530"/>
              <a:ext cx="289936"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21" name="五角星 20"/>
            <p:cNvSpPr/>
            <p:nvPr/>
          </p:nvSpPr>
          <p:spPr>
            <a:xfrm>
              <a:off x="9051072" y="3839413"/>
              <a:ext cx="289938"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grpSp>
      <p:grpSp>
        <p:nvGrpSpPr>
          <p:cNvPr id="5" name="组合 4"/>
          <p:cNvGrpSpPr/>
          <p:nvPr/>
        </p:nvGrpSpPr>
        <p:grpSpPr bwMode="auto">
          <a:xfrm>
            <a:off x="4345518" y="1927920"/>
            <a:ext cx="3323167" cy="3325283"/>
            <a:chOff x="4344988" y="1484313"/>
            <a:chExt cx="3324225" cy="3324225"/>
          </a:xfrm>
        </p:grpSpPr>
        <p:sp>
          <p:nvSpPr>
            <p:cNvPr id="6" name="椭圆 5"/>
            <p:cNvSpPr/>
            <p:nvPr/>
          </p:nvSpPr>
          <p:spPr>
            <a:xfrm>
              <a:off x="4344988" y="1484313"/>
              <a:ext cx="3324225" cy="3324225"/>
            </a:xfrm>
            <a:prstGeom prst="ellips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7" name="文本框 39"/>
            <p:cNvSpPr txBox="1">
              <a:spLocks noChangeArrowheads="1"/>
            </p:cNvSpPr>
            <p:nvPr/>
          </p:nvSpPr>
          <p:spPr bwMode="auto">
            <a:xfrm>
              <a:off x="4930774" y="1954213"/>
              <a:ext cx="2152649" cy="707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8" name="文本框 47"/>
            <p:cNvSpPr txBox="1">
              <a:spLocks noChangeArrowheads="1"/>
            </p:cNvSpPr>
            <p:nvPr/>
          </p:nvSpPr>
          <p:spPr bwMode="auto">
            <a:xfrm>
              <a:off x="4930774" y="2708276"/>
              <a:ext cx="2152649" cy="461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a:solidFill>
                    <a:srgbClr val="FFFFFF"/>
                  </a:solidFill>
                  <a:latin typeface="+mn-ea"/>
                  <a:ea typeface="+mn-ea"/>
                  <a:cs typeface="+mn-ea"/>
                </a:rPr>
                <a:t>标题文字</a:t>
              </a:r>
              <a:endParaRPr lang="zh-CN" altLang="en-US" sz="2400">
                <a:solidFill>
                  <a:srgbClr val="FFFFFF"/>
                </a:solidFill>
                <a:latin typeface="+mn-ea"/>
                <a:ea typeface="+mn-ea"/>
                <a:cs typeface="+mn-ea"/>
              </a:endParaRPr>
            </a:p>
          </p:txBody>
        </p:sp>
        <p:sp>
          <p:nvSpPr>
            <p:cNvPr id="9" name="五角星 8"/>
            <p:cNvSpPr/>
            <p:nvPr/>
          </p:nvSpPr>
          <p:spPr>
            <a:xfrm>
              <a:off x="5822892" y="3845762"/>
              <a:ext cx="287958" cy="285658"/>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10" name="五角星 9"/>
            <p:cNvSpPr/>
            <p:nvPr/>
          </p:nvSpPr>
          <p:spPr>
            <a:xfrm>
              <a:off x="5371898" y="3856341"/>
              <a:ext cx="290076"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11" name="五角星 10"/>
            <p:cNvSpPr/>
            <p:nvPr/>
          </p:nvSpPr>
          <p:spPr>
            <a:xfrm>
              <a:off x="6271768" y="3852109"/>
              <a:ext cx="287958" cy="289892"/>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grpSp>
      <p:grpSp>
        <p:nvGrpSpPr>
          <p:cNvPr id="22" name="组合 21"/>
          <p:cNvGrpSpPr/>
          <p:nvPr/>
        </p:nvGrpSpPr>
        <p:grpSpPr bwMode="auto">
          <a:xfrm>
            <a:off x="1670051" y="1927920"/>
            <a:ext cx="3323167" cy="3325283"/>
            <a:chOff x="1670050" y="1484313"/>
            <a:chExt cx="3322638" cy="3324225"/>
          </a:xfrm>
        </p:grpSpPr>
        <p:sp>
          <p:nvSpPr>
            <p:cNvPr id="23" name="椭圆 22"/>
            <p:cNvSpPr/>
            <p:nvPr/>
          </p:nvSpPr>
          <p:spPr>
            <a:xfrm>
              <a:off x="1670050" y="1484313"/>
              <a:ext cx="3322638" cy="3324225"/>
            </a:xfrm>
            <a:prstGeom prst="ellips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24" name="文本框 3"/>
            <p:cNvSpPr txBox="1">
              <a:spLocks noChangeArrowheads="1"/>
            </p:cNvSpPr>
            <p:nvPr/>
          </p:nvSpPr>
          <p:spPr bwMode="auto">
            <a:xfrm>
              <a:off x="2254250" y="1954213"/>
              <a:ext cx="2154239" cy="707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25" name="文本框 46"/>
            <p:cNvSpPr txBox="1">
              <a:spLocks noChangeArrowheads="1"/>
            </p:cNvSpPr>
            <p:nvPr/>
          </p:nvSpPr>
          <p:spPr bwMode="auto">
            <a:xfrm>
              <a:off x="2254250" y="2684464"/>
              <a:ext cx="2154239" cy="461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a:solidFill>
                    <a:srgbClr val="FFFFFF"/>
                  </a:solidFill>
                  <a:latin typeface="+mn-ea"/>
                  <a:ea typeface="+mn-ea"/>
                  <a:cs typeface="+mn-ea"/>
                </a:rPr>
                <a:t>标题文字</a:t>
              </a:r>
              <a:endParaRPr lang="zh-CN" altLang="en-US" sz="2400">
                <a:solidFill>
                  <a:srgbClr val="FFFFFF"/>
                </a:solidFill>
                <a:latin typeface="+mn-ea"/>
                <a:ea typeface="+mn-ea"/>
                <a:cs typeface="+mn-ea"/>
              </a:endParaRPr>
            </a:p>
          </p:txBody>
        </p:sp>
        <p:sp>
          <p:nvSpPr>
            <p:cNvPr id="26" name="五角星 25"/>
            <p:cNvSpPr/>
            <p:nvPr/>
          </p:nvSpPr>
          <p:spPr>
            <a:xfrm>
              <a:off x="3221319" y="3830949"/>
              <a:ext cx="287821"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27" name="五角星 26"/>
            <p:cNvSpPr/>
            <p:nvPr/>
          </p:nvSpPr>
          <p:spPr>
            <a:xfrm>
              <a:off x="2772657" y="3841530"/>
              <a:ext cx="285705"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28" name="五角星 27"/>
            <p:cNvSpPr/>
            <p:nvPr/>
          </p:nvSpPr>
          <p:spPr>
            <a:xfrm>
              <a:off x="3669981" y="3839413"/>
              <a:ext cx="289938"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grpSp>
      <p:sp>
        <p:nvSpPr>
          <p:cNvPr id="29"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0" name="文本框 29"/>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wipe(down)">
                                      <p:cBhvr>
                                        <p:cTn id="19" dur="12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descr="C:\Users\shangdongying\Desktop\chciagonight.jpg"/>
          <p:cNvPicPr>
            <a:picLocks noChangeAspect="1" noChangeArrowheads="1"/>
          </p:cNvPicPr>
          <p:nvPr/>
        </p:nvPicPr>
        <p:blipFill>
          <a:blip r:embed="rId1" cstate="print"/>
          <a:srcRect/>
          <a:stretch>
            <a:fillRect/>
          </a:stretch>
        </p:blipFill>
        <p:spPr bwMode="auto">
          <a:xfrm>
            <a:off x="2" y="-27384"/>
            <a:ext cx="12191999" cy="6885384"/>
          </a:xfrm>
          <a:prstGeom prst="rect">
            <a:avLst/>
          </a:prstGeom>
          <a:noFill/>
        </p:spPr>
      </p:pic>
      <p:sp>
        <p:nvSpPr>
          <p:cNvPr id="6" name="梯形 5"/>
          <p:cNvSpPr/>
          <p:nvPr/>
        </p:nvSpPr>
        <p:spPr>
          <a:xfrm rot="5400000">
            <a:off x="2677583" y="-2694383"/>
            <a:ext cx="6858000" cy="12192000"/>
          </a:xfrm>
          <a:prstGeom prst="trapezoid">
            <a:avLst>
              <a:gd name="adj" fmla="val 27989"/>
            </a:avLst>
          </a:prstGeom>
          <a:solidFill>
            <a:schemeClr val="accent6">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7" name="直角三角形 6"/>
          <p:cNvSpPr/>
          <p:nvPr/>
        </p:nvSpPr>
        <p:spPr>
          <a:xfrm flipH="1">
            <a:off x="0" y="4773149"/>
            <a:ext cx="12192000" cy="20848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8" name="直角三角形 7"/>
          <p:cNvSpPr/>
          <p:nvPr/>
        </p:nvSpPr>
        <p:spPr>
          <a:xfrm flipH="1" flipV="1">
            <a:off x="0" y="0"/>
            <a:ext cx="12192000" cy="198884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9" name="TextBox 8"/>
          <p:cNvSpPr txBox="1"/>
          <p:nvPr/>
        </p:nvSpPr>
        <p:spPr>
          <a:xfrm>
            <a:off x="527381" y="1700809"/>
            <a:ext cx="2016224" cy="2533899"/>
          </a:xfrm>
          <a:prstGeom prst="rect">
            <a:avLst/>
          </a:prstGeom>
          <a:noFill/>
        </p:spPr>
        <p:txBody>
          <a:bodyPr wrap="square" rtlCol="0">
            <a:spAutoFit/>
          </a:bodyPr>
          <a:lstStyle/>
          <a:p>
            <a:r>
              <a:rPr lang="en-US" altLang="zh-CN" sz="15865" dirty="0">
                <a:solidFill>
                  <a:schemeClr val="bg1"/>
                </a:solidFill>
                <a:latin typeface="+mn-ea"/>
                <a:cs typeface="+mn-ea"/>
              </a:rPr>
              <a:t>P</a:t>
            </a:r>
            <a:endParaRPr lang="zh-CN" altLang="en-US" sz="15865" dirty="0">
              <a:solidFill>
                <a:schemeClr val="bg1"/>
              </a:solidFill>
              <a:latin typeface="+mn-ea"/>
              <a:cs typeface="+mn-ea"/>
            </a:endParaRPr>
          </a:p>
        </p:txBody>
      </p:sp>
      <p:sp>
        <p:nvSpPr>
          <p:cNvPr id="10" name="TextBox 9"/>
          <p:cNvSpPr txBox="1"/>
          <p:nvPr/>
        </p:nvSpPr>
        <p:spPr>
          <a:xfrm>
            <a:off x="1487488" y="2334931"/>
            <a:ext cx="3360373" cy="1733680"/>
          </a:xfrm>
          <a:prstGeom prst="rect">
            <a:avLst/>
          </a:prstGeom>
          <a:noFill/>
        </p:spPr>
        <p:txBody>
          <a:bodyPr wrap="square" rtlCol="0">
            <a:spAutoFit/>
          </a:bodyPr>
          <a:lstStyle/>
          <a:p>
            <a:r>
              <a:rPr lang="en-US" altLang="zh-CN" sz="10665" dirty="0">
                <a:solidFill>
                  <a:schemeClr val="bg1"/>
                </a:solidFill>
                <a:latin typeface="+mn-ea"/>
                <a:cs typeface="+mn-ea"/>
              </a:rPr>
              <a:t>art</a:t>
            </a:r>
            <a:endParaRPr lang="zh-CN" altLang="en-US" sz="10665" dirty="0">
              <a:solidFill>
                <a:schemeClr val="bg1"/>
              </a:solidFill>
              <a:latin typeface="+mn-ea"/>
              <a:cs typeface="+mn-ea"/>
            </a:endParaRPr>
          </a:p>
        </p:txBody>
      </p:sp>
      <p:sp>
        <p:nvSpPr>
          <p:cNvPr id="11" name="TextBox 10"/>
          <p:cNvSpPr txBox="1"/>
          <p:nvPr/>
        </p:nvSpPr>
        <p:spPr>
          <a:xfrm>
            <a:off x="3599723" y="2336489"/>
            <a:ext cx="4224469" cy="1733680"/>
          </a:xfrm>
          <a:prstGeom prst="rect">
            <a:avLst/>
          </a:prstGeom>
          <a:noFill/>
        </p:spPr>
        <p:txBody>
          <a:bodyPr wrap="square" rtlCol="0">
            <a:spAutoFit/>
          </a:bodyPr>
          <a:lstStyle/>
          <a:p>
            <a:r>
              <a:rPr lang="en-US" altLang="zh-CN" sz="10665" dirty="0">
                <a:solidFill>
                  <a:schemeClr val="bg1"/>
                </a:solidFill>
                <a:latin typeface="+mn-ea"/>
                <a:cs typeface="+mn-ea"/>
              </a:rPr>
              <a:t>three</a:t>
            </a:r>
            <a:endParaRPr lang="zh-CN" altLang="en-US" sz="10665" dirty="0">
              <a:solidFill>
                <a:schemeClr val="bg1"/>
              </a:solidFill>
              <a:latin typeface="+mn-ea"/>
              <a:cs typeface="+mn-ea"/>
            </a:endParaRPr>
          </a:p>
        </p:txBody>
      </p:sp>
      <p:sp>
        <p:nvSpPr>
          <p:cNvPr id="12" name="直角三角形 11"/>
          <p:cNvSpPr/>
          <p:nvPr/>
        </p:nvSpPr>
        <p:spPr>
          <a:xfrm rot="10800000">
            <a:off x="0" y="-3"/>
            <a:ext cx="12192000" cy="20848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nvGrpSpPr>
          <p:cNvPr id="2" name="组合 1"/>
          <p:cNvGrpSpPr/>
          <p:nvPr/>
        </p:nvGrpSpPr>
        <p:grpSpPr>
          <a:xfrm>
            <a:off x="8592275" y="0"/>
            <a:ext cx="3599725" cy="6316257"/>
            <a:chOff x="8592275" y="0"/>
            <a:chExt cx="3599725" cy="6316257"/>
          </a:xfrm>
        </p:grpSpPr>
        <p:sp>
          <p:nvSpPr>
            <p:cNvPr id="14" name="平行四边形 13"/>
            <p:cNvSpPr/>
            <p:nvPr/>
          </p:nvSpPr>
          <p:spPr>
            <a:xfrm rot="5400000" flipH="1">
              <a:off x="8197585" y="394692"/>
              <a:ext cx="4389107" cy="3599723"/>
            </a:xfrm>
            <a:prstGeom prst="parallelogram">
              <a:avLst>
                <a:gd name="adj" fmla="val 63758"/>
              </a:avLst>
            </a:prstGeom>
            <a:solidFill>
              <a:schemeClr val="accent6">
                <a:lumMod val="50000"/>
                <a:alpha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5" name="平行四边形 14"/>
            <p:cNvSpPr/>
            <p:nvPr/>
          </p:nvSpPr>
          <p:spPr>
            <a:xfrm rot="5400000">
              <a:off x="8380937" y="2505195"/>
              <a:ext cx="4022400" cy="3599723"/>
            </a:xfrm>
            <a:prstGeom prst="parallelogram">
              <a:avLst>
                <a:gd name="adj" fmla="val 54036"/>
              </a:avLst>
            </a:prstGeom>
            <a:solidFill>
              <a:schemeClr val="accent6">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sp>
        <p:nvSpPr>
          <p:cNvPr id="16" name="TextBox 51"/>
          <p:cNvSpPr txBox="1"/>
          <p:nvPr/>
        </p:nvSpPr>
        <p:spPr>
          <a:xfrm>
            <a:off x="719403" y="883547"/>
            <a:ext cx="2592288" cy="913007"/>
          </a:xfrm>
          <a:prstGeom prst="rect">
            <a:avLst/>
          </a:prstGeom>
          <a:noFill/>
        </p:spPr>
        <p:txBody>
          <a:bodyPr wrap="square" rtlCol="0">
            <a:spAutoFit/>
          </a:bodyPr>
          <a:lstStyle/>
          <a:p>
            <a:r>
              <a:rPr lang="en-US" altLang="zh-CN" sz="5335" b="1" dirty="0">
                <a:solidFill>
                  <a:schemeClr val="bg1"/>
                </a:solidFill>
                <a:latin typeface="+mn-ea"/>
                <a:cs typeface="+mn-ea"/>
              </a:rPr>
              <a:t>LOGO</a:t>
            </a:r>
            <a:endParaRPr lang="zh-CN" altLang="en-US" sz="5335" b="1" dirty="0">
              <a:solidFill>
                <a:schemeClr val="bg1"/>
              </a:solidFill>
              <a:latin typeface="+mn-ea"/>
              <a:cs typeface="+mn-ea"/>
            </a:endParaRPr>
          </a:p>
        </p:txBody>
      </p:sp>
      <p:sp>
        <p:nvSpPr>
          <p:cNvPr id="17" name="文本框 16"/>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randombar(horizontal)">
                                      <p:cBhvr>
                                        <p:cTn id="7" dur="500"/>
                                        <p:tgtEl>
                                          <p:spTgt spid="9"/>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randombar(horizontal)">
                                      <p:cBhvr>
                                        <p:cTn id="10" dur="500"/>
                                        <p:tgtEl>
                                          <p:spTgt spid="10"/>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randombar(horizontal)">
                                      <p:cBhvr>
                                        <p:cTn id="13" dur="500"/>
                                        <p:tgtEl>
                                          <p:spTgt spid="11"/>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randombar(horizontal)">
                                      <p:cBhvr>
                                        <p:cTn id="16" dur="500"/>
                                        <p:tgtEl>
                                          <p:spTgt spid="16"/>
                                        </p:tgtEl>
                                      </p:cBhvr>
                                    </p:animEffect>
                                  </p:childTnLst>
                                </p:cTn>
                              </p:par>
                            </p:childTnLst>
                          </p:cTn>
                        </p:par>
                        <p:par>
                          <p:cTn id="17" fill="hold">
                            <p:stCondLst>
                              <p:cond delay="500"/>
                            </p:stCondLst>
                            <p:childTnLst>
                              <p:par>
                                <p:cTn id="18" presetID="22" presetClass="entr" presetSubtype="4"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wipe(down)">
                                      <p:cBhvr>
                                        <p:cTn id="20" dur="500"/>
                                        <p:tgtEl>
                                          <p:spTgt spid="2"/>
                                        </p:tgtEl>
                                      </p:cBhvr>
                                    </p:animEffect>
                                  </p:childTnLst>
                                </p:cTn>
                              </p:par>
                            </p:childTnLst>
                          </p:cTn>
                        </p:par>
                        <p:par>
                          <p:cTn id="21" fill="hold">
                            <p:stCondLst>
                              <p:cond delay="1000"/>
                            </p:stCondLst>
                            <p:childTnLst>
                              <p:par>
                                <p:cTn id="22" presetID="22" presetClass="entr" presetSubtype="4" fill="hold" grpId="0" nodeType="after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wipe(down)">
                                      <p:cBhvr>
                                        <p:cTn id="24" dur="12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6" grpId="0"/>
      <p:bldP spid="1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utoShape 9"/>
          <p:cNvSpPr>
            <a:spLocks noChangeArrowheads="1"/>
          </p:cNvSpPr>
          <p:nvPr/>
        </p:nvSpPr>
        <p:spPr bwMode="auto">
          <a:xfrm>
            <a:off x="3953339" y="1412777"/>
            <a:ext cx="4470400" cy="766233"/>
          </a:xfrm>
          <a:prstGeom prst="roundRect">
            <a:avLst>
              <a:gd name="adj" fmla="val 50000"/>
            </a:avLst>
          </a:prstGeom>
          <a:solidFill>
            <a:srgbClr val="254061"/>
          </a:solidFill>
          <a:ln w="28575">
            <a:solidFill>
              <a:srgbClr val="F2F2F2"/>
            </a:solidFill>
          </a:ln>
          <a:effectLst>
            <a:outerShdw blurRad="88900" dist="75434" dir="2699985" rotWithShape="0">
              <a:scrgbClr r="0" g="0" b="0">
                <a:alpha val="23000"/>
              </a:scrgbClr>
            </a:outerShdw>
          </a:effectLst>
        </p:spPr>
        <p:txBody>
          <a:bodyPr wrap="none" anchor="ctr"/>
          <a:lstStyle/>
          <a:p>
            <a:pPr algn="ctr" eaLnBrk="0" fontAlgn="base" hangingPunct="0">
              <a:spcBef>
                <a:spcPct val="0"/>
              </a:spcBef>
              <a:spcAft>
                <a:spcPct val="0"/>
              </a:spcAft>
              <a:buFont typeface="Arial" panose="020B0604020202020204" pitchFamily="34" charset="0"/>
              <a:buNone/>
            </a:pPr>
            <a:r>
              <a:rPr lang="zh-CN" altLang="zh-CN" sz="2400">
                <a:solidFill>
                  <a:srgbClr val="FFFFFF"/>
                </a:solidFill>
                <a:latin typeface="Arial" panose="020B0604020202020204" pitchFamily="34" charset="0"/>
                <a:cs typeface="+mn-ea"/>
              </a:rPr>
              <a:t>添加段落文字</a:t>
            </a:r>
            <a:endParaRPr lang="zh-CN" altLang="zh-CN" sz="2400">
              <a:solidFill>
                <a:srgbClr val="FFFFFF"/>
              </a:solidFill>
              <a:latin typeface="Arial" panose="020B0604020202020204" pitchFamily="34" charset="0"/>
              <a:cs typeface="+mn-ea"/>
            </a:endParaRPr>
          </a:p>
        </p:txBody>
      </p:sp>
      <p:sp>
        <p:nvSpPr>
          <p:cNvPr id="30" name="Line 10"/>
          <p:cNvSpPr>
            <a:spLocks noChangeShapeType="1"/>
          </p:cNvSpPr>
          <p:nvPr/>
        </p:nvSpPr>
        <p:spPr bwMode="auto">
          <a:xfrm>
            <a:off x="1871531" y="2658864"/>
            <a:ext cx="8499115" cy="1"/>
          </a:xfrm>
          <a:prstGeom prst="line">
            <a:avLst/>
          </a:prstGeom>
          <a:noFill/>
          <a:ln w="19050" cmpd="sng">
            <a:solidFill>
              <a:srgbClr val="25406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Font typeface="Arial" panose="020B0604020202020204" pitchFamily="34" charset="0"/>
              <a:buNone/>
            </a:pPr>
            <a:endParaRPr lang="zh-CN" altLang="en-US" sz="3735">
              <a:solidFill>
                <a:srgbClr val="000000"/>
              </a:solidFill>
              <a:latin typeface="Arial" panose="020B0604020202020204" pitchFamily="34" charset="0"/>
              <a:cs typeface="+mn-ea"/>
            </a:endParaRPr>
          </a:p>
        </p:txBody>
      </p:sp>
      <p:sp>
        <p:nvSpPr>
          <p:cNvPr id="31" name="Line 11"/>
          <p:cNvSpPr>
            <a:spLocks noChangeShapeType="1"/>
          </p:cNvSpPr>
          <p:nvPr/>
        </p:nvSpPr>
        <p:spPr bwMode="auto">
          <a:xfrm>
            <a:off x="2091134" y="2512815"/>
            <a:ext cx="1" cy="1117600"/>
          </a:xfrm>
          <a:prstGeom prst="line">
            <a:avLst/>
          </a:prstGeom>
          <a:noFill/>
          <a:ln w="19050" cmpd="sng">
            <a:solidFill>
              <a:srgbClr val="25406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Font typeface="Arial" panose="020B0604020202020204" pitchFamily="34" charset="0"/>
              <a:buNone/>
            </a:pPr>
            <a:endParaRPr lang="zh-CN" altLang="en-US" sz="3735">
              <a:solidFill>
                <a:srgbClr val="000000"/>
              </a:solidFill>
              <a:latin typeface="Arial" panose="020B0604020202020204" pitchFamily="34" charset="0"/>
              <a:cs typeface="+mn-ea"/>
            </a:endParaRPr>
          </a:p>
        </p:txBody>
      </p:sp>
      <p:sp>
        <p:nvSpPr>
          <p:cNvPr id="32" name="Line 12"/>
          <p:cNvSpPr>
            <a:spLocks noChangeShapeType="1"/>
          </p:cNvSpPr>
          <p:nvPr/>
        </p:nvSpPr>
        <p:spPr bwMode="auto">
          <a:xfrm>
            <a:off x="6186421" y="2252464"/>
            <a:ext cx="1" cy="1016000"/>
          </a:xfrm>
          <a:prstGeom prst="line">
            <a:avLst/>
          </a:prstGeom>
          <a:noFill/>
          <a:ln w="19050" cmpd="sng">
            <a:solidFill>
              <a:srgbClr val="25406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Font typeface="Arial" panose="020B0604020202020204" pitchFamily="34" charset="0"/>
              <a:buNone/>
            </a:pPr>
            <a:endParaRPr lang="zh-CN" altLang="en-US" sz="3735">
              <a:solidFill>
                <a:srgbClr val="000000"/>
              </a:solidFill>
              <a:latin typeface="Arial" panose="020B0604020202020204" pitchFamily="34" charset="0"/>
              <a:cs typeface="+mn-ea"/>
            </a:endParaRPr>
          </a:p>
        </p:txBody>
      </p:sp>
      <p:sp>
        <p:nvSpPr>
          <p:cNvPr id="33" name="Line 13"/>
          <p:cNvSpPr>
            <a:spLocks noChangeShapeType="1"/>
          </p:cNvSpPr>
          <p:nvPr/>
        </p:nvSpPr>
        <p:spPr bwMode="auto">
          <a:xfrm>
            <a:off x="10105098" y="2512815"/>
            <a:ext cx="1" cy="1117600"/>
          </a:xfrm>
          <a:prstGeom prst="line">
            <a:avLst/>
          </a:prstGeom>
          <a:noFill/>
          <a:ln w="19050" cmpd="sng">
            <a:solidFill>
              <a:srgbClr val="25406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Font typeface="Arial" panose="020B0604020202020204" pitchFamily="34" charset="0"/>
              <a:buNone/>
            </a:pPr>
            <a:endParaRPr lang="zh-CN" altLang="en-US" sz="3735">
              <a:solidFill>
                <a:srgbClr val="000000"/>
              </a:solidFill>
              <a:latin typeface="Arial" panose="020B0604020202020204" pitchFamily="34" charset="0"/>
              <a:cs typeface="+mn-ea"/>
            </a:endParaRPr>
          </a:p>
        </p:txBody>
      </p:sp>
      <p:sp>
        <p:nvSpPr>
          <p:cNvPr id="34" name="AutoShape 14"/>
          <p:cNvSpPr>
            <a:spLocks noChangeArrowheads="1"/>
          </p:cNvSpPr>
          <p:nvPr/>
        </p:nvSpPr>
        <p:spPr bwMode="auto">
          <a:xfrm>
            <a:off x="4814822" y="3351313"/>
            <a:ext cx="2738967" cy="766233"/>
          </a:xfrm>
          <a:prstGeom prst="roundRect">
            <a:avLst>
              <a:gd name="adj" fmla="val 50000"/>
            </a:avLst>
          </a:prstGeom>
          <a:solidFill>
            <a:srgbClr val="E46C0A"/>
          </a:solidFill>
          <a:ln w="28575">
            <a:solidFill>
              <a:srgbClr val="F2F2F2"/>
            </a:solidFill>
          </a:ln>
          <a:effectLst>
            <a:outerShdw blurRad="88900" dist="75434" dir="2699985" rotWithShape="0">
              <a:scrgbClr r="0" g="0" b="0">
                <a:alpha val="23000"/>
              </a:scrgbClr>
            </a:outerShdw>
          </a:effectLst>
        </p:spPr>
        <p:txBody>
          <a:bodyPr wrap="none" anchor="ctr"/>
          <a:lstStyle/>
          <a:p>
            <a:pPr algn="ctr" eaLnBrk="0" fontAlgn="base" hangingPunct="0">
              <a:spcBef>
                <a:spcPct val="0"/>
              </a:spcBef>
              <a:spcAft>
                <a:spcPct val="0"/>
              </a:spcAft>
              <a:buFont typeface="Arial" panose="020B0604020202020204" pitchFamily="34" charset="0"/>
              <a:buNone/>
            </a:pPr>
            <a:r>
              <a:rPr lang="zh-CN" altLang="zh-CN" sz="2400">
                <a:solidFill>
                  <a:srgbClr val="FFFFFF"/>
                </a:solidFill>
                <a:latin typeface="Arial" panose="020B0604020202020204" pitchFamily="34" charset="0"/>
                <a:cs typeface="+mn-ea"/>
              </a:rPr>
              <a:t>添加段落文字</a:t>
            </a:r>
            <a:endParaRPr lang="zh-CN" altLang="zh-CN" sz="2400">
              <a:solidFill>
                <a:srgbClr val="FFFFFF"/>
              </a:solidFill>
              <a:latin typeface="Arial" panose="020B0604020202020204" pitchFamily="34" charset="0"/>
              <a:cs typeface="+mn-ea"/>
            </a:endParaRPr>
          </a:p>
        </p:txBody>
      </p:sp>
      <p:sp>
        <p:nvSpPr>
          <p:cNvPr id="35" name="AutoShape 15"/>
          <p:cNvSpPr>
            <a:spLocks noChangeArrowheads="1"/>
          </p:cNvSpPr>
          <p:nvPr/>
        </p:nvSpPr>
        <p:spPr bwMode="auto">
          <a:xfrm>
            <a:off x="668735" y="3675162"/>
            <a:ext cx="2738967" cy="766233"/>
          </a:xfrm>
          <a:prstGeom prst="roundRect">
            <a:avLst>
              <a:gd name="adj" fmla="val 50000"/>
            </a:avLst>
          </a:prstGeom>
          <a:solidFill>
            <a:srgbClr val="E46C0A"/>
          </a:solidFill>
          <a:ln w="28575">
            <a:solidFill>
              <a:srgbClr val="F2F2F2"/>
            </a:solidFill>
          </a:ln>
          <a:effectLst>
            <a:outerShdw blurRad="88900" dist="75434" dir="2699985" rotWithShape="0">
              <a:scrgbClr r="0" g="0" b="0">
                <a:alpha val="23000"/>
              </a:scrgbClr>
            </a:outerShdw>
          </a:effectLst>
        </p:spPr>
        <p:txBody>
          <a:bodyPr wrap="none" anchor="ctr"/>
          <a:lstStyle/>
          <a:p>
            <a:pPr algn="ctr" eaLnBrk="0" fontAlgn="base" hangingPunct="0">
              <a:spcBef>
                <a:spcPct val="0"/>
              </a:spcBef>
              <a:spcAft>
                <a:spcPct val="0"/>
              </a:spcAft>
              <a:buFont typeface="Arial" panose="020B0604020202020204" pitchFamily="34" charset="0"/>
              <a:buNone/>
            </a:pPr>
            <a:r>
              <a:rPr lang="zh-CN" altLang="zh-CN" sz="2400">
                <a:solidFill>
                  <a:srgbClr val="FFFFFF"/>
                </a:solidFill>
                <a:latin typeface="Arial" panose="020B0604020202020204" pitchFamily="34" charset="0"/>
                <a:cs typeface="+mn-ea"/>
              </a:rPr>
              <a:t>添加段落文字</a:t>
            </a:r>
            <a:endParaRPr lang="zh-CN" altLang="zh-CN" sz="2400">
              <a:solidFill>
                <a:srgbClr val="FFFFFF"/>
              </a:solidFill>
              <a:latin typeface="Arial" panose="020B0604020202020204" pitchFamily="34" charset="0"/>
              <a:cs typeface="+mn-ea"/>
            </a:endParaRPr>
          </a:p>
        </p:txBody>
      </p:sp>
      <p:sp>
        <p:nvSpPr>
          <p:cNvPr id="36" name="AutoShape 16"/>
          <p:cNvSpPr>
            <a:spLocks noChangeArrowheads="1"/>
          </p:cNvSpPr>
          <p:nvPr/>
        </p:nvSpPr>
        <p:spPr bwMode="auto">
          <a:xfrm>
            <a:off x="8784299" y="3675162"/>
            <a:ext cx="2738967" cy="766233"/>
          </a:xfrm>
          <a:prstGeom prst="roundRect">
            <a:avLst>
              <a:gd name="adj" fmla="val 50000"/>
            </a:avLst>
          </a:prstGeom>
          <a:solidFill>
            <a:srgbClr val="E46C0A"/>
          </a:solidFill>
          <a:ln w="28575">
            <a:solidFill>
              <a:srgbClr val="F2F2F2"/>
            </a:solidFill>
          </a:ln>
          <a:effectLst>
            <a:outerShdw blurRad="88900" dist="75434" dir="2699985" rotWithShape="0">
              <a:scrgbClr r="0" g="0" b="0">
                <a:alpha val="23000"/>
              </a:scrgbClr>
            </a:outerShdw>
          </a:effectLst>
        </p:spPr>
        <p:txBody>
          <a:bodyPr wrap="none" anchor="ctr"/>
          <a:lstStyle/>
          <a:p>
            <a:pPr algn="ctr" eaLnBrk="0" fontAlgn="base" hangingPunct="0">
              <a:spcBef>
                <a:spcPct val="0"/>
              </a:spcBef>
              <a:spcAft>
                <a:spcPct val="0"/>
              </a:spcAft>
              <a:buFont typeface="Arial" panose="020B0604020202020204" pitchFamily="34" charset="0"/>
              <a:buNone/>
            </a:pPr>
            <a:r>
              <a:rPr lang="zh-CN" altLang="zh-CN" sz="2400">
                <a:solidFill>
                  <a:srgbClr val="FFFFFF"/>
                </a:solidFill>
                <a:latin typeface="Arial" panose="020B0604020202020204" pitchFamily="34" charset="0"/>
                <a:cs typeface="+mn-ea"/>
              </a:rPr>
              <a:t>添加段落文字</a:t>
            </a:r>
            <a:endParaRPr lang="zh-CN" altLang="zh-CN" sz="2400">
              <a:solidFill>
                <a:srgbClr val="FFFFFF"/>
              </a:solidFill>
              <a:latin typeface="Arial" panose="020B0604020202020204" pitchFamily="34" charset="0"/>
              <a:cs typeface="+mn-ea"/>
            </a:endParaRPr>
          </a:p>
        </p:txBody>
      </p:sp>
      <p:sp>
        <p:nvSpPr>
          <p:cNvPr id="37" name="AutoShape 17"/>
          <p:cNvSpPr>
            <a:spLocks noChangeArrowheads="1"/>
          </p:cNvSpPr>
          <p:nvPr/>
        </p:nvSpPr>
        <p:spPr bwMode="auto">
          <a:xfrm>
            <a:off x="3953339" y="5063034"/>
            <a:ext cx="4470400" cy="766233"/>
          </a:xfrm>
          <a:prstGeom prst="roundRect">
            <a:avLst>
              <a:gd name="adj" fmla="val 50000"/>
            </a:avLst>
          </a:prstGeom>
          <a:solidFill>
            <a:srgbClr val="254061"/>
          </a:solidFill>
          <a:ln w="28575">
            <a:solidFill>
              <a:srgbClr val="F2F2F2"/>
            </a:solidFill>
          </a:ln>
          <a:effectLst>
            <a:outerShdw blurRad="88900" dist="75434" dir="2699985" rotWithShape="0">
              <a:scrgbClr r="0" g="0" b="0">
                <a:alpha val="23000"/>
              </a:scrgbClr>
            </a:outerShdw>
          </a:effectLst>
        </p:spPr>
        <p:txBody>
          <a:bodyPr wrap="none" anchor="ctr"/>
          <a:lstStyle/>
          <a:p>
            <a:pPr algn="ctr" eaLnBrk="0" fontAlgn="base" hangingPunct="0">
              <a:spcBef>
                <a:spcPct val="0"/>
              </a:spcBef>
              <a:spcAft>
                <a:spcPct val="0"/>
              </a:spcAft>
              <a:buFont typeface="Arial" panose="020B0604020202020204" pitchFamily="34" charset="0"/>
              <a:buNone/>
            </a:pPr>
            <a:r>
              <a:rPr lang="zh-CN" altLang="zh-CN" sz="2400">
                <a:solidFill>
                  <a:srgbClr val="FFFFFF"/>
                </a:solidFill>
                <a:latin typeface="Arial" panose="020B0604020202020204" pitchFamily="34" charset="0"/>
                <a:cs typeface="+mn-ea"/>
              </a:rPr>
              <a:t>添加段落文字</a:t>
            </a:r>
            <a:endParaRPr lang="zh-CN" altLang="zh-CN" sz="2400">
              <a:solidFill>
                <a:srgbClr val="FFFFFF"/>
              </a:solidFill>
              <a:latin typeface="Arial" panose="020B0604020202020204" pitchFamily="34" charset="0"/>
              <a:cs typeface="+mn-ea"/>
            </a:endParaRPr>
          </a:p>
        </p:txBody>
      </p:sp>
      <p:sp>
        <p:nvSpPr>
          <p:cNvPr id="38" name="Line 18"/>
          <p:cNvSpPr>
            <a:spLocks noChangeShapeType="1"/>
          </p:cNvSpPr>
          <p:nvPr/>
        </p:nvSpPr>
        <p:spPr bwMode="auto">
          <a:xfrm>
            <a:off x="6186421" y="4102927"/>
            <a:ext cx="1" cy="1016000"/>
          </a:xfrm>
          <a:prstGeom prst="line">
            <a:avLst/>
          </a:prstGeom>
          <a:noFill/>
          <a:ln w="19050" cmpd="sng">
            <a:solidFill>
              <a:srgbClr val="25406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Font typeface="Arial" panose="020B0604020202020204" pitchFamily="34" charset="0"/>
              <a:buNone/>
            </a:pPr>
            <a:endParaRPr lang="zh-CN" altLang="en-US" sz="3735">
              <a:solidFill>
                <a:srgbClr val="000000"/>
              </a:solidFill>
              <a:latin typeface="Arial" panose="020B0604020202020204" pitchFamily="34" charset="0"/>
              <a:cs typeface="+mn-ea"/>
            </a:endParaRPr>
          </a:p>
        </p:txBody>
      </p:sp>
      <p:sp>
        <p:nvSpPr>
          <p:cNvPr id="1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18" name="文本框 17"/>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500" fill="hold"/>
                                        <p:tgtEl>
                                          <p:spTgt spid="29"/>
                                        </p:tgtEl>
                                        <p:attrNameLst>
                                          <p:attrName>ppt_x</p:attrName>
                                        </p:attrNameLst>
                                      </p:cBhvr>
                                      <p:tavLst>
                                        <p:tav tm="0">
                                          <p:val>
                                            <p:strVal val="#ppt_x"/>
                                          </p:val>
                                        </p:tav>
                                        <p:tav tm="100000">
                                          <p:val>
                                            <p:strVal val="#ppt_x"/>
                                          </p:val>
                                        </p:tav>
                                      </p:tavLst>
                                    </p:anim>
                                    <p:anim calcmode="lin" valueType="num">
                                      <p:cBhvr additive="base">
                                        <p:cTn id="8" dur="500" fill="hold"/>
                                        <p:tgtEl>
                                          <p:spTgt spid="29"/>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2" presetClass="entr" presetSubtype="1" fill="hold" grpId="0" nodeType="after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wipe(up)">
                                      <p:cBhvr>
                                        <p:cTn id="12" dur="500"/>
                                        <p:tgtEl>
                                          <p:spTgt spid="31"/>
                                        </p:tgtEl>
                                      </p:cBhvr>
                                    </p:animEffect>
                                  </p:childTnLst>
                                </p:cTn>
                              </p:par>
                              <p:par>
                                <p:cTn id="13" presetID="22" presetClass="entr" presetSubtype="1"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wipe(up)">
                                      <p:cBhvr>
                                        <p:cTn id="15" dur="500"/>
                                        <p:tgtEl>
                                          <p:spTgt spid="30"/>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up)">
                                      <p:cBhvr>
                                        <p:cTn id="18" dur="500"/>
                                        <p:tgtEl>
                                          <p:spTgt spid="32"/>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wipe(up)">
                                      <p:cBhvr>
                                        <p:cTn id="21" dur="500"/>
                                        <p:tgtEl>
                                          <p:spTgt spid="33"/>
                                        </p:tgtEl>
                                      </p:cBhvr>
                                    </p:animEffect>
                                  </p:childTnLst>
                                </p:cTn>
                              </p:par>
                            </p:childTnLst>
                          </p:cTn>
                        </p:par>
                        <p:par>
                          <p:cTn id="22" fill="hold">
                            <p:stCondLst>
                              <p:cond delay="1000"/>
                            </p:stCondLst>
                            <p:childTnLst>
                              <p:par>
                                <p:cTn id="23" presetID="2" presetClass="entr" presetSubtype="1" fill="hold" grpId="0" nodeType="afterEffect">
                                  <p:stCondLst>
                                    <p:cond delay="0"/>
                                  </p:stCondLst>
                                  <p:childTnLst>
                                    <p:set>
                                      <p:cBhvr>
                                        <p:cTn id="24" dur="1" fill="hold">
                                          <p:stCondLst>
                                            <p:cond delay="0"/>
                                          </p:stCondLst>
                                        </p:cTn>
                                        <p:tgtEl>
                                          <p:spTgt spid="34"/>
                                        </p:tgtEl>
                                        <p:attrNameLst>
                                          <p:attrName>style.visibility</p:attrName>
                                        </p:attrNameLst>
                                      </p:cBhvr>
                                      <p:to>
                                        <p:strVal val="visible"/>
                                      </p:to>
                                    </p:set>
                                    <p:anim calcmode="lin" valueType="num">
                                      <p:cBhvr additive="base">
                                        <p:cTn id="25" dur="500" fill="hold"/>
                                        <p:tgtEl>
                                          <p:spTgt spid="34"/>
                                        </p:tgtEl>
                                        <p:attrNameLst>
                                          <p:attrName>ppt_x</p:attrName>
                                        </p:attrNameLst>
                                      </p:cBhvr>
                                      <p:tavLst>
                                        <p:tav tm="0">
                                          <p:val>
                                            <p:strVal val="#ppt_x"/>
                                          </p:val>
                                        </p:tav>
                                        <p:tav tm="100000">
                                          <p:val>
                                            <p:strVal val="#ppt_x"/>
                                          </p:val>
                                        </p:tav>
                                      </p:tavLst>
                                    </p:anim>
                                    <p:anim calcmode="lin" valueType="num">
                                      <p:cBhvr additive="base">
                                        <p:cTn id="26" dur="500" fill="hold"/>
                                        <p:tgtEl>
                                          <p:spTgt spid="34"/>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35"/>
                                        </p:tgtEl>
                                        <p:attrNameLst>
                                          <p:attrName>style.visibility</p:attrName>
                                        </p:attrNameLst>
                                      </p:cBhvr>
                                      <p:to>
                                        <p:strVal val="visible"/>
                                      </p:to>
                                    </p:set>
                                    <p:anim calcmode="lin" valueType="num">
                                      <p:cBhvr additive="base">
                                        <p:cTn id="29" dur="500" fill="hold"/>
                                        <p:tgtEl>
                                          <p:spTgt spid="35"/>
                                        </p:tgtEl>
                                        <p:attrNameLst>
                                          <p:attrName>ppt_x</p:attrName>
                                        </p:attrNameLst>
                                      </p:cBhvr>
                                      <p:tavLst>
                                        <p:tav tm="0">
                                          <p:val>
                                            <p:strVal val="#ppt_x"/>
                                          </p:val>
                                        </p:tav>
                                        <p:tav tm="100000">
                                          <p:val>
                                            <p:strVal val="#ppt_x"/>
                                          </p:val>
                                        </p:tav>
                                      </p:tavLst>
                                    </p:anim>
                                    <p:anim calcmode="lin" valueType="num">
                                      <p:cBhvr additive="base">
                                        <p:cTn id="30" dur="500" fill="hold"/>
                                        <p:tgtEl>
                                          <p:spTgt spid="35"/>
                                        </p:tgtEl>
                                        <p:attrNameLst>
                                          <p:attrName>ppt_y</p:attrName>
                                        </p:attrNameLst>
                                      </p:cBhvr>
                                      <p:tavLst>
                                        <p:tav tm="0">
                                          <p:val>
                                            <p:strVal val="0-#ppt_h/2"/>
                                          </p:val>
                                        </p:tav>
                                        <p:tav tm="100000">
                                          <p:val>
                                            <p:strVal val="#ppt_y"/>
                                          </p:val>
                                        </p:tav>
                                      </p:tavLst>
                                    </p:anim>
                                  </p:childTnLst>
                                </p:cTn>
                              </p:par>
                              <p:par>
                                <p:cTn id="31" presetID="2" presetClass="entr" presetSubtype="1"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 calcmode="lin" valueType="num">
                                      <p:cBhvr additive="base">
                                        <p:cTn id="33" dur="500" fill="hold"/>
                                        <p:tgtEl>
                                          <p:spTgt spid="36"/>
                                        </p:tgtEl>
                                        <p:attrNameLst>
                                          <p:attrName>ppt_x</p:attrName>
                                        </p:attrNameLst>
                                      </p:cBhvr>
                                      <p:tavLst>
                                        <p:tav tm="0">
                                          <p:val>
                                            <p:strVal val="#ppt_x"/>
                                          </p:val>
                                        </p:tav>
                                        <p:tav tm="100000">
                                          <p:val>
                                            <p:strVal val="#ppt_x"/>
                                          </p:val>
                                        </p:tav>
                                      </p:tavLst>
                                    </p:anim>
                                    <p:anim calcmode="lin" valueType="num">
                                      <p:cBhvr additive="base">
                                        <p:cTn id="34" dur="500" fill="hold"/>
                                        <p:tgtEl>
                                          <p:spTgt spid="36"/>
                                        </p:tgtEl>
                                        <p:attrNameLst>
                                          <p:attrName>ppt_y</p:attrName>
                                        </p:attrNameLst>
                                      </p:cBhvr>
                                      <p:tavLst>
                                        <p:tav tm="0">
                                          <p:val>
                                            <p:strVal val="0-#ppt_h/2"/>
                                          </p:val>
                                        </p:tav>
                                        <p:tav tm="100000">
                                          <p:val>
                                            <p:strVal val="#ppt_y"/>
                                          </p:val>
                                        </p:tav>
                                      </p:tavLst>
                                    </p:anim>
                                  </p:childTnLst>
                                </p:cTn>
                              </p:par>
                            </p:childTnLst>
                          </p:cTn>
                        </p:par>
                        <p:par>
                          <p:cTn id="35" fill="hold">
                            <p:stCondLst>
                              <p:cond delay="1500"/>
                            </p:stCondLst>
                            <p:childTnLst>
                              <p:par>
                                <p:cTn id="36" presetID="22" presetClass="entr" presetSubtype="1" fill="hold" grpId="0" nodeType="afterEffect">
                                  <p:stCondLst>
                                    <p:cond delay="0"/>
                                  </p:stCondLst>
                                  <p:childTnLst>
                                    <p:set>
                                      <p:cBhvr>
                                        <p:cTn id="37" dur="1" fill="hold">
                                          <p:stCondLst>
                                            <p:cond delay="0"/>
                                          </p:stCondLst>
                                        </p:cTn>
                                        <p:tgtEl>
                                          <p:spTgt spid="38"/>
                                        </p:tgtEl>
                                        <p:attrNameLst>
                                          <p:attrName>style.visibility</p:attrName>
                                        </p:attrNameLst>
                                      </p:cBhvr>
                                      <p:to>
                                        <p:strVal val="visible"/>
                                      </p:to>
                                    </p:set>
                                    <p:animEffect transition="in" filter="wipe(up)">
                                      <p:cBhvr>
                                        <p:cTn id="38" dur="500"/>
                                        <p:tgtEl>
                                          <p:spTgt spid="38"/>
                                        </p:tgtEl>
                                      </p:cBhvr>
                                    </p:animEffect>
                                  </p:childTnLst>
                                </p:cTn>
                              </p:par>
                            </p:childTnLst>
                          </p:cTn>
                        </p:par>
                        <p:par>
                          <p:cTn id="39" fill="hold">
                            <p:stCondLst>
                              <p:cond delay="2000"/>
                            </p:stCondLst>
                            <p:childTnLst>
                              <p:par>
                                <p:cTn id="40" presetID="2" presetClass="entr" presetSubtype="1" fill="hold" grpId="0" nodeType="afterEffect">
                                  <p:stCondLst>
                                    <p:cond delay="0"/>
                                  </p:stCondLst>
                                  <p:childTnLst>
                                    <p:set>
                                      <p:cBhvr>
                                        <p:cTn id="41" dur="1" fill="hold">
                                          <p:stCondLst>
                                            <p:cond delay="0"/>
                                          </p:stCondLst>
                                        </p:cTn>
                                        <p:tgtEl>
                                          <p:spTgt spid="37"/>
                                        </p:tgtEl>
                                        <p:attrNameLst>
                                          <p:attrName>style.visibility</p:attrName>
                                        </p:attrNameLst>
                                      </p:cBhvr>
                                      <p:to>
                                        <p:strVal val="visible"/>
                                      </p:to>
                                    </p:set>
                                    <p:anim calcmode="lin" valueType="num">
                                      <p:cBhvr additive="base">
                                        <p:cTn id="42" dur="500" fill="hold"/>
                                        <p:tgtEl>
                                          <p:spTgt spid="37"/>
                                        </p:tgtEl>
                                        <p:attrNameLst>
                                          <p:attrName>ppt_x</p:attrName>
                                        </p:attrNameLst>
                                      </p:cBhvr>
                                      <p:tavLst>
                                        <p:tav tm="0">
                                          <p:val>
                                            <p:strVal val="#ppt_x"/>
                                          </p:val>
                                        </p:tav>
                                        <p:tav tm="100000">
                                          <p:val>
                                            <p:strVal val="#ppt_x"/>
                                          </p:val>
                                        </p:tav>
                                      </p:tavLst>
                                    </p:anim>
                                    <p:anim calcmode="lin" valueType="num">
                                      <p:cBhvr additive="base">
                                        <p:cTn id="43" dur="500" fill="hold"/>
                                        <p:tgtEl>
                                          <p:spTgt spid="37"/>
                                        </p:tgtEl>
                                        <p:attrNameLst>
                                          <p:attrName>ppt_y</p:attrName>
                                        </p:attrNameLst>
                                      </p:cBhvr>
                                      <p:tavLst>
                                        <p:tav tm="0">
                                          <p:val>
                                            <p:strVal val="0-#ppt_h/2"/>
                                          </p:val>
                                        </p:tav>
                                        <p:tav tm="100000">
                                          <p:val>
                                            <p:strVal val="#ppt_y"/>
                                          </p:val>
                                        </p:tav>
                                      </p:tavLst>
                                    </p:anim>
                                  </p:childTnLst>
                                </p:cTn>
                              </p:par>
                            </p:childTnLst>
                          </p:cTn>
                        </p:par>
                        <p:par>
                          <p:cTn id="44" fill="hold">
                            <p:stCondLst>
                              <p:cond delay="2500"/>
                            </p:stCondLst>
                            <p:childTnLst>
                              <p:par>
                                <p:cTn id="45" presetID="22" presetClass="entr" presetSubtype="4" fill="hold" grpId="0" nodeType="after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wipe(down)">
                                      <p:cBhvr>
                                        <p:cTn id="47" dur="12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ldLvl="0" animBg="1" autoUpdateAnimBg="0"/>
      <p:bldP spid="30" grpId="0" animBg="1"/>
      <p:bldP spid="31" grpId="0" animBg="1"/>
      <p:bldP spid="32" grpId="0" animBg="1"/>
      <p:bldP spid="33" grpId="0" animBg="1"/>
      <p:bldP spid="34" grpId="0" bldLvl="0" animBg="1" autoUpdateAnimBg="0"/>
      <p:bldP spid="35" grpId="0" bldLvl="0" animBg="1" autoUpdateAnimBg="0"/>
      <p:bldP spid="36" grpId="0" bldLvl="0" animBg="1" autoUpdateAnimBg="0"/>
      <p:bldP spid="37" grpId="0" bldLvl="0" animBg="1" autoUpdateAnimBg="0"/>
      <p:bldP spid="38" grpId="0" animBg="1"/>
      <p:bldP spid="1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916518" y="1908869"/>
            <a:ext cx="2152649" cy="3313680"/>
            <a:chOff x="915988" y="1758950"/>
            <a:chExt cx="2152650" cy="3314520"/>
          </a:xfrm>
        </p:grpSpPr>
        <p:sp>
          <p:nvSpPr>
            <p:cNvPr id="6" name="椭圆 5"/>
            <p:cNvSpPr/>
            <p:nvPr/>
          </p:nvSpPr>
          <p:spPr>
            <a:xfrm>
              <a:off x="915988" y="1758950"/>
              <a:ext cx="2152650" cy="2153196"/>
            </a:xfrm>
            <a:prstGeom prst="ellips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7" name="下箭头 6"/>
            <p:cNvSpPr/>
            <p:nvPr/>
          </p:nvSpPr>
          <p:spPr>
            <a:xfrm>
              <a:off x="1491722" y="3268516"/>
              <a:ext cx="1001183" cy="1285143"/>
            </a:xfrm>
            <a:prstGeom prst="downArrow">
              <a:avLst>
                <a:gd name="adj1" fmla="val 50000"/>
                <a:gd name="adj2" fmla="val 54152"/>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latin typeface="+mn-ea"/>
                <a:cs typeface="+mn-ea"/>
              </a:endParaRPr>
            </a:p>
          </p:txBody>
        </p:sp>
        <p:sp>
          <p:nvSpPr>
            <p:cNvPr id="8" name="文本框 3"/>
            <p:cNvSpPr txBox="1">
              <a:spLocks noChangeArrowheads="1"/>
            </p:cNvSpPr>
            <p:nvPr/>
          </p:nvSpPr>
          <p:spPr bwMode="auto">
            <a:xfrm>
              <a:off x="915988" y="2054225"/>
              <a:ext cx="2152650" cy="708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9" name="文本框 46"/>
            <p:cNvSpPr txBox="1">
              <a:spLocks noChangeArrowheads="1"/>
            </p:cNvSpPr>
            <p:nvPr/>
          </p:nvSpPr>
          <p:spPr bwMode="auto">
            <a:xfrm>
              <a:off x="915988" y="2784476"/>
              <a:ext cx="2152650"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a:solidFill>
                    <a:srgbClr val="FFFFFF"/>
                  </a:solidFill>
                  <a:latin typeface="+mn-ea"/>
                  <a:ea typeface="+mn-ea"/>
                  <a:cs typeface="+mn-ea"/>
                </a:rPr>
                <a:t>标题文字</a:t>
              </a:r>
              <a:endParaRPr lang="zh-CN" altLang="en-US" sz="2400">
                <a:solidFill>
                  <a:srgbClr val="FFFFFF"/>
                </a:solidFill>
                <a:latin typeface="+mn-ea"/>
                <a:ea typeface="+mn-ea"/>
                <a:cs typeface="+mn-ea"/>
              </a:endParaRPr>
            </a:p>
          </p:txBody>
        </p:sp>
        <p:sp>
          <p:nvSpPr>
            <p:cNvPr id="10" name="文本框 50"/>
            <p:cNvSpPr txBox="1">
              <a:spLocks noChangeArrowheads="1"/>
            </p:cNvSpPr>
            <p:nvPr/>
          </p:nvSpPr>
          <p:spPr bwMode="auto">
            <a:xfrm>
              <a:off x="915988" y="4611688"/>
              <a:ext cx="2152650"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dirty="0">
                  <a:solidFill>
                    <a:srgbClr val="969696"/>
                  </a:solidFill>
                  <a:latin typeface="+mn-ea"/>
                  <a:ea typeface="+mn-ea"/>
                  <a:cs typeface="+mn-ea"/>
                </a:rPr>
                <a:t>标题文字内容</a:t>
              </a:r>
              <a:endParaRPr lang="zh-CN" altLang="en-US" sz="2400" dirty="0">
                <a:solidFill>
                  <a:srgbClr val="969696"/>
                </a:solidFill>
                <a:latin typeface="+mn-ea"/>
                <a:ea typeface="+mn-ea"/>
                <a:cs typeface="+mn-ea"/>
              </a:endParaRPr>
            </a:p>
          </p:txBody>
        </p:sp>
      </p:grpSp>
      <p:grpSp>
        <p:nvGrpSpPr>
          <p:cNvPr id="11" name="组合 10"/>
          <p:cNvGrpSpPr/>
          <p:nvPr/>
        </p:nvGrpSpPr>
        <p:grpSpPr bwMode="auto">
          <a:xfrm>
            <a:off x="3591985" y="1908869"/>
            <a:ext cx="2152649" cy="3313680"/>
            <a:chOff x="3590925" y="1758950"/>
            <a:chExt cx="2152650" cy="3314520"/>
          </a:xfrm>
        </p:grpSpPr>
        <p:sp>
          <p:nvSpPr>
            <p:cNvPr id="12" name="椭圆 11"/>
            <p:cNvSpPr/>
            <p:nvPr/>
          </p:nvSpPr>
          <p:spPr>
            <a:xfrm>
              <a:off x="3590925" y="1758950"/>
              <a:ext cx="2152650" cy="2153196"/>
            </a:xfrm>
            <a:prstGeom prst="ellips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3" name="下箭头 12"/>
            <p:cNvSpPr/>
            <p:nvPr/>
          </p:nvSpPr>
          <p:spPr>
            <a:xfrm>
              <a:off x="4166659" y="3268516"/>
              <a:ext cx="1003300" cy="1285143"/>
            </a:xfrm>
            <a:prstGeom prst="downArrow">
              <a:avLst>
                <a:gd name="adj1" fmla="val 50000"/>
                <a:gd name="adj2" fmla="val 54152"/>
              </a:avLst>
            </a:prstGeom>
            <a:solidFill>
              <a:srgbClr val="E46C0A"/>
            </a:solidFill>
            <a:ln>
              <a:solidFill>
                <a:srgbClr val="E46C0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latin typeface="+mn-ea"/>
                <a:cs typeface="+mn-ea"/>
              </a:endParaRPr>
            </a:p>
          </p:txBody>
        </p:sp>
        <p:sp>
          <p:nvSpPr>
            <p:cNvPr id="14" name="文本框 39"/>
            <p:cNvSpPr txBox="1">
              <a:spLocks noChangeArrowheads="1"/>
            </p:cNvSpPr>
            <p:nvPr/>
          </p:nvSpPr>
          <p:spPr bwMode="auto">
            <a:xfrm>
              <a:off x="3590925" y="2054225"/>
              <a:ext cx="2152650" cy="708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15" name="文本框 47"/>
            <p:cNvSpPr txBox="1">
              <a:spLocks noChangeArrowheads="1"/>
            </p:cNvSpPr>
            <p:nvPr/>
          </p:nvSpPr>
          <p:spPr bwMode="auto">
            <a:xfrm>
              <a:off x="3590925" y="2806701"/>
              <a:ext cx="2152650"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a:solidFill>
                    <a:srgbClr val="FFFFFF"/>
                  </a:solidFill>
                  <a:latin typeface="+mn-ea"/>
                  <a:ea typeface="+mn-ea"/>
                  <a:cs typeface="+mn-ea"/>
                </a:rPr>
                <a:t>标题文字</a:t>
              </a:r>
              <a:endParaRPr lang="zh-CN" altLang="en-US" sz="2400">
                <a:solidFill>
                  <a:srgbClr val="FFFFFF"/>
                </a:solidFill>
                <a:latin typeface="+mn-ea"/>
                <a:ea typeface="+mn-ea"/>
                <a:cs typeface="+mn-ea"/>
              </a:endParaRPr>
            </a:p>
          </p:txBody>
        </p:sp>
        <p:sp>
          <p:nvSpPr>
            <p:cNvPr id="16" name="文本框 51"/>
            <p:cNvSpPr txBox="1">
              <a:spLocks noChangeArrowheads="1"/>
            </p:cNvSpPr>
            <p:nvPr/>
          </p:nvSpPr>
          <p:spPr bwMode="auto">
            <a:xfrm>
              <a:off x="3590925" y="4611688"/>
              <a:ext cx="2152650"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dirty="0">
                  <a:solidFill>
                    <a:srgbClr val="969696"/>
                  </a:solidFill>
                  <a:latin typeface="+mn-ea"/>
                  <a:ea typeface="+mn-ea"/>
                  <a:cs typeface="+mn-ea"/>
                </a:rPr>
                <a:t>标题文字内容</a:t>
              </a:r>
              <a:endParaRPr lang="zh-CN" altLang="en-US" sz="2400" dirty="0">
                <a:solidFill>
                  <a:srgbClr val="969696"/>
                </a:solidFill>
                <a:latin typeface="+mn-ea"/>
                <a:ea typeface="+mn-ea"/>
                <a:cs typeface="+mn-ea"/>
              </a:endParaRPr>
            </a:p>
          </p:txBody>
        </p:sp>
      </p:grpSp>
      <p:grpSp>
        <p:nvGrpSpPr>
          <p:cNvPr id="17" name="组合 16"/>
          <p:cNvGrpSpPr/>
          <p:nvPr/>
        </p:nvGrpSpPr>
        <p:grpSpPr bwMode="auto">
          <a:xfrm>
            <a:off x="6265333" y="1908869"/>
            <a:ext cx="2159000" cy="3313680"/>
            <a:chOff x="6265863" y="1758950"/>
            <a:chExt cx="2157414" cy="3314520"/>
          </a:xfrm>
        </p:grpSpPr>
        <p:sp>
          <p:nvSpPr>
            <p:cNvPr id="18" name="椭圆 17"/>
            <p:cNvSpPr/>
            <p:nvPr/>
          </p:nvSpPr>
          <p:spPr>
            <a:xfrm>
              <a:off x="6265863" y="1758950"/>
              <a:ext cx="2153184" cy="2153196"/>
            </a:xfrm>
            <a:prstGeom prst="ellips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9" name="下箭头 18"/>
            <p:cNvSpPr/>
            <p:nvPr/>
          </p:nvSpPr>
          <p:spPr>
            <a:xfrm>
              <a:off x="6841173" y="3268516"/>
              <a:ext cx="1002563" cy="1285143"/>
            </a:xfrm>
            <a:prstGeom prst="downArrow">
              <a:avLst>
                <a:gd name="adj1" fmla="val 50000"/>
                <a:gd name="adj2" fmla="val 54152"/>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latin typeface="+mn-ea"/>
                <a:cs typeface="+mn-ea"/>
              </a:endParaRPr>
            </a:p>
          </p:txBody>
        </p:sp>
        <p:sp>
          <p:nvSpPr>
            <p:cNvPr id="20" name="文本框 40"/>
            <p:cNvSpPr txBox="1">
              <a:spLocks noChangeArrowheads="1"/>
            </p:cNvSpPr>
            <p:nvPr/>
          </p:nvSpPr>
          <p:spPr bwMode="auto">
            <a:xfrm>
              <a:off x="6265863" y="2054225"/>
              <a:ext cx="2154236" cy="708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21" name="文本框 48"/>
            <p:cNvSpPr txBox="1">
              <a:spLocks noChangeArrowheads="1"/>
            </p:cNvSpPr>
            <p:nvPr/>
          </p:nvSpPr>
          <p:spPr bwMode="auto">
            <a:xfrm>
              <a:off x="6270626" y="2806701"/>
              <a:ext cx="2152651"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a:solidFill>
                    <a:srgbClr val="FFFFFF"/>
                  </a:solidFill>
                  <a:latin typeface="+mn-ea"/>
                  <a:ea typeface="+mn-ea"/>
                  <a:cs typeface="+mn-ea"/>
                </a:rPr>
                <a:t>标题文字</a:t>
              </a:r>
              <a:endParaRPr lang="zh-CN" altLang="en-US" sz="2400">
                <a:solidFill>
                  <a:srgbClr val="FFFFFF"/>
                </a:solidFill>
                <a:latin typeface="+mn-ea"/>
                <a:ea typeface="+mn-ea"/>
                <a:cs typeface="+mn-ea"/>
              </a:endParaRPr>
            </a:p>
          </p:txBody>
        </p:sp>
        <p:sp>
          <p:nvSpPr>
            <p:cNvPr id="22" name="文本框 52"/>
            <p:cNvSpPr txBox="1">
              <a:spLocks noChangeArrowheads="1"/>
            </p:cNvSpPr>
            <p:nvPr/>
          </p:nvSpPr>
          <p:spPr bwMode="auto">
            <a:xfrm>
              <a:off x="6265863" y="4611688"/>
              <a:ext cx="2154236"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dirty="0">
                  <a:solidFill>
                    <a:srgbClr val="969696"/>
                  </a:solidFill>
                  <a:latin typeface="+mn-ea"/>
                  <a:ea typeface="+mn-ea"/>
                  <a:cs typeface="+mn-ea"/>
                </a:rPr>
                <a:t>标题文字内容</a:t>
              </a:r>
              <a:endParaRPr lang="zh-CN" altLang="en-US" sz="2400" dirty="0">
                <a:solidFill>
                  <a:srgbClr val="969696"/>
                </a:solidFill>
                <a:latin typeface="+mn-ea"/>
                <a:ea typeface="+mn-ea"/>
                <a:cs typeface="+mn-ea"/>
              </a:endParaRPr>
            </a:p>
          </p:txBody>
        </p:sp>
      </p:grpSp>
      <p:grpSp>
        <p:nvGrpSpPr>
          <p:cNvPr id="23" name="组合 22"/>
          <p:cNvGrpSpPr/>
          <p:nvPr/>
        </p:nvGrpSpPr>
        <p:grpSpPr bwMode="auto">
          <a:xfrm>
            <a:off x="8942917" y="1908869"/>
            <a:ext cx="2156883" cy="3313680"/>
            <a:chOff x="8942388" y="1758950"/>
            <a:chExt cx="2157412" cy="3314520"/>
          </a:xfrm>
        </p:grpSpPr>
        <p:sp>
          <p:nvSpPr>
            <p:cNvPr id="24" name="椭圆 23"/>
            <p:cNvSpPr/>
            <p:nvPr/>
          </p:nvSpPr>
          <p:spPr>
            <a:xfrm>
              <a:off x="8942388" y="1758950"/>
              <a:ext cx="2153178" cy="2153196"/>
            </a:xfrm>
            <a:prstGeom prst="ellips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25" name="下箭头 24"/>
            <p:cNvSpPr/>
            <p:nvPr/>
          </p:nvSpPr>
          <p:spPr>
            <a:xfrm>
              <a:off x="9518263" y="3268516"/>
              <a:ext cx="1001428" cy="1285143"/>
            </a:xfrm>
            <a:prstGeom prst="downArrow">
              <a:avLst>
                <a:gd name="adj1" fmla="val 50000"/>
                <a:gd name="adj2" fmla="val 54152"/>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latin typeface="+mn-ea"/>
                <a:cs typeface="+mn-ea"/>
              </a:endParaRPr>
            </a:p>
          </p:txBody>
        </p:sp>
        <p:sp>
          <p:nvSpPr>
            <p:cNvPr id="26" name="文本框 41"/>
            <p:cNvSpPr txBox="1">
              <a:spLocks noChangeArrowheads="1"/>
            </p:cNvSpPr>
            <p:nvPr/>
          </p:nvSpPr>
          <p:spPr bwMode="auto">
            <a:xfrm>
              <a:off x="8942388" y="2054225"/>
              <a:ext cx="2152651" cy="708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27" name="文本框 49"/>
            <p:cNvSpPr txBox="1">
              <a:spLocks noChangeArrowheads="1"/>
            </p:cNvSpPr>
            <p:nvPr/>
          </p:nvSpPr>
          <p:spPr bwMode="auto">
            <a:xfrm>
              <a:off x="8945563" y="2806701"/>
              <a:ext cx="2154237"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a:solidFill>
                    <a:srgbClr val="FFFFFF"/>
                  </a:solidFill>
                  <a:latin typeface="+mn-ea"/>
                  <a:ea typeface="+mn-ea"/>
                  <a:cs typeface="+mn-ea"/>
                </a:rPr>
                <a:t>标题文字</a:t>
              </a:r>
              <a:endParaRPr lang="zh-CN" altLang="en-US" sz="2400">
                <a:solidFill>
                  <a:srgbClr val="FFFFFF"/>
                </a:solidFill>
                <a:latin typeface="+mn-ea"/>
                <a:ea typeface="+mn-ea"/>
                <a:cs typeface="+mn-ea"/>
              </a:endParaRPr>
            </a:p>
          </p:txBody>
        </p:sp>
        <p:sp>
          <p:nvSpPr>
            <p:cNvPr id="28" name="文本框 53"/>
            <p:cNvSpPr txBox="1">
              <a:spLocks noChangeArrowheads="1"/>
            </p:cNvSpPr>
            <p:nvPr/>
          </p:nvSpPr>
          <p:spPr bwMode="auto">
            <a:xfrm>
              <a:off x="8942388" y="4611688"/>
              <a:ext cx="2152651"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dirty="0">
                  <a:solidFill>
                    <a:srgbClr val="969696"/>
                  </a:solidFill>
                  <a:latin typeface="+mn-ea"/>
                  <a:ea typeface="+mn-ea"/>
                  <a:cs typeface="+mn-ea"/>
                </a:rPr>
                <a:t>标题文字内容</a:t>
              </a:r>
              <a:endParaRPr lang="zh-CN" altLang="en-US" sz="2400" dirty="0">
                <a:solidFill>
                  <a:srgbClr val="969696"/>
                </a:solidFill>
                <a:latin typeface="+mn-ea"/>
                <a:ea typeface="+mn-ea"/>
                <a:cs typeface="+mn-ea"/>
              </a:endParaRPr>
            </a:p>
          </p:txBody>
        </p:sp>
      </p:grpSp>
      <p:sp>
        <p:nvSpPr>
          <p:cNvPr id="29"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0" name="文本框 29"/>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1000"/>
                                        <p:tgtEl>
                                          <p:spTgt spid="11"/>
                                        </p:tgtEl>
                                      </p:cBhvr>
                                    </p:animEffect>
                                    <p:anim calcmode="lin" valueType="num">
                                      <p:cBhvr>
                                        <p:cTn id="14" dur="1000" fill="hold"/>
                                        <p:tgtEl>
                                          <p:spTgt spid="11"/>
                                        </p:tgtEl>
                                        <p:attrNameLst>
                                          <p:attrName>ppt_x</p:attrName>
                                        </p:attrNameLst>
                                      </p:cBhvr>
                                      <p:tavLst>
                                        <p:tav tm="0">
                                          <p:val>
                                            <p:strVal val="#ppt_x"/>
                                          </p:val>
                                        </p:tav>
                                        <p:tav tm="100000">
                                          <p:val>
                                            <p:strVal val="#ppt_x"/>
                                          </p:val>
                                        </p:tav>
                                      </p:tavLst>
                                    </p:anim>
                                    <p:anim calcmode="lin" valueType="num">
                                      <p:cBhvr>
                                        <p:cTn id="15" dur="1000" fill="hold"/>
                                        <p:tgtEl>
                                          <p:spTgt spid="11"/>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7" presetClass="entr" presetSubtype="0" fill="hold"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1000"/>
                                        <p:tgtEl>
                                          <p:spTgt spid="17"/>
                                        </p:tgtEl>
                                      </p:cBhvr>
                                    </p:animEffect>
                                    <p:anim calcmode="lin" valueType="num">
                                      <p:cBhvr>
                                        <p:cTn id="20" dur="1000" fill="hold"/>
                                        <p:tgtEl>
                                          <p:spTgt spid="17"/>
                                        </p:tgtEl>
                                        <p:attrNameLst>
                                          <p:attrName>ppt_x</p:attrName>
                                        </p:attrNameLst>
                                      </p:cBhvr>
                                      <p:tavLst>
                                        <p:tav tm="0">
                                          <p:val>
                                            <p:strVal val="#ppt_x"/>
                                          </p:val>
                                        </p:tav>
                                        <p:tav tm="100000">
                                          <p:val>
                                            <p:strVal val="#ppt_x"/>
                                          </p:val>
                                        </p:tav>
                                      </p:tavLst>
                                    </p:anim>
                                    <p:anim calcmode="lin" valueType="num">
                                      <p:cBhvr>
                                        <p:cTn id="21" dur="1000" fill="hold"/>
                                        <p:tgtEl>
                                          <p:spTgt spid="17"/>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7" presetClass="entr" presetSubtype="0" fill="hold" nodeType="after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1000"/>
                                        <p:tgtEl>
                                          <p:spTgt spid="23"/>
                                        </p:tgtEl>
                                      </p:cBhvr>
                                    </p:animEffect>
                                    <p:anim calcmode="lin" valueType="num">
                                      <p:cBhvr>
                                        <p:cTn id="26" dur="1000" fill="hold"/>
                                        <p:tgtEl>
                                          <p:spTgt spid="23"/>
                                        </p:tgtEl>
                                        <p:attrNameLst>
                                          <p:attrName>ppt_x</p:attrName>
                                        </p:attrNameLst>
                                      </p:cBhvr>
                                      <p:tavLst>
                                        <p:tav tm="0">
                                          <p:val>
                                            <p:strVal val="#ppt_x"/>
                                          </p:val>
                                        </p:tav>
                                        <p:tav tm="100000">
                                          <p:val>
                                            <p:strVal val="#ppt_x"/>
                                          </p:val>
                                        </p:tav>
                                      </p:tavLst>
                                    </p:anim>
                                    <p:anim calcmode="lin" valueType="num">
                                      <p:cBhvr>
                                        <p:cTn id="27" dur="1000" fill="hold"/>
                                        <p:tgtEl>
                                          <p:spTgt spid="23"/>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22" presetClass="entr" presetSubtype="4" fill="hold" grpId="0" nodeType="after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wipe(down)">
                                      <p:cBhvr>
                                        <p:cTn id="31" dur="12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utoShape 8"/>
          <p:cNvSpPr/>
          <p:nvPr/>
        </p:nvSpPr>
        <p:spPr bwMode="auto">
          <a:xfrm>
            <a:off x="3838079" y="1069809"/>
            <a:ext cx="3039533" cy="694267"/>
          </a:xfrm>
          <a:prstGeom prst="accentCallout1">
            <a:avLst>
              <a:gd name="adj1" fmla="val 21949"/>
              <a:gd name="adj2" fmla="val -3343"/>
              <a:gd name="adj3" fmla="val 178963"/>
              <a:gd name="adj4" fmla="val -36560"/>
            </a:avLst>
          </a:prstGeom>
          <a:noFill/>
          <a:ln w="19050" cmpd="sng">
            <a:solidFill>
              <a:srgbClr val="254061"/>
            </a:solidFill>
            <a:miter lim="800000"/>
          </a:ln>
          <a:effectLst/>
          <a:extLst>
            <a:ext uri="{909E8E84-426E-40DD-AFC4-6F175D3DCCD1}">
              <a14:hiddenFill xmlns:a14="http://schemas.microsoft.com/office/drawing/2010/main">
                <a:solidFill>
                  <a:srgbClr val="25406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buFont typeface="Arial" panose="020B0604020202020204" pitchFamily="34" charset="0"/>
              <a:buNone/>
            </a:pPr>
            <a:r>
              <a:rPr lang="zh-CN" altLang="zh-CN" sz="2135">
                <a:solidFill>
                  <a:srgbClr val="080808"/>
                </a:solidFill>
                <a:ea typeface="+mn-ea"/>
                <a:cs typeface="+mn-ea"/>
              </a:rPr>
              <a:t>单击添加段落文字单击添加段落文字</a:t>
            </a:r>
            <a:endParaRPr lang="zh-CN" altLang="zh-CN" sz="2135">
              <a:solidFill>
                <a:srgbClr val="080808"/>
              </a:solidFill>
              <a:ea typeface="+mn-ea"/>
              <a:cs typeface="+mn-ea"/>
            </a:endParaRPr>
          </a:p>
        </p:txBody>
      </p:sp>
      <p:sp>
        <p:nvSpPr>
          <p:cNvPr id="30" name="AutoShape 9"/>
          <p:cNvSpPr/>
          <p:nvPr/>
        </p:nvSpPr>
        <p:spPr bwMode="auto">
          <a:xfrm>
            <a:off x="7201463" y="2062527"/>
            <a:ext cx="3039533" cy="694267"/>
          </a:xfrm>
          <a:prstGeom prst="accentCallout1">
            <a:avLst>
              <a:gd name="adj1" fmla="val 21949"/>
              <a:gd name="adj2" fmla="val -3343"/>
              <a:gd name="adj3" fmla="val 118903"/>
              <a:gd name="adj4" fmla="val -36630"/>
            </a:avLst>
          </a:prstGeom>
          <a:noFill/>
          <a:ln w="19050" cmpd="sng">
            <a:solidFill>
              <a:srgbClr val="254061"/>
            </a:solidFill>
            <a:miter lim="800000"/>
          </a:ln>
          <a:effectLst/>
          <a:extLst>
            <a:ext uri="{909E8E84-426E-40DD-AFC4-6F175D3DCCD1}">
              <a14:hiddenFill xmlns:a14="http://schemas.microsoft.com/office/drawing/2010/main">
                <a:solidFill>
                  <a:srgbClr val="25406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buFont typeface="Arial" panose="020B0604020202020204" pitchFamily="34" charset="0"/>
              <a:buNone/>
            </a:pPr>
            <a:r>
              <a:rPr lang="zh-CN" altLang="zh-CN" sz="2135" dirty="0">
                <a:solidFill>
                  <a:srgbClr val="080808"/>
                </a:solidFill>
                <a:ea typeface="+mn-ea"/>
                <a:cs typeface="+mn-ea"/>
              </a:rPr>
              <a:t>单击添加段落文字单击添加段落文字</a:t>
            </a:r>
            <a:endParaRPr lang="zh-CN" altLang="zh-CN" sz="2135" dirty="0">
              <a:solidFill>
                <a:srgbClr val="080808"/>
              </a:solidFill>
              <a:ea typeface="+mn-ea"/>
              <a:cs typeface="+mn-ea"/>
            </a:endParaRPr>
          </a:p>
        </p:txBody>
      </p:sp>
      <p:sp>
        <p:nvSpPr>
          <p:cNvPr id="34" name="未知"/>
          <p:cNvSpPr/>
          <p:nvPr/>
        </p:nvSpPr>
        <p:spPr bwMode="auto">
          <a:xfrm>
            <a:off x="2159563" y="2157776"/>
            <a:ext cx="2383367" cy="897467"/>
          </a:xfrm>
          <a:custGeom>
            <a:avLst/>
            <a:gdLst>
              <a:gd name="T0" fmla="*/ 0 w 1400"/>
              <a:gd name="T1" fmla="*/ 108 h 527"/>
              <a:gd name="T2" fmla="*/ 837 w 1400"/>
              <a:gd name="T3" fmla="*/ 527 h 527"/>
              <a:gd name="T4" fmla="*/ 1400 w 1400"/>
              <a:gd name="T5" fmla="*/ 332 h 527"/>
              <a:gd name="T6" fmla="*/ 281 w 1400"/>
              <a:gd name="T7" fmla="*/ 0 h 527"/>
              <a:gd name="T8" fmla="*/ 0 w 1400"/>
              <a:gd name="T9" fmla="*/ 108 h 527"/>
            </a:gdLst>
            <a:ahLst/>
            <a:cxnLst>
              <a:cxn ang="0">
                <a:pos x="T0" y="T1"/>
              </a:cxn>
              <a:cxn ang="0">
                <a:pos x="T2" y="T3"/>
              </a:cxn>
              <a:cxn ang="0">
                <a:pos x="T4" y="T5"/>
              </a:cxn>
              <a:cxn ang="0">
                <a:pos x="T6" y="T7"/>
              </a:cxn>
              <a:cxn ang="0">
                <a:pos x="T8" y="T9"/>
              </a:cxn>
            </a:cxnLst>
            <a:rect l="0" t="0" r="r" b="b"/>
            <a:pathLst>
              <a:path w="1400" h="527">
                <a:moveTo>
                  <a:pt x="0" y="108"/>
                </a:moveTo>
                <a:lnTo>
                  <a:pt x="837" y="527"/>
                </a:lnTo>
                <a:lnTo>
                  <a:pt x="1400" y="332"/>
                </a:lnTo>
                <a:lnTo>
                  <a:pt x="281" y="0"/>
                </a:lnTo>
                <a:lnTo>
                  <a:pt x="0" y="108"/>
                </a:lnTo>
                <a:close/>
              </a:path>
            </a:pathLst>
          </a:custGeom>
          <a:solidFill>
            <a:srgbClr val="E46C0A"/>
          </a:solidFill>
          <a:ln>
            <a:noFill/>
          </a:ln>
          <a:effectLst/>
        </p:spPr>
        <p:txBody>
          <a:bodyPr/>
          <a:lstStyle/>
          <a:p>
            <a:pPr fontAlgn="base">
              <a:spcBef>
                <a:spcPct val="0"/>
              </a:spcBef>
              <a:spcAft>
                <a:spcPct val="0"/>
              </a:spcAft>
              <a:buFont typeface="Arial" panose="020B0604020202020204" pitchFamily="34" charset="0"/>
              <a:buNone/>
            </a:pPr>
            <a:endParaRPr lang="zh-CN" altLang="en-US" sz="3735">
              <a:solidFill>
                <a:srgbClr val="080808"/>
              </a:solidFill>
              <a:latin typeface="Arial" panose="020B0604020202020204" pitchFamily="34" charset="0"/>
              <a:cs typeface="+mn-ea"/>
            </a:endParaRPr>
          </a:p>
        </p:txBody>
      </p:sp>
      <p:sp>
        <p:nvSpPr>
          <p:cNvPr id="35" name="未知"/>
          <p:cNvSpPr/>
          <p:nvPr/>
        </p:nvSpPr>
        <p:spPr bwMode="auto">
          <a:xfrm>
            <a:off x="3780930" y="2246677"/>
            <a:ext cx="2789767" cy="1166284"/>
          </a:xfrm>
          <a:custGeom>
            <a:avLst/>
            <a:gdLst>
              <a:gd name="T0" fmla="*/ 1002 w 1698"/>
              <a:gd name="T1" fmla="*/ 710 h 710"/>
              <a:gd name="T2" fmla="*/ 1698 w 1698"/>
              <a:gd name="T3" fmla="*/ 366 h 710"/>
              <a:gd name="T4" fmla="*/ 591 w 1698"/>
              <a:gd name="T5" fmla="*/ 0 h 710"/>
              <a:gd name="T6" fmla="*/ 0 w 1698"/>
              <a:gd name="T7" fmla="*/ 202 h 710"/>
              <a:gd name="T8" fmla="*/ 1002 w 1698"/>
              <a:gd name="T9" fmla="*/ 710 h 710"/>
            </a:gdLst>
            <a:ahLst/>
            <a:cxnLst>
              <a:cxn ang="0">
                <a:pos x="T0" y="T1"/>
              </a:cxn>
              <a:cxn ang="0">
                <a:pos x="T2" y="T3"/>
              </a:cxn>
              <a:cxn ang="0">
                <a:pos x="T4" y="T5"/>
              </a:cxn>
              <a:cxn ang="0">
                <a:pos x="T6" y="T7"/>
              </a:cxn>
              <a:cxn ang="0">
                <a:pos x="T8" y="T9"/>
              </a:cxn>
            </a:cxnLst>
            <a:rect l="0" t="0" r="r" b="b"/>
            <a:pathLst>
              <a:path w="1698" h="710">
                <a:moveTo>
                  <a:pt x="1002" y="710"/>
                </a:moveTo>
                <a:lnTo>
                  <a:pt x="1698" y="366"/>
                </a:lnTo>
                <a:lnTo>
                  <a:pt x="591" y="0"/>
                </a:lnTo>
                <a:lnTo>
                  <a:pt x="0" y="202"/>
                </a:lnTo>
                <a:lnTo>
                  <a:pt x="1002" y="710"/>
                </a:lnTo>
                <a:close/>
              </a:path>
            </a:pathLst>
          </a:custGeom>
          <a:solidFill>
            <a:srgbClr val="E46C0A"/>
          </a:solidFill>
          <a:ln>
            <a:noFill/>
          </a:ln>
          <a:effectLst/>
        </p:spPr>
        <p:txBody>
          <a:bodyPr/>
          <a:lstStyle/>
          <a:p>
            <a:pPr fontAlgn="base">
              <a:spcBef>
                <a:spcPct val="0"/>
              </a:spcBef>
              <a:spcAft>
                <a:spcPct val="0"/>
              </a:spcAft>
              <a:buFont typeface="Arial" panose="020B0604020202020204" pitchFamily="34" charset="0"/>
              <a:buNone/>
            </a:pPr>
            <a:endParaRPr lang="zh-CN" altLang="en-US" sz="3735">
              <a:solidFill>
                <a:srgbClr val="080808"/>
              </a:solidFill>
              <a:latin typeface="Arial" panose="020B0604020202020204" pitchFamily="34" charset="0"/>
              <a:cs typeface="+mn-ea"/>
            </a:endParaRPr>
          </a:p>
        </p:txBody>
      </p:sp>
      <p:sp>
        <p:nvSpPr>
          <p:cNvPr id="36" name="未知"/>
          <p:cNvSpPr/>
          <p:nvPr/>
        </p:nvSpPr>
        <p:spPr bwMode="auto">
          <a:xfrm>
            <a:off x="5326096" y="3417194"/>
            <a:ext cx="5588000" cy="2364316"/>
          </a:xfrm>
          <a:custGeom>
            <a:avLst/>
            <a:gdLst>
              <a:gd name="T0" fmla="*/ 0 w 3283"/>
              <a:gd name="T1" fmla="*/ 332 h 1388"/>
              <a:gd name="T2" fmla="*/ 1065 w 3283"/>
              <a:gd name="T3" fmla="*/ 869 h 1388"/>
              <a:gd name="T4" fmla="*/ 177 w 3283"/>
              <a:gd name="T5" fmla="*/ 1388 h 1388"/>
              <a:gd name="T6" fmla="*/ 3283 w 3283"/>
              <a:gd name="T7" fmla="*/ 1388 h 1388"/>
              <a:gd name="T8" fmla="*/ 2529 w 3283"/>
              <a:gd name="T9" fmla="*/ 96 h 1388"/>
              <a:gd name="T10" fmla="*/ 1981 w 3283"/>
              <a:gd name="T11" fmla="*/ 414 h 1388"/>
              <a:gd name="T12" fmla="*/ 685 w 3283"/>
              <a:gd name="T13" fmla="*/ 0 h 1388"/>
              <a:gd name="T14" fmla="*/ 0 w 3283"/>
              <a:gd name="T15" fmla="*/ 332 h 13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3" h="1388">
                <a:moveTo>
                  <a:pt x="0" y="332"/>
                </a:moveTo>
                <a:lnTo>
                  <a:pt x="1065" y="869"/>
                </a:lnTo>
                <a:lnTo>
                  <a:pt x="177" y="1388"/>
                </a:lnTo>
                <a:lnTo>
                  <a:pt x="3283" y="1388"/>
                </a:lnTo>
                <a:lnTo>
                  <a:pt x="2529" y="96"/>
                </a:lnTo>
                <a:lnTo>
                  <a:pt x="1981" y="414"/>
                </a:lnTo>
                <a:lnTo>
                  <a:pt x="685" y="0"/>
                </a:lnTo>
                <a:lnTo>
                  <a:pt x="0" y="332"/>
                </a:lnTo>
                <a:close/>
              </a:path>
            </a:pathLst>
          </a:custGeom>
          <a:solidFill>
            <a:srgbClr val="254061"/>
          </a:solidFill>
          <a:ln w="28575">
            <a:solidFill>
              <a:srgbClr val="F2F2F2"/>
            </a:solidFill>
          </a:ln>
          <a:effectLst>
            <a:outerShdw blurRad="88900" dist="75434" dir="2699985" rotWithShape="0">
              <a:scrgbClr r="0" g="0" b="0">
                <a:alpha val="23000"/>
              </a:scrgbClr>
            </a:outerShdw>
          </a:effectLst>
        </p:spPr>
        <p:txBody>
          <a:bodyPr/>
          <a:lstStyle/>
          <a:p>
            <a:pPr fontAlgn="base">
              <a:spcBef>
                <a:spcPct val="0"/>
              </a:spcBef>
              <a:spcAft>
                <a:spcPct val="0"/>
              </a:spcAft>
              <a:buFont typeface="Arial" panose="020B0604020202020204" pitchFamily="34" charset="0"/>
              <a:buNone/>
            </a:pPr>
            <a:endParaRPr lang="zh-CN" altLang="en-US" sz="3735" b="1">
              <a:ln w="12700">
                <a:solidFill>
                  <a:schemeClr val="tx2">
                    <a:satMod val="155000"/>
                  </a:schemeClr>
                </a:solidFill>
                <a:prstDash val="solid"/>
              </a:ln>
              <a:solidFill>
                <a:srgbClr val="000000"/>
              </a:solidFill>
              <a:effectLst>
                <a:outerShdw blurRad="41275" dist="20320" dir="1800000" algn="tl" rotWithShape="0">
                  <a:srgbClr val="000000">
                    <a:alpha val="40000"/>
                  </a:srgbClr>
                </a:outerShdw>
              </a:effectLst>
              <a:latin typeface="Arial" panose="020B0604020202020204" pitchFamily="34" charset="0"/>
              <a:cs typeface="+mn-ea"/>
            </a:endParaRPr>
          </a:p>
        </p:txBody>
      </p:sp>
      <p:sp>
        <p:nvSpPr>
          <p:cNvPr id="37" name="AutoShape 10"/>
          <p:cNvSpPr/>
          <p:nvPr/>
        </p:nvSpPr>
        <p:spPr bwMode="auto">
          <a:xfrm>
            <a:off x="2303496" y="5519043"/>
            <a:ext cx="2827867" cy="694267"/>
          </a:xfrm>
          <a:prstGeom prst="accentCallout1">
            <a:avLst>
              <a:gd name="adj1" fmla="val 21949"/>
              <a:gd name="adj2" fmla="val 103593"/>
              <a:gd name="adj3" fmla="val 1523"/>
              <a:gd name="adj4" fmla="val 134880"/>
            </a:avLst>
          </a:prstGeom>
          <a:noFill/>
          <a:ln w="19050" cmpd="sng">
            <a:solidFill>
              <a:srgbClr val="254061"/>
            </a:solidFill>
            <a:miter lim="800000"/>
          </a:ln>
          <a:effectLst/>
          <a:extLst>
            <a:ext uri="{909E8E84-426E-40DD-AFC4-6F175D3DCCD1}">
              <a14:hiddenFill xmlns:a14="http://schemas.microsoft.com/office/drawing/2010/main">
                <a:solidFill>
                  <a:srgbClr val="25406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r" fontAlgn="base">
              <a:spcBef>
                <a:spcPct val="0"/>
              </a:spcBef>
              <a:spcAft>
                <a:spcPct val="0"/>
              </a:spcAft>
              <a:buFont typeface="Arial" panose="020B0604020202020204" pitchFamily="34" charset="0"/>
              <a:buNone/>
            </a:pPr>
            <a:r>
              <a:rPr lang="zh-CN" altLang="zh-CN" sz="2135">
                <a:solidFill>
                  <a:srgbClr val="080808"/>
                </a:solidFill>
                <a:ea typeface="+mn-ea"/>
                <a:cs typeface="+mn-ea"/>
              </a:rPr>
              <a:t>单击添加段落文字单击添加段落文字</a:t>
            </a:r>
            <a:endParaRPr lang="zh-CN" altLang="zh-CN" sz="2135">
              <a:solidFill>
                <a:srgbClr val="080808"/>
              </a:solidFill>
              <a:ea typeface="+mn-ea"/>
              <a:cs typeface="+mn-ea"/>
            </a:endParaRPr>
          </a:p>
        </p:txBody>
      </p:sp>
      <p:sp>
        <p:nvSpPr>
          <p:cNvPr id="11"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12" name="文本框 11"/>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0-#ppt_w/2"/>
                                          </p:val>
                                        </p:tav>
                                        <p:tav tm="100000">
                                          <p:val>
                                            <p:strVal val="#ppt_x"/>
                                          </p:val>
                                        </p:tav>
                                      </p:tavLst>
                                    </p:anim>
                                    <p:anim calcmode="lin" valueType="num">
                                      <p:cBhvr additive="base">
                                        <p:cTn id="8" dur="500" fill="hold"/>
                                        <p:tgtEl>
                                          <p:spTgt spid="36"/>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9" fill="hold" grpId="0" nodeType="afterEffect">
                                  <p:stCondLst>
                                    <p:cond delay="0"/>
                                  </p:stCondLst>
                                  <p:childTnLst>
                                    <p:set>
                                      <p:cBhvr>
                                        <p:cTn id="11" dur="1" fill="hold">
                                          <p:stCondLst>
                                            <p:cond delay="0"/>
                                          </p:stCondLst>
                                        </p:cTn>
                                        <p:tgtEl>
                                          <p:spTgt spid="35"/>
                                        </p:tgtEl>
                                        <p:attrNameLst>
                                          <p:attrName>style.visibility</p:attrName>
                                        </p:attrNameLst>
                                      </p:cBhvr>
                                      <p:to>
                                        <p:strVal val="visible"/>
                                      </p:to>
                                    </p:set>
                                    <p:anim calcmode="lin" valueType="num">
                                      <p:cBhvr additive="base">
                                        <p:cTn id="12" dur="500" fill="hold"/>
                                        <p:tgtEl>
                                          <p:spTgt spid="35"/>
                                        </p:tgtEl>
                                        <p:attrNameLst>
                                          <p:attrName>ppt_x</p:attrName>
                                        </p:attrNameLst>
                                      </p:cBhvr>
                                      <p:tavLst>
                                        <p:tav tm="0">
                                          <p:val>
                                            <p:strVal val="0-#ppt_w/2"/>
                                          </p:val>
                                        </p:tav>
                                        <p:tav tm="100000">
                                          <p:val>
                                            <p:strVal val="#ppt_x"/>
                                          </p:val>
                                        </p:tav>
                                      </p:tavLst>
                                    </p:anim>
                                    <p:anim calcmode="lin" valueType="num">
                                      <p:cBhvr additive="base">
                                        <p:cTn id="13" dur="500" fill="hold"/>
                                        <p:tgtEl>
                                          <p:spTgt spid="35"/>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9" fill="hold" grpId="0" nodeType="afterEffect">
                                  <p:stCondLst>
                                    <p:cond delay="0"/>
                                  </p:stCondLst>
                                  <p:childTnLst>
                                    <p:set>
                                      <p:cBhvr>
                                        <p:cTn id="16" dur="1" fill="hold">
                                          <p:stCondLst>
                                            <p:cond delay="0"/>
                                          </p:stCondLst>
                                        </p:cTn>
                                        <p:tgtEl>
                                          <p:spTgt spid="34"/>
                                        </p:tgtEl>
                                        <p:attrNameLst>
                                          <p:attrName>style.visibility</p:attrName>
                                        </p:attrNameLst>
                                      </p:cBhvr>
                                      <p:to>
                                        <p:strVal val="visible"/>
                                      </p:to>
                                    </p:set>
                                    <p:anim calcmode="lin" valueType="num">
                                      <p:cBhvr additive="base">
                                        <p:cTn id="17" dur="500" fill="hold"/>
                                        <p:tgtEl>
                                          <p:spTgt spid="34"/>
                                        </p:tgtEl>
                                        <p:attrNameLst>
                                          <p:attrName>ppt_x</p:attrName>
                                        </p:attrNameLst>
                                      </p:cBhvr>
                                      <p:tavLst>
                                        <p:tav tm="0">
                                          <p:val>
                                            <p:strVal val="0-#ppt_w/2"/>
                                          </p:val>
                                        </p:tav>
                                        <p:tav tm="100000">
                                          <p:val>
                                            <p:strVal val="#ppt_x"/>
                                          </p:val>
                                        </p:tav>
                                      </p:tavLst>
                                    </p:anim>
                                    <p:anim calcmode="lin" valueType="num">
                                      <p:cBhvr additive="base">
                                        <p:cTn id="18" dur="500" fill="hold"/>
                                        <p:tgtEl>
                                          <p:spTgt spid="34"/>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41" presetClass="entr" presetSubtype="0" fill="hold" grpId="1" nodeType="afterEffect">
                                  <p:stCondLst>
                                    <p:cond delay="0"/>
                                  </p:stCondLst>
                                  <p:iterate type="lt">
                                    <p:tmPct val="10000"/>
                                  </p:iterate>
                                  <p:childTnLst>
                                    <p:set>
                                      <p:cBhvr>
                                        <p:cTn id="21" dur="1" fill="hold">
                                          <p:stCondLst>
                                            <p:cond delay="0"/>
                                          </p:stCondLst>
                                        </p:cTn>
                                        <p:tgtEl>
                                          <p:spTgt spid="30"/>
                                        </p:tgtEl>
                                        <p:attrNameLst>
                                          <p:attrName>style.visibility</p:attrName>
                                        </p:attrNameLst>
                                      </p:cBhvr>
                                      <p:to>
                                        <p:strVal val="visible"/>
                                      </p:to>
                                    </p:set>
                                    <p:anim calcmode="lin" valueType="num">
                                      <p:cBhvr>
                                        <p:cTn id="22" dur="500" fill="hold"/>
                                        <p:tgtEl>
                                          <p:spTgt spid="30"/>
                                        </p:tgtEl>
                                        <p:attrNameLst>
                                          <p:attrName>ppt_x</p:attrName>
                                        </p:attrNameLst>
                                      </p:cBhvr>
                                      <p:tavLst>
                                        <p:tav tm="0">
                                          <p:val>
                                            <p:strVal val="#ppt_x"/>
                                          </p:val>
                                        </p:tav>
                                        <p:tav tm="50000">
                                          <p:val>
                                            <p:strVal val="#ppt_x+.1"/>
                                          </p:val>
                                        </p:tav>
                                        <p:tav tm="100000">
                                          <p:val>
                                            <p:strVal val="#ppt_x"/>
                                          </p:val>
                                        </p:tav>
                                      </p:tavLst>
                                    </p:anim>
                                    <p:anim calcmode="lin" valueType="num">
                                      <p:cBhvr>
                                        <p:cTn id="23" dur="500" fill="hold"/>
                                        <p:tgtEl>
                                          <p:spTgt spid="30"/>
                                        </p:tgtEl>
                                        <p:attrNameLst>
                                          <p:attrName>ppt_y</p:attrName>
                                        </p:attrNameLst>
                                      </p:cBhvr>
                                      <p:tavLst>
                                        <p:tav tm="0">
                                          <p:val>
                                            <p:strVal val="#ppt_y"/>
                                          </p:val>
                                        </p:tav>
                                        <p:tav tm="100000">
                                          <p:val>
                                            <p:strVal val="#ppt_y"/>
                                          </p:val>
                                        </p:tav>
                                      </p:tavLst>
                                    </p:anim>
                                    <p:anim calcmode="lin" valueType="num">
                                      <p:cBhvr>
                                        <p:cTn id="24" dur="500" fill="hold"/>
                                        <p:tgtEl>
                                          <p:spTgt spid="30"/>
                                        </p:tgtEl>
                                        <p:attrNameLst>
                                          <p:attrName>ppt_h</p:attrName>
                                        </p:attrNameLst>
                                      </p:cBhvr>
                                      <p:tavLst>
                                        <p:tav tm="0">
                                          <p:val>
                                            <p:strVal val="#ppt_h/10"/>
                                          </p:val>
                                        </p:tav>
                                        <p:tav tm="50000">
                                          <p:val>
                                            <p:strVal val="#ppt_h+.01"/>
                                          </p:val>
                                        </p:tav>
                                        <p:tav tm="100000">
                                          <p:val>
                                            <p:strVal val="#ppt_h"/>
                                          </p:val>
                                        </p:tav>
                                      </p:tavLst>
                                    </p:anim>
                                    <p:anim calcmode="lin" valueType="num">
                                      <p:cBhvr>
                                        <p:cTn id="25" dur="500" fill="hold"/>
                                        <p:tgtEl>
                                          <p:spTgt spid="30"/>
                                        </p:tgtEl>
                                        <p:attrNameLst>
                                          <p:attrName>ppt_w</p:attrName>
                                        </p:attrNameLst>
                                      </p:cBhvr>
                                      <p:tavLst>
                                        <p:tav tm="0">
                                          <p:val>
                                            <p:strVal val="#ppt_w/10"/>
                                          </p:val>
                                        </p:tav>
                                        <p:tav tm="50000">
                                          <p:val>
                                            <p:strVal val="#ppt_w+.01"/>
                                          </p:val>
                                        </p:tav>
                                        <p:tav tm="100000">
                                          <p:val>
                                            <p:strVal val="#ppt_w"/>
                                          </p:val>
                                        </p:tav>
                                      </p:tavLst>
                                    </p:anim>
                                    <p:animEffect transition="in" filter="fade">
                                      <p:cBhvr>
                                        <p:cTn id="26" dur="500"/>
                                        <p:tgtEl>
                                          <p:spTgt spid="30"/>
                                        </p:tgtEl>
                                      </p:cBhvr>
                                    </p:animEffect>
                                  </p:childTnLst>
                                </p:cTn>
                              </p:par>
                            </p:childTnLst>
                          </p:cTn>
                        </p:par>
                        <p:par>
                          <p:cTn id="27" fill="hold">
                            <p:stCondLst>
                              <p:cond delay="2250"/>
                            </p:stCondLst>
                            <p:childTnLst>
                              <p:par>
                                <p:cTn id="28" presetID="41" presetClass="entr" presetSubtype="0" fill="hold" grpId="1" nodeType="afterEffect">
                                  <p:stCondLst>
                                    <p:cond delay="0"/>
                                  </p:stCondLst>
                                  <p:iterate type="lt">
                                    <p:tmPct val="10000"/>
                                  </p:iterate>
                                  <p:childTnLst>
                                    <p:set>
                                      <p:cBhvr>
                                        <p:cTn id="29" dur="1" fill="hold">
                                          <p:stCondLst>
                                            <p:cond delay="0"/>
                                          </p:stCondLst>
                                        </p:cTn>
                                        <p:tgtEl>
                                          <p:spTgt spid="29"/>
                                        </p:tgtEl>
                                        <p:attrNameLst>
                                          <p:attrName>style.visibility</p:attrName>
                                        </p:attrNameLst>
                                      </p:cBhvr>
                                      <p:to>
                                        <p:strVal val="visible"/>
                                      </p:to>
                                    </p:set>
                                    <p:anim calcmode="lin" valueType="num">
                                      <p:cBhvr>
                                        <p:cTn id="30" dur="500" fill="hold"/>
                                        <p:tgtEl>
                                          <p:spTgt spid="29"/>
                                        </p:tgtEl>
                                        <p:attrNameLst>
                                          <p:attrName>ppt_x</p:attrName>
                                        </p:attrNameLst>
                                      </p:cBhvr>
                                      <p:tavLst>
                                        <p:tav tm="0">
                                          <p:val>
                                            <p:strVal val="#ppt_x"/>
                                          </p:val>
                                        </p:tav>
                                        <p:tav tm="50000">
                                          <p:val>
                                            <p:strVal val="#ppt_x+.1"/>
                                          </p:val>
                                        </p:tav>
                                        <p:tav tm="100000">
                                          <p:val>
                                            <p:strVal val="#ppt_x"/>
                                          </p:val>
                                        </p:tav>
                                      </p:tavLst>
                                    </p:anim>
                                    <p:anim calcmode="lin" valueType="num">
                                      <p:cBhvr>
                                        <p:cTn id="31" dur="500" fill="hold"/>
                                        <p:tgtEl>
                                          <p:spTgt spid="29"/>
                                        </p:tgtEl>
                                        <p:attrNameLst>
                                          <p:attrName>ppt_y</p:attrName>
                                        </p:attrNameLst>
                                      </p:cBhvr>
                                      <p:tavLst>
                                        <p:tav tm="0">
                                          <p:val>
                                            <p:strVal val="#ppt_y"/>
                                          </p:val>
                                        </p:tav>
                                        <p:tav tm="100000">
                                          <p:val>
                                            <p:strVal val="#ppt_y"/>
                                          </p:val>
                                        </p:tav>
                                      </p:tavLst>
                                    </p:anim>
                                    <p:anim calcmode="lin" valueType="num">
                                      <p:cBhvr>
                                        <p:cTn id="32" dur="500" fill="hold"/>
                                        <p:tgtEl>
                                          <p:spTgt spid="29"/>
                                        </p:tgtEl>
                                        <p:attrNameLst>
                                          <p:attrName>ppt_h</p:attrName>
                                        </p:attrNameLst>
                                      </p:cBhvr>
                                      <p:tavLst>
                                        <p:tav tm="0">
                                          <p:val>
                                            <p:strVal val="#ppt_h/10"/>
                                          </p:val>
                                        </p:tav>
                                        <p:tav tm="50000">
                                          <p:val>
                                            <p:strVal val="#ppt_h+.01"/>
                                          </p:val>
                                        </p:tav>
                                        <p:tav tm="100000">
                                          <p:val>
                                            <p:strVal val="#ppt_h"/>
                                          </p:val>
                                        </p:tav>
                                      </p:tavLst>
                                    </p:anim>
                                    <p:anim calcmode="lin" valueType="num">
                                      <p:cBhvr>
                                        <p:cTn id="33" dur="500" fill="hold"/>
                                        <p:tgtEl>
                                          <p:spTgt spid="29"/>
                                        </p:tgtEl>
                                        <p:attrNameLst>
                                          <p:attrName>ppt_w</p:attrName>
                                        </p:attrNameLst>
                                      </p:cBhvr>
                                      <p:tavLst>
                                        <p:tav tm="0">
                                          <p:val>
                                            <p:strVal val="#ppt_w/10"/>
                                          </p:val>
                                        </p:tav>
                                        <p:tav tm="50000">
                                          <p:val>
                                            <p:strVal val="#ppt_w+.01"/>
                                          </p:val>
                                        </p:tav>
                                        <p:tav tm="100000">
                                          <p:val>
                                            <p:strVal val="#ppt_w"/>
                                          </p:val>
                                        </p:tav>
                                      </p:tavLst>
                                    </p:anim>
                                    <p:animEffect transition="in" filter="fade">
                                      <p:cBhvr>
                                        <p:cTn id="34" dur="500"/>
                                        <p:tgtEl>
                                          <p:spTgt spid="29"/>
                                        </p:tgtEl>
                                      </p:cBhvr>
                                    </p:animEffect>
                                  </p:childTnLst>
                                </p:cTn>
                              </p:par>
                            </p:childTnLst>
                          </p:cTn>
                        </p:par>
                        <p:par>
                          <p:cTn id="35" fill="hold">
                            <p:stCondLst>
                              <p:cond delay="3500"/>
                            </p:stCondLst>
                            <p:childTnLst>
                              <p:par>
                                <p:cTn id="36" presetID="41" presetClass="entr" presetSubtype="0" fill="hold" grpId="1" nodeType="afterEffect">
                                  <p:stCondLst>
                                    <p:cond delay="0"/>
                                  </p:stCondLst>
                                  <p:iterate type="lt">
                                    <p:tmPct val="10000"/>
                                  </p:iterate>
                                  <p:childTnLst>
                                    <p:set>
                                      <p:cBhvr>
                                        <p:cTn id="37" dur="1" fill="hold">
                                          <p:stCondLst>
                                            <p:cond delay="0"/>
                                          </p:stCondLst>
                                        </p:cTn>
                                        <p:tgtEl>
                                          <p:spTgt spid="37"/>
                                        </p:tgtEl>
                                        <p:attrNameLst>
                                          <p:attrName>style.visibility</p:attrName>
                                        </p:attrNameLst>
                                      </p:cBhvr>
                                      <p:to>
                                        <p:strVal val="visible"/>
                                      </p:to>
                                    </p:set>
                                    <p:anim calcmode="lin" valueType="num">
                                      <p:cBhvr>
                                        <p:cTn id="38" dur="500" fill="hold"/>
                                        <p:tgtEl>
                                          <p:spTgt spid="37"/>
                                        </p:tgtEl>
                                        <p:attrNameLst>
                                          <p:attrName>ppt_x</p:attrName>
                                        </p:attrNameLst>
                                      </p:cBhvr>
                                      <p:tavLst>
                                        <p:tav tm="0">
                                          <p:val>
                                            <p:strVal val="#ppt_x"/>
                                          </p:val>
                                        </p:tav>
                                        <p:tav tm="50000">
                                          <p:val>
                                            <p:strVal val="#ppt_x+.1"/>
                                          </p:val>
                                        </p:tav>
                                        <p:tav tm="100000">
                                          <p:val>
                                            <p:strVal val="#ppt_x"/>
                                          </p:val>
                                        </p:tav>
                                      </p:tavLst>
                                    </p:anim>
                                    <p:anim calcmode="lin" valueType="num">
                                      <p:cBhvr>
                                        <p:cTn id="39" dur="500" fill="hold"/>
                                        <p:tgtEl>
                                          <p:spTgt spid="37"/>
                                        </p:tgtEl>
                                        <p:attrNameLst>
                                          <p:attrName>ppt_y</p:attrName>
                                        </p:attrNameLst>
                                      </p:cBhvr>
                                      <p:tavLst>
                                        <p:tav tm="0">
                                          <p:val>
                                            <p:strVal val="#ppt_y"/>
                                          </p:val>
                                        </p:tav>
                                        <p:tav tm="100000">
                                          <p:val>
                                            <p:strVal val="#ppt_y"/>
                                          </p:val>
                                        </p:tav>
                                      </p:tavLst>
                                    </p:anim>
                                    <p:anim calcmode="lin" valueType="num">
                                      <p:cBhvr>
                                        <p:cTn id="40" dur="500" fill="hold"/>
                                        <p:tgtEl>
                                          <p:spTgt spid="37"/>
                                        </p:tgtEl>
                                        <p:attrNameLst>
                                          <p:attrName>ppt_h</p:attrName>
                                        </p:attrNameLst>
                                      </p:cBhvr>
                                      <p:tavLst>
                                        <p:tav tm="0">
                                          <p:val>
                                            <p:strVal val="#ppt_h/10"/>
                                          </p:val>
                                        </p:tav>
                                        <p:tav tm="50000">
                                          <p:val>
                                            <p:strVal val="#ppt_h+.01"/>
                                          </p:val>
                                        </p:tav>
                                        <p:tav tm="100000">
                                          <p:val>
                                            <p:strVal val="#ppt_h"/>
                                          </p:val>
                                        </p:tav>
                                      </p:tavLst>
                                    </p:anim>
                                    <p:anim calcmode="lin" valueType="num">
                                      <p:cBhvr>
                                        <p:cTn id="41" dur="500" fill="hold"/>
                                        <p:tgtEl>
                                          <p:spTgt spid="37"/>
                                        </p:tgtEl>
                                        <p:attrNameLst>
                                          <p:attrName>ppt_w</p:attrName>
                                        </p:attrNameLst>
                                      </p:cBhvr>
                                      <p:tavLst>
                                        <p:tav tm="0">
                                          <p:val>
                                            <p:strVal val="#ppt_w/10"/>
                                          </p:val>
                                        </p:tav>
                                        <p:tav tm="50000">
                                          <p:val>
                                            <p:strVal val="#ppt_w+.01"/>
                                          </p:val>
                                        </p:tav>
                                        <p:tav tm="100000">
                                          <p:val>
                                            <p:strVal val="#ppt_w"/>
                                          </p:val>
                                        </p:tav>
                                      </p:tavLst>
                                    </p:anim>
                                    <p:animEffect transition="in" filter="fade">
                                      <p:cBhvr>
                                        <p:cTn id="42" dur="500"/>
                                        <p:tgtEl>
                                          <p:spTgt spid="37"/>
                                        </p:tgtEl>
                                      </p:cBhvr>
                                    </p:animEffect>
                                  </p:childTnLst>
                                </p:cTn>
                              </p:par>
                            </p:childTnLst>
                          </p:cTn>
                        </p:par>
                        <p:par>
                          <p:cTn id="43" fill="hold">
                            <p:stCondLst>
                              <p:cond delay="4750"/>
                            </p:stCondLst>
                            <p:childTnLst>
                              <p:par>
                                <p:cTn id="44" presetID="22" presetClass="entr" presetSubtype="4" fill="hold" grpId="0" nodeType="after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down)">
                                      <p:cBhvr>
                                        <p:cTn id="46" dur="1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ldLvl="0" autoUpdateAnimBg="0"/>
      <p:bldP spid="29" grpId="1" bldLvl="0" animBg="1" autoUpdateAnimBg="0"/>
      <p:bldP spid="30" grpId="0" bldLvl="0" autoUpdateAnimBg="0"/>
      <p:bldP spid="30" grpId="1" bldLvl="0" animBg="1" autoUpdateAnimBg="0"/>
      <p:bldP spid="34" grpId="0" animBg="1"/>
      <p:bldP spid="35" grpId="0" animBg="1"/>
      <p:bldP spid="36" grpId="0" animBg="1"/>
      <p:bldP spid="37" grpId="0" bldLvl="0" autoUpdateAnimBg="0"/>
      <p:bldP spid="37" grpId="1" bldLvl="0" animBg="1" autoUpdateAnimBg="0"/>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六边形 28"/>
          <p:cNvSpPr/>
          <p:nvPr/>
        </p:nvSpPr>
        <p:spPr>
          <a:xfrm>
            <a:off x="1847851" y="1629833"/>
            <a:ext cx="1837267" cy="1583267"/>
          </a:xfrm>
          <a:prstGeom prst="hexagon">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altLang="zh-CN" sz="2800" dirty="0">
                <a:solidFill>
                  <a:srgbClr val="FFFFFF"/>
                </a:solidFill>
                <a:latin typeface="Impact" panose="020B0806030902050204" pitchFamily="34" charset="0"/>
                <a:cs typeface="+mn-ea"/>
              </a:rPr>
              <a:t>50%</a:t>
            </a:r>
            <a:endParaRPr lang="zh-CN" altLang="en-US" sz="2800" dirty="0">
              <a:solidFill>
                <a:srgbClr val="FFFFFF"/>
              </a:solidFill>
              <a:latin typeface="Impact" panose="020B0806030902050204" pitchFamily="34" charset="0"/>
              <a:cs typeface="+mn-ea"/>
            </a:endParaRPr>
          </a:p>
        </p:txBody>
      </p:sp>
      <p:sp>
        <p:nvSpPr>
          <p:cNvPr id="30" name="六边形 29"/>
          <p:cNvSpPr/>
          <p:nvPr/>
        </p:nvSpPr>
        <p:spPr>
          <a:xfrm>
            <a:off x="3805767" y="2817284"/>
            <a:ext cx="2362200" cy="2038349"/>
          </a:xfrm>
          <a:prstGeom prst="hexagon">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altLang="zh-CN" sz="4800" dirty="0">
                <a:solidFill>
                  <a:srgbClr val="FFFFFF"/>
                </a:solidFill>
                <a:latin typeface="Impact" panose="020B0806030902050204" pitchFamily="34" charset="0"/>
                <a:cs typeface="+mn-ea"/>
              </a:rPr>
              <a:t>75%</a:t>
            </a:r>
            <a:endParaRPr lang="zh-CN" altLang="en-US" sz="4800" dirty="0">
              <a:solidFill>
                <a:srgbClr val="FFFFFF"/>
              </a:solidFill>
              <a:latin typeface="Impact" panose="020B0806030902050204" pitchFamily="34" charset="0"/>
              <a:cs typeface="+mn-ea"/>
            </a:endParaRPr>
          </a:p>
        </p:txBody>
      </p:sp>
      <p:sp>
        <p:nvSpPr>
          <p:cNvPr id="34" name="六边形 33"/>
          <p:cNvSpPr/>
          <p:nvPr/>
        </p:nvSpPr>
        <p:spPr>
          <a:xfrm>
            <a:off x="2220384" y="4222752"/>
            <a:ext cx="1464733" cy="1263649"/>
          </a:xfrm>
          <a:prstGeom prst="hexagon">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altLang="zh-CN" sz="3600" dirty="0">
                <a:solidFill>
                  <a:srgbClr val="FFFFFF"/>
                </a:solidFill>
                <a:latin typeface="Impact" panose="020B0806030902050204" pitchFamily="34" charset="0"/>
                <a:cs typeface="+mn-ea"/>
              </a:rPr>
              <a:t>45%</a:t>
            </a:r>
            <a:endParaRPr lang="zh-CN" altLang="en-US" sz="3600" dirty="0">
              <a:solidFill>
                <a:srgbClr val="FFFFFF"/>
              </a:solidFill>
              <a:latin typeface="Impact" panose="020B0806030902050204" pitchFamily="34" charset="0"/>
              <a:cs typeface="+mn-ea"/>
            </a:endParaRPr>
          </a:p>
        </p:txBody>
      </p:sp>
      <p:sp>
        <p:nvSpPr>
          <p:cNvPr id="35" name="六边形 34"/>
          <p:cNvSpPr/>
          <p:nvPr/>
        </p:nvSpPr>
        <p:spPr>
          <a:xfrm>
            <a:off x="982134" y="3376084"/>
            <a:ext cx="1071033" cy="920749"/>
          </a:xfrm>
          <a:prstGeom prst="hexagon">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altLang="zh-CN" sz="2400" dirty="0">
                <a:solidFill>
                  <a:srgbClr val="FFFFFF"/>
                </a:solidFill>
                <a:latin typeface="Impact" panose="020B0806030902050204" pitchFamily="34" charset="0"/>
                <a:cs typeface="+mn-ea"/>
              </a:rPr>
              <a:t>30%</a:t>
            </a:r>
            <a:endParaRPr lang="zh-CN" altLang="en-US" sz="2400" dirty="0">
              <a:solidFill>
                <a:srgbClr val="FFFFFF"/>
              </a:solidFill>
              <a:latin typeface="Impact" panose="020B0806030902050204" pitchFamily="34" charset="0"/>
              <a:cs typeface="+mn-ea"/>
            </a:endParaRPr>
          </a:p>
        </p:txBody>
      </p:sp>
      <p:grpSp>
        <p:nvGrpSpPr>
          <p:cNvPr id="36" name="组合 35"/>
          <p:cNvGrpSpPr/>
          <p:nvPr/>
        </p:nvGrpSpPr>
        <p:grpSpPr bwMode="auto">
          <a:xfrm>
            <a:off x="7239001" y="1346200"/>
            <a:ext cx="3723217" cy="3775153"/>
            <a:chOff x="7239000" y="1346200"/>
            <a:chExt cx="3722688" cy="3775995"/>
          </a:xfrm>
        </p:grpSpPr>
        <p:sp>
          <p:nvSpPr>
            <p:cNvPr id="37" name="矩形 38"/>
            <p:cNvSpPr>
              <a:spLocks noChangeArrowheads="1"/>
            </p:cNvSpPr>
            <p:nvPr/>
          </p:nvSpPr>
          <p:spPr bwMode="auto">
            <a:xfrm>
              <a:off x="7239000" y="1346200"/>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endParaRPr lang="zh-CN" altLang="en-US" sz="1600">
                <a:solidFill>
                  <a:srgbClr val="969696"/>
                </a:solidFill>
                <a:latin typeface="+mn-ea"/>
                <a:ea typeface="+mn-ea"/>
                <a:cs typeface="+mn-ea"/>
              </a:endParaRPr>
            </a:p>
          </p:txBody>
        </p:sp>
        <p:sp>
          <p:nvSpPr>
            <p:cNvPr id="38" name="矩形 39"/>
            <p:cNvSpPr>
              <a:spLocks noChangeArrowheads="1"/>
            </p:cNvSpPr>
            <p:nvPr/>
          </p:nvSpPr>
          <p:spPr bwMode="auto">
            <a:xfrm>
              <a:off x="7239000" y="2819399"/>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endParaRPr lang="zh-CN" altLang="en-US" sz="1600">
                <a:solidFill>
                  <a:srgbClr val="969696"/>
                </a:solidFill>
                <a:latin typeface="+mn-ea"/>
                <a:ea typeface="+mn-ea"/>
                <a:cs typeface="+mn-ea"/>
              </a:endParaRPr>
            </a:p>
          </p:txBody>
        </p:sp>
        <p:sp>
          <p:nvSpPr>
            <p:cNvPr id="39" name="矩形 40"/>
            <p:cNvSpPr>
              <a:spLocks noChangeArrowheads="1"/>
            </p:cNvSpPr>
            <p:nvPr/>
          </p:nvSpPr>
          <p:spPr bwMode="auto">
            <a:xfrm>
              <a:off x="7239000" y="4291013"/>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endParaRPr lang="zh-CN" altLang="en-US" sz="1600">
                <a:solidFill>
                  <a:srgbClr val="969696"/>
                </a:solidFill>
                <a:latin typeface="+mn-ea"/>
                <a:ea typeface="+mn-ea"/>
                <a:cs typeface="+mn-ea"/>
              </a:endParaRPr>
            </a:p>
          </p:txBody>
        </p:sp>
      </p:grpSp>
      <p:sp>
        <p:nvSpPr>
          <p:cNvPr id="13"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14" name="文本框 13"/>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childTnLst>
                          </p:cTn>
                        </p:par>
                        <p:par>
                          <p:cTn id="20" fill="hold">
                            <p:stCondLst>
                              <p:cond delay="2000"/>
                            </p:stCondLst>
                            <p:childTnLst>
                              <p:par>
                                <p:cTn id="21" presetID="2" presetClass="entr" presetSubtype="2" fill="hold" nodeType="afterEffect">
                                  <p:stCondLst>
                                    <p:cond delay="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1+#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childTnLst>
                          </p:cTn>
                        </p:par>
                        <p:par>
                          <p:cTn id="25" fill="hold">
                            <p:stCondLst>
                              <p:cond delay="2500"/>
                            </p:stCondLst>
                            <p:childTnLst>
                              <p:par>
                                <p:cTn id="26" presetID="22" presetClass="entr" presetSubtype="4" fill="hold" grpId="0" nodeType="after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wipe(down)">
                                      <p:cBhvr>
                                        <p:cTn id="28"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4" grpId="0" animBg="1"/>
      <p:bldP spid="35" grpId="0" animBg="1"/>
      <p:bldP spid="1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654051" y="1743340"/>
            <a:ext cx="5568949" cy="3959377"/>
            <a:chOff x="654050" y="1341438"/>
            <a:chExt cx="5568950" cy="3960543"/>
          </a:xfrm>
        </p:grpSpPr>
        <p:sp>
          <p:nvSpPr>
            <p:cNvPr id="6" name="空心弧 5"/>
            <p:cNvSpPr>
              <a:spLocks noChangeAspect="1"/>
            </p:cNvSpPr>
            <p:nvPr/>
          </p:nvSpPr>
          <p:spPr>
            <a:xfrm>
              <a:off x="654050" y="1341438"/>
              <a:ext cx="2880783" cy="2879515"/>
            </a:xfrm>
            <a:prstGeom prst="blockArc">
              <a:avLst>
                <a:gd name="adj1" fmla="val 10800000"/>
                <a:gd name="adj2" fmla="val 38981"/>
                <a:gd name="adj3" fmla="val 6924"/>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7" name="空心弧 6"/>
            <p:cNvSpPr>
              <a:spLocks noChangeAspect="1"/>
            </p:cNvSpPr>
            <p:nvPr/>
          </p:nvSpPr>
          <p:spPr>
            <a:xfrm flipV="1">
              <a:off x="3344333" y="1341438"/>
              <a:ext cx="2878667" cy="2879515"/>
            </a:xfrm>
            <a:prstGeom prst="blockArc">
              <a:avLst>
                <a:gd name="adj1" fmla="val 10800000"/>
                <a:gd name="adj2" fmla="val 38981"/>
                <a:gd name="adj3" fmla="val 6924"/>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8" name="Freeform 466"/>
            <p:cNvSpPr/>
            <p:nvPr/>
          </p:nvSpPr>
          <p:spPr bwMode="auto">
            <a:xfrm>
              <a:off x="1927225" y="2006600"/>
              <a:ext cx="458788" cy="1270000"/>
            </a:xfrm>
            <a:custGeom>
              <a:avLst/>
              <a:gdLst>
                <a:gd name="T0" fmla="*/ 2147483647 w 6132"/>
                <a:gd name="T1" fmla="*/ 2147483647 h 16980"/>
                <a:gd name="T2" fmla="*/ 2147483647 w 6132"/>
                <a:gd name="T3" fmla="*/ 2147483647 h 16980"/>
                <a:gd name="T4" fmla="*/ 2147483647 w 6132"/>
                <a:gd name="T5" fmla="*/ 2147483647 h 16980"/>
                <a:gd name="T6" fmla="*/ 2147483647 w 6132"/>
                <a:gd name="T7" fmla="*/ 2147483647 h 16980"/>
                <a:gd name="T8" fmla="*/ 2147483647 w 6132"/>
                <a:gd name="T9" fmla="*/ 2147483647 h 16980"/>
                <a:gd name="T10" fmla="*/ 2147483647 w 6132"/>
                <a:gd name="T11" fmla="*/ 2147483647 h 16980"/>
                <a:gd name="T12" fmla="*/ 2147483647 w 6132"/>
                <a:gd name="T13" fmla="*/ 2147483647 h 16980"/>
                <a:gd name="T14" fmla="*/ 2147483647 w 6132"/>
                <a:gd name="T15" fmla="*/ 2147483647 h 16980"/>
                <a:gd name="T16" fmla="*/ 2147483647 w 6132"/>
                <a:gd name="T17" fmla="*/ 2147483647 h 16980"/>
                <a:gd name="T18" fmla="*/ 2147483647 w 6132"/>
                <a:gd name="T19" fmla="*/ 2147483647 h 16980"/>
                <a:gd name="T20" fmla="*/ 2147483647 w 6132"/>
                <a:gd name="T21" fmla="*/ 2147483647 h 16980"/>
                <a:gd name="T22" fmla="*/ 2147483647 w 6132"/>
                <a:gd name="T23" fmla="*/ 2147483647 h 16980"/>
                <a:gd name="T24" fmla="*/ 2147483647 w 6132"/>
                <a:gd name="T25" fmla="*/ 2147483647 h 16980"/>
                <a:gd name="T26" fmla="*/ 2147483647 w 6132"/>
                <a:gd name="T27" fmla="*/ 2147483647 h 16980"/>
                <a:gd name="T28" fmla="*/ 2147483647 w 6132"/>
                <a:gd name="T29" fmla="*/ 2147483647 h 16980"/>
                <a:gd name="T30" fmla="*/ 2147483647 w 6132"/>
                <a:gd name="T31" fmla="*/ 2147483647 h 16980"/>
                <a:gd name="T32" fmla="*/ 2147483647 w 6132"/>
                <a:gd name="T33" fmla="*/ 2147483647 h 16980"/>
                <a:gd name="T34" fmla="*/ 2147483647 w 6132"/>
                <a:gd name="T35" fmla="*/ 2147483647 h 16980"/>
                <a:gd name="T36" fmla="*/ 2147483647 w 6132"/>
                <a:gd name="T37" fmla="*/ 2147483647 h 16980"/>
                <a:gd name="T38" fmla="*/ 2147483647 w 6132"/>
                <a:gd name="T39" fmla="*/ 2147483647 h 16980"/>
                <a:gd name="T40" fmla="*/ 2147483647 w 6132"/>
                <a:gd name="T41" fmla="*/ 2147483647 h 16980"/>
                <a:gd name="T42" fmla="*/ 2147483647 w 6132"/>
                <a:gd name="T43" fmla="*/ 2147483647 h 16980"/>
                <a:gd name="T44" fmla="*/ 2147483647 w 6132"/>
                <a:gd name="T45" fmla="*/ 2147483647 h 16980"/>
                <a:gd name="T46" fmla="*/ 2147483647 w 6132"/>
                <a:gd name="T47" fmla="*/ 2147483647 h 16980"/>
                <a:gd name="T48" fmla="*/ 2147483647 w 6132"/>
                <a:gd name="T49" fmla="*/ 2147483647 h 16980"/>
                <a:gd name="T50" fmla="*/ 2147483647 w 6132"/>
                <a:gd name="T51" fmla="*/ 2147483647 h 16980"/>
                <a:gd name="T52" fmla="*/ 2147483647 w 6132"/>
                <a:gd name="T53" fmla="*/ 2147483647 h 16980"/>
                <a:gd name="T54" fmla="*/ 2147483647 w 6132"/>
                <a:gd name="T55" fmla="*/ 2147483647 h 16980"/>
                <a:gd name="T56" fmla="*/ 2147483647 w 6132"/>
                <a:gd name="T57" fmla="*/ 2147483647 h 16980"/>
                <a:gd name="T58" fmla="*/ 2147483647 w 6132"/>
                <a:gd name="T59" fmla="*/ 2147483647 h 16980"/>
                <a:gd name="T60" fmla="*/ 2147483647 w 6132"/>
                <a:gd name="T61" fmla="*/ 2147483647 h 16980"/>
                <a:gd name="T62" fmla="*/ 2147483647 w 6132"/>
                <a:gd name="T63" fmla="*/ 2147483647 h 16980"/>
                <a:gd name="T64" fmla="*/ 2147483647 w 6132"/>
                <a:gd name="T65" fmla="*/ 2147483647 h 16980"/>
                <a:gd name="T66" fmla="*/ 2147483647 w 6132"/>
                <a:gd name="T67" fmla="*/ 2147483647 h 16980"/>
                <a:gd name="T68" fmla="*/ 2147483647 w 6132"/>
                <a:gd name="T69" fmla="*/ 2147483647 h 16980"/>
                <a:gd name="T70" fmla="*/ 2147483647 w 6132"/>
                <a:gd name="T71" fmla="*/ 2147483647 h 16980"/>
                <a:gd name="T72" fmla="*/ 2147483647 w 6132"/>
                <a:gd name="T73" fmla="*/ 2147483647 h 16980"/>
                <a:gd name="T74" fmla="*/ 2147483647 w 6132"/>
                <a:gd name="T75" fmla="*/ 2147483647 h 16980"/>
                <a:gd name="T76" fmla="*/ 2147483647 w 6132"/>
                <a:gd name="T77" fmla="*/ 2147483647 h 16980"/>
                <a:gd name="T78" fmla="*/ 2147483647 w 6132"/>
                <a:gd name="T79" fmla="*/ 2147483647 h 16980"/>
                <a:gd name="T80" fmla="*/ 2147483647 w 6132"/>
                <a:gd name="T81" fmla="*/ 2147483647 h 16980"/>
                <a:gd name="T82" fmla="*/ 2147483647 w 6132"/>
                <a:gd name="T83" fmla="*/ 2147483647 h 16980"/>
                <a:gd name="T84" fmla="*/ 2147483647 w 6132"/>
                <a:gd name="T85" fmla="*/ 2147483647 h 16980"/>
                <a:gd name="T86" fmla="*/ 2147483647 w 6132"/>
                <a:gd name="T87" fmla="*/ 2147483647 h 16980"/>
                <a:gd name="T88" fmla="*/ 2147483647 w 6132"/>
                <a:gd name="T89" fmla="*/ 2147483647 h 16980"/>
                <a:gd name="T90" fmla="*/ 2147483647 w 6132"/>
                <a:gd name="T91" fmla="*/ 2147483647 h 16980"/>
                <a:gd name="T92" fmla="*/ 2147483647 w 6132"/>
                <a:gd name="T93" fmla="*/ 2147483647 h 16980"/>
                <a:gd name="T94" fmla="*/ 2147483647 w 6132"/>
                <a:gd name="T95" fmla="*/ 2147483647 h 16980"/>
                <a:gd name="T96" fmla="*/ 2147483647 w 6132"/>
                <a:gd name="T97" fmla="*/ 2147483647 h 16980"/>
                <a:gd name="T98" fmla="*/ 2147483647 w 6132"/>
                <a:gd name="T99" fmla="*/ 2147483647 h 16980"/>
                <a:gd name="T100" fmla="*/ 2147483647 w 6132"/>
                <a:gd name="T101" fmla="*/ 2147483647 h 16980"/>
                <a:gd name="T102" fmla="*/ 2147483647 w 6132"/>
                <a:gd name="T103" fmla="*/ 2147483647 h 16980"/>
                <a:gd name="T104" fmla="*/ 2147483647 w 6132"/>
                <a:gd name="T105" fmla="*/ 2147483647 h 16980"/>
                <a:gd name="T106" fmla="*/ 2147483647 w 6132"/>
                <a:gd name="T107" fmla="*/ 2147483647 h 16980"/>
                <a:gd name="T108" fmla="*/ 2147483647 w 6132"/>
                <a:gd name="T109" fmla="*/ 2147483647 h 16980"/>
                <a:gd name="T110" fmla="*/ 2147483647 w 6132"/>
                <a:gd name="T111" fmla="*/ 2147483647 h 16980"/>
                <a:gd name="T112" fmla="*/ 2147483647 w 6132"/>
                <a:gd name="T113" fmla="*/ 2147483647 h 16980"/>
                <a:gd name="T114" fmla="*/ 2147483647 w 6132"/>
                <a:gd name="T115" fmla="*/ 2147483647 h 16980"/>
                <a:gd name="T116" fmla="*/ 2147483647 w 6132"/>
                <a:gd name="T117" fmla="*/ 2147483647 h 16980"/>
                <a:gd name="T118" fmla="*/ 2147483647 w 6132"/>
                <a:gd name="T119" fmla="*/ 2147483647 h 16980"/>
                <a:gd name="T120" fmla="*/ 2147483647 w 6132"/>
                <a:gd name="T121" fmla="*/ 2147483647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rgbClr val="E46C0A"/>
            </a:solidFill>
            <a:ln w="28575">
              <a:solidFill>
                <a:srgbClr val="F2F2F2"/>
              </a:solidFill>
              <a:rou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grpSp>
          <p:nvGrpSpPr>
            <p:cNvPr id="9" name="组合 8"/>
            <p:cNvGrpSpPr/>
            <p:nvPr/>
          </p:nvGrpSpPr>
          <p:grpSpPr>
            <a:xfrm>
              <a:off x="4614322" y="2006529"/>
              <a:ext cx="538462" cy="1270618"/>
              <a:chOff x="4967412" y="68003"/>
              <a:chExt cx="638068" cy="1566170"/>
            </a:xfrm>
            <a:solidFill>
              <a:srgbClr val="135707"/>
            </a:solidFill>
          </p:grpSpPr>
          <p:sp>
            <p:nvSpPr>
              <p:cNvPr id="12" name="Freeform 468"/>
              <p:cNvSpPr/>
              <p:nvPr/>
            </p:nvSpPr>
            <p:spPr bwMode="auto">
              <a:xfrm>
                <a:off x="5004048" y="68003"/>
                <a:ext cx="564797" cy="1566170"/>
              </a:xfrm>
              <a:custGeom>
                <a:avLst/>
                <a:gdLst>
                  <a:gd name="T0" fmla="*/ 0 w 6132"/>
                  <a:gd name="T1" fmla="*/ 0 h 16980"/>
                  <a:gd name="T2" fmla="*/ 0 w 6132"/>
                  <a:gd name="T3" fmla="*/ 0 h 16980"/>
                  <a:gd name="T4" fmla="*/ 0 w 6132"/>
                  <a:gd name="T5" fmla="*/ 0 h 16980"/>
                  <a:gd name="T6" fmla="*/ 0 w 6132"/>
                  <a:gd name="T7" fmla="*/ 0 h 16980"/>
                  <a:gd name="T8" fmla="*/ 0 w 6132"/>
                  <a:gd name="T9" fmla="*/ 0 h 16980"/>
                  <a:gd name="T10" fmla="*/ 0 w 6132"/>
                  <a:gd name="T11" fmla="*/ 0 h 16980"/>
                  <a:gd name="T12" fmla="*/ 0 w 6132"/>
                  <a:gd name="T13" fmla="*/ 0 h 16980"/>
                  <a:gd name="T14" fmla="*/ 0 w 6132"/>
                  <a:gd name="T15" fmla="*/ 0 h 16980"/>
                  <a:gd name="T16" fmla="*/ 0 w 6132"/>
                  <a:gd name="T17" fmla="*/ 0 h 16980"/>
                  <a:gd name="T18" fmla="*/ 0 w 6132"/>
                  <a:gd name="T19" fmla="*/ 0 h 16980"/>
                  <a:gd name="T20" fmla="*/ 0 w 6132"/>
                  <a:gd name="T21" fmla="*/ 0 h 16980"/>
                  <a:gd name="T22" fmla="*/ 0 w 6132"/>
                  <a:gd name="T23" fmla="*/ 0 h 16980"/>
                  <a:gd name="T24" fmla="*/ 0 w 6132"/>
                  <a:gd name="T25" fmla="*/ 0 h 16980"/>
                  <a:gd name="T26" fmla="*/ 0 w 6132"/>
                  <a:gd name="T27" fmla="*/ 0 h 16980"/>
                  <a:gd name="T28" fmla="*/ 0 w 6132"/>
                  <a:gd name="T29" fmla="*/ 0 h 16980"/>
                  <a:gd name="T30" fmla="*/ 0 w 6132"/>
                  <a:gd name="T31" fmla="*/ 0 h 16980"/>
                  <a:gd name="T32" fmla="*/ 0 w 6132"/>
                  <a:gd name="T33" fmla="*/ 0 h 16980"/>
                  <a:gd name="T34" fmla="*/ 0 w 6132"/>
                  <a:gd name="T35" fmla="*/ 0 h 16980"/>
                  <a:gd name="T36" fmla="*/ 0 w 6132"/>
                  <a:gd name="T37" fmla="*/ 0 h 16980"/>
                  <a:gd name="T38" fmla="*/ 0 w 6132"/>
                  <a:gd name="T39" fmla="*/ 0 h 16980"/>
                  <a:gd name="T40" fmla="*/ 0 w 6132"/>
                  <a:gd name="T41" fmla="*/ 0 h 16980"/>
                  <a:gd name="T42" fmla="*/ 0 w 6132"/>
                  <a:gd name="T43" fmla="*/ 0 h 16980"/>
                  <a:gd name="T44" fmla="*/ 0 w 6132"/>
                  <a:gd name="T45" fmla="*/ 0 h 16980"/>
                  <a:gd name="T46" fmla="*/ 0 w 6132"/>
                  <a:gd name="T47" fmla="*/ 0 h 16980"/>
                  <a:gd name="T48" fmla="*/ 0 w 6132"/>
                  <a:gd name="T49" fmla="*/ 0 h 16980"/>
                  <a:gd name="T50" fmla="*/ 0 w 6132"/>
                  <a:gd name="T51" fmla="*/ 0 h 16980"/>
                  <a:gd name="T52" fmla="*/ 0 w 6132"/>
                  <a:gd name="T53" fmla="*/ 0 h 16980"/>
                  <a:gd name="T54" fmla="*/ 0 w 6132"/>
                  <a:gd name="T55" fmla="*/ 0 h 16980"/>
                  <a:gd name="T56" fmla="*/ 0 w 6132"/>
                  <a:gd name="T57" fmla="*/ 0 h 16980"/>
                  <a:gd name="T58" fmla="*/ 0 w 6132"/>
                  <a:gd name="T59" fmla="*/ 0 h 16980"/>
                  <a:gd name="T60" fmla="*/ 0 w 6132"/>
                  <a:gd name="T61" fmla="*/ 0 h 16980"/>
                  <a:gd name="T62" fmla="*/ 0 w 6132"/>
                  <a:gd name="T63" fmla="*/ 0 h 16980"/>
                  <a:gd name="T64" fmla="*/ 0 w 6132"/>
                  <a:gd name="T65" fmla="*/ 0 h 16980"/>
                  <a:gd name="T66" fmla="*/ 0 w 6132"/>
                  <a:gd name="T67" fmla="*/ 0 h 16980"/>
                  <a:gd name="T68" fmla="*/ 0 w 6132"/>
                  <a:gd name="T69" fmla="*/ 0 h 16980"/>
                  <a:gd name="T70" fmla="*/ 0 w 6132"/>
                  <a:gd name="T71" fmla="*/ 0 h 16980"/>
                  <a:gd name="T72" fmla="*/ 0 w 6132"/>
                  <a:gd name="T73" fmla="*/ 0 h 16980"/>
                  <a:gd name="T74" fmla="*/ 0 w 6132"/>
                  <a:gd name="T75" fmla="*/ 0 h 16980"/>
                  <a:gd name="T76" fmla="*/ 0 w 6132"/>
                  <a:gd name="T77" fmla="*/ 0 h 16980"/>
                  <a:gd name="T78" fmla="*/ 0 w 6132"/>
                  <a:gd name="T79" fmla="*/ 0 h 16980"/>
                  <a:gd name="T80" fmla="*/ 0 w 6132"/>
                  <a:gd name="T81" fmla="*/ 0 h 16980"/>
                  <a:gd name="T82" fmla="*/ 0 w 6132"/>
                  <a:gd name="T83" fmla="*/ 0 h 16980"/>
                  <a:gd name="T84" fmla="*/ 0 w 6132"/>
                  <a:gd name="T85" fmla="*/ 0 h 16980"/>
                  <a:gd name="T86" fmla="*/ 0 w 6132"/>
                  <a:gd name="T87" fmla="*/ 0 h 16980"/>
                  <a:gd name="T88" fmla="*/ 0 w 6132"/>
                  <a:gd name="T89" fmla="*/ 0 h 16980"/>
                  <a:gd name="T90" fmla="*/ 0 w 6132"/>
                  <a:gd name="T91" fmla="*/ 0 h 16980"/>
                  <a:gd name="T92" fmla="*/ 0 w 6132"/>
                  <a:gd name="T93" fmla="*/ 0 h 16980"/>
                  <a:gd name="T94" fmla="*/ 0 w 6132"/>
                  <a:gd name="T95" fmla="*/ 0 h 16980"/>
                  <a:gd name="T96" fmla="*/ 0 w 6132"/>
                  <a:gd name="T97" fmla="*/ 0 h 16980"/>
                  <a:gd name="T98" fmla="*/ 0 w 6132"/>
                  <a:gd name="T99" fmla="*/ 0 h 16980"/>
                  <a:gd name="T100" fmla="*/ 0 w 6132"/>
                  <a:gd name="T101" fmla="*/ 0 h 16980"/>
                  <a:gd name="T102" fmla="*/ 0 w 6132"/>
                  <a:gd name="T103" fmla="*/ 0 h 16980"/>
                  <a:gd name="T104" fmla="*/ 0 w 6132"/>
                  <a:gd name="T105" fmla="*/ 0 h 16980"/>
                  <a:gd name="T106" fmla="*/ 0 w 6132"/>
                  <a:gd name="T107" fmla="*/ 0 h 16980"/>
                  <a:gd name="T108" fmla="*/ 0 w 6132"/>
                  <a:gd name="T109" fmla="*/ 0 h 16980"/>
                  <a:gd name="T110" fmla="*/ 0 w 6132"/>
                  <a:gd name="T111" fmla="*/ 0 h 16980"/>
                  <a:gd name="T112" fmla="*/ 0 w 6132"/>
                  <a:gd name="T113" fmla="*/ 0 h 16980"/>
                  <a:gd name="T114" fmla="*/ 0 w 6132"/>
                  <a:gd name="T115" fmla="*/ 0 h 16980"/>
                  <a:gd name="T116" fmla="*/ 0 w 6132"/>
                  <a:gd name="T117" fmla="*/ 0 h 16980"/>
                  <a:gd name="T118" fmla="*/ 0 w 6132"/>
                  <a:gd name="T119" fmla="*/ 0 h 16980"/>
                  <a:gd name="T120" fmla="*/ 0 w 6132"/>
                  <a:gd name="T121" fmla="*/ 0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rgbClr val="254061"/>
              </a:solidFill>
              <a:ln w="28575">
                <a:solidFill>
                  <a:srgbClr val="F2F2F2"/>
                </a:solidFill>
                <a:round/>
              </a:ln>
              <a:effectLst>
                <a:outerShdw blurRad="88900" dist="75434" dir="2699985" rotWithShape="0">
                  <a:scrgbClr r="0" g="0" b="0">
                    <a:alpha val="23000"/>
                  </a:scrgbClr>
                </a:outerShdw>
              </a:effectLst>
            </p:spPr>
            <p:txBody>
              <a:bodyPr/>
              <a:lstStyle/>
              <a:p>
                <a:pPr>
                  <a:defRPr/>
                </a:pPr>
                <a:endParaRPr lang="zh-CN" altLang="en-US" sz="2400">
                  <a:solidFill>
                    <a:srgbClr val="000000"/>
                  </a:solidFill>
                  <a:cs typeface="+mn-ea"/>
                </a:endParaRPr>
              </a:p>
            </p:txBody>
          </p:sp>
          <p:sp>
            <p:nvSpPr>
              <p:cNvPr id="13" name="AutoShape 469"/>
              <p:cNvSpPr>
                <a:spLocks noChangeArrowheads="1"/>
              </p:cNvSpPr>
              <p:nvPr/>
            </p:nvSpPr>
            <p:spPr bwMode="auto">
              <a:xfrm rot="10800000">
                <a:off x="4967412" y="887856"/>
                <a:ext cx="638068" cy="402991"/>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47 w 21600"/>
                  <a:gd name="T13" fmla="*/ 4582 h 21600"/>
                  <a:gd name="T14" fmla="*/ 17053 w 21600"/>
                  <a:gd name="T15" fmla="*/ 17182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rgbClr val="25406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2400">
                  <a:cs typeface="+mn-ea"/>
                </a:endParaRPr>
              </a:p>
            </p:txBody>
          </p:sp>
        </p:grpSp>
        <p:sp>
          <p:nvSpPr>
            <p:cNvPr id="10" name="文本框 6"/>
            <p:cNvSpPr txBox="1">
              <a:spLocks noChangeArrowheads="1"/>
            </p:cNvSpPr>
            <p:nvPr/>
          </p:nvSpPr>
          <p:spPr bwMode="auto">
            <a:xfrm>
              <a:off x="665163" y="4532313"/>
              <a:ext cx="2678112" cy="769668"/>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400">
                  <a:solidFill>
                    <a:srgbClr val="FFFFFF"/>
                  </a:solidFill>
                  <a:latin typeface="Impact" panose="020B0806030902050204" pitchFamily="34" charset="0"/>
                  <a:ea typeface="+mn-ea"/>
                  <a:cs typeface="+mn-ea"/>
                </a:rPr>
                <a:t>25%</a:t>
              </a:r>
              <a:endParaRPr lang="zh-CN" altLang="en-US" sz="4400">
                <a:solidFill>
                  <a:srgbClr val="FFFFFF"/>
                </a:solidFill>
                <a:latin typeface="Impact" panose="020B0806030902050204" pitchFamily="34" charset="0"/>
                <a:ea typeface="+mn-ea"/>
                <a:cs typeface="+mn-ea"/>
              </a:endParaRPr>
            </a:p>
          </p:txBody>
        </p:sp>
        <p:sp>
          <p:nvSpPr>
            <p:cNvPr id="11" name="文本框 54"/>
            <p:cNvSpPr txBox="1">
              <a:spLocks noChangeArrowheads="1"/>
            </p:cNvSpPr>
            <p:nvPr/>
          </p:nvSpPr>
          <p:spPr bwMode="auto">
            <a:xfrm>
              <a:off x="3544888" y="4529138"/>
              <a:ext cx="2678112" cy="769668"/>
            </a:xfrm>
            <a:prstGeom prst="rect">
              <a:avLst/>
            </a:prstGeom>
            <a:solidFill>
              <a:srgbClr val="25406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400">
                  <a:solidFill>
                    <a:srgbClr val="FFFFFF"/>
                  </a:solidFill>
                  <a:latin typeface="Impact" panose="020B0806030902050204" pitchFamily="34" charset="0"/>
                  <a:ea typeface="+mn-ea"/>
                  <a:cs typeface="+mn-ea"/>
                </a:rPr>
                <a:t>25%</a:t>
              </a:r>
              <a:endParaRPr lang="zh-CN" altLang="en-US" sz="4400">
                <a:solidFill>
                  <a:srgbClr val="FFFFFF"/>
                </a:solidFill>
                <a:latin typeface="Impact" panose="020B0806030902050204" pitchFamily="34" charset="0"/>
                <a:ea typeface="+mn-ea"/>
                <a:cs typeface="+mn-ea"/>
              </a:endParaRPr>
            </a:p>
          </p:txBody>
        </p:sp>
      </p:grpSp>
      <p:grpSp>
        <p:nvGrpSpPr>
          <p:cNvPr id="14" name="组合 13"/>
          <p:cNvGrpSpPr/>
          <p:nvPr/>
        </p:nvGrpSpPr>
        <p:grpSpPr bwMode="auto">
          <a:xfrm>
            <a:off x="7689851" y="1722173"/>
            <a:ext cx="3721100" cy="3800551"/>
            <a:chOff x="7689850" y="1320800"/>
            <a:chExt cx="3721100" cy="3801394"/>
          </a:xfrm>
        </p:grpSpPr>
        <p:sp>
          <p:nvSpPr>
            <p:cNvPr id="15" name="矩形 42"/>
            <p:cNvSpPr>
              <a:spLocks noChangeArrowheads="1"/>
            </p:cNvSpPr>
            <p:nvPr/>
          </p:nvSpPr>
          <p:spPr bwMode="auto">
            <a:xfrm>
              <a:off x="7689850" y="1320800"/>
              <a:ext cx="3721100" cy="831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endParaRPr lang="zh-CN" altLang="en-US" sz="1600">
                <a:solidFill>
                  <a:srgbClr val="969696"/>
                </a:solidFill>
                <a:latin typeface="+mn-ea"/>
                <a:ea typeface="+mn-ea"/>
                <a:cs typeface="+mn-ea"/>
              </a:endParaRPr>
            </a:p>
          </p:txBody>
        </p:sp>
        <p:sp>
          <p:nvSpPr>
            <p:cNvPr id="16" name="矩形 43"/>
            <p:cNvSpPr>
              <a:spLocks noChangeArrowheads="1"/>
            </p:cNvSpPr>
            <p:nvPr/>
          </p:nvSpPr>
          <p:spPr bwMode="auto">
            <a:xfrm>
              <a:off x="7689850" y="2792413"/>
              <a:ext cx="3721100" cy="831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endParaRPr lang="zh-CN" altLang="en-US" sz="1600">
                <a:solidFill>
                  <a:srgbClr val="969696"/>
                </a:solidFill>
                <a:latin typeface="+mn-ea"/>
                <a:ea typeface="+mn-ea"/>
                <a:cs typeface="+mn-ea"/>
              </a:endParaRPr>
            </a:p>
          </p:txBody>
        </p:sp>
        <p:sp>
          <p:nvSpPr>
            <p:cNvPr id="17" name="矩形 44"/>
            <p:cNvSpPr>
              <a:spLocks noChangeArrowheads="1"/>
            </p:cNvSpPr>
            <p:nvPr/>
          </p:nvSpPr>
          <p:spPr bwMode="auto">
            <a:xfrm>
              <a:off x="7689850" y="4291013"/>
              <a:ext cx="3721100" cy="831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endParaRPr lang="zh-CN" altLang="en-US" sz="1600">
                <a:solidFill>
                  <a:srgbClr val="969696"/>
                </a:solidFill>
                <a:latin typeface="+mn-ea"/>
                <a:ea typeface="+mn-ea"/>
                <a:cs typeface="+mn-ea"/>
              </a:endParaRPr>
            </a:p>
          </p:txBody>
        </p:sp>
      </p:grpSp>
      <p:sp>
        <p:nvSpPr>
          <p:cNvPr id="18"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19" name="文本框 18"/>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1+#ppt_w/2"/>
                                          </p:val>
                                        </p:tav>
                                        <p:tav tm="100000">
                                          <p:val>
                                            <p:strVal val="#ppt_x"/>
                                          </p:val>
                                        </p:tav>
                                      </p:tavLst>
                                    </p:anim>
                                    <p:anim calcmode="lin" valueType="num">
                                      <p:cBhvr additive="base">
                                        <p:cTn id="13" dur="500" fill="hold"/>
                                        <p:tgtEl>
                                          <p:spTgt spid="1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2" presetClass="entr" presetSubtype="4"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down)">
                                      <p:cBhvr>
                                        <p:cTn id="17" dur="125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2957522" y="1445995"/>
            <a:ext cx="287692" cy="4626868"/>
            <a:chOff x="2563371" y="1931386"/>
            <a:chExt cx="262016" cy="4213920"/>
          </a:xfrm>
        </p:grpSpPr>
        <p:cxnSp>
          <p:nvCxnSpPr>
            <p:cNvPr id="19" name="直接连接符 18"/>
            <p:cNvCxnSpPr/>
            <p:nvPr/>
          </p:nvCxnSpPr>
          <p:spPr>
            <a:xfrm>
              <a:off x="2697640" y="1931386"/>
              <a:ext cx="0" cy="421392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sp>
          <p:nvSpPr>
            <p:cNvPr id="20" name="椭圆 19"/>
            <p:cNvSpPr/>
            <p:nvPr/>
          </p:nvSpPr>
          <p:spPr>
            <a:xfrm>
              <a:off x="2569893" y="2447365"/>
              <a:ext cx="255494" cy="255494"/>
            </a:xfrm>
            <a:prstGeom prst="ellipse">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algn="ctr"/>
              <a:endParaRPr lang="zh-CN" altLang="en-US" sz="4265" dirty="0">
                <a:latin typeface="+mn-ea"/>
                <a:cs typeface="+mn-ea"/>
              </a:endParaRPr>
            </a:p>
          </p:txBody>
        </p:sp>
        <p:sp>
          <p:nvSpPr>
            <p:cNvPr id="21" name="椭圆 20"/>
            <p:cNvSpPr/>
            <p:nvPr/>
          </p:nvSpPr>
          <p:spPr>
            <a:xfrm>
              <a:off x="2569893" y="4040841"/>
              <a:ext cx="255494" cy="255494"/>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algn="ctr"/>
              <a:endParaRPr lang="zh-CN" altLang="en-US" sz="4265" dirty="0">
                <a:solidFill>
                  <a:schemeClr val="bg1"/>
                </a:solidFill>
                <a:latin typeface="+mn-ea"/>
                <a:cs typeface="+mn-ea"/>
              </a:endParaRPr>
            </a:p>
          </p:txBody>
        </p:sp>
        <p:sp>
          <p:nvSpPr>
            <p:cNvPr id="22" name="椭圆 21"/>
            <p:cNvSpPr/>
            <p:nvPr/>
          </p:nvSpPr>
          <p:spPr>
            <a:xfrm>
              <a:off x="2563371" y="5634317"/>
              <a:ext cx="255494" cy="255494"/>
            </a:xfrm>
            <a:prstGeom prst="ellipse">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algn="ctr"/>
              <a:endParaRPr lang="zh-CN" altLang="en-US" sz="4265" dirty="0">
                <a:latin typeface="+mn-ea"/>
                <a:cs typeface="+mn-ea"/>
              </a:endParaRPr>
            </a:p>
          </p:txBody>
        </p:sp>
      </p:grpSp>
      <p:sp>
        <p:nvSpPr>
          <p:cNvPr id="23" name="泪滴形 22"/>
          <p:cNvSpPr/>
          <p:nvPr/>
        </p:nvSpPr>
        <p:spPr>
          <a:xfrm rot="2700000">
            <a:off x="1209593" y="1524357"/>
            <a:ext cx="1256891" cy="1256891"/>
          </a:xfrm>
          <a:prstGeom prst="teardrop">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algn="ctr"/>
            <a:r>
              <a:rPr lang="zh-CN" altLang="en-US" sz="2400" dirty="0">
                <a:solidFill>
                  <a:srgbClr val="FFFFFF"/>
                </a:solidFill>
                <a:latin typeface="+mn-ea"/>
                <a:cs typeface="+mn-ea"/>
              </a:rPr>
              <a:t>标题</a:t>
            </a:r>
            <a:endParaRPr lang="zh-CN" altLang="en-US" sz="2400" dirty="0">
              <a:solidFill>
                <a:srgbClr val="FFFFFF"/>
              </a:solidFill>
              <a:latin typeface="+mn-ea"/>
              <a:cs typeface="+mn-ea"/>
            </a:endParaRPr>
          </a:p>
        </p:txBody>
      </p:sp>
      <p:sp>
        <p:nvSpPr>
          <p:cNvPr id="24" name="泪滴形 23"/>
          <p:cNvSpPr/>
          <p:nvPr/>
        </p:nvSpPr>
        <p:spPr>
          <a:xfrm rot="2700000">
            <a:off x="1199456" y="5052429"/>
            <a:ext cx="1256891" cy="1256891"/>
          </a:xfrm>
          <a:prstGeom prst="teardrop">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algn="ctr"/>
            <a:r>
              <a:rPr lang="zh-CN" altLang="en-US" sz="2400" dirty="0">
                <a:solidFill>
                  <a:srgbClr val="FFFFFF"/>
                </a:solidFill>
                <a:latin typeface="+mn-ea"/>
                <a:cs typeface="+mn-ea"/>
              </a:rPr>
              <a:t>标题</a:t>
            </a:r>
            <a:endParaRPr lang="zh-CN" altLang="en-US" sz="2400" dirty="0">
              <a:solidFill>
                <a:srgbClr val="FFFFFF"/>
              </a:solidFill>
              <a:latin typeface="+mn-ea"/>
              <a:cs typeface="+mn-ea"/>
            </a:endParaRPr>
          </a:p>
        </p:txBody>
      </p:sp>
      <p:sp>
        <p:nvSpPr>
          <p:cNvPr id="25" name="泪滴形 24"/>
          <p:cNvSpPr/>
          <p:nvPr/>
        </p:nvSpPr>
        <p:spPr>
          <a:xfrm rot="2700000">
            <a:off x="1209593" y="3273989"/>
            <a:ext cx="1256891" cy="1256891"/>
          </a:xfrm>
          <a:prstGeom prst="teardrop">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algn="ctr"/>
            <a:r>
              <a:rPr lang="zh-CN" altLang="en-US" sz="2400" dirty="0">
                <a:solidFill>
                  <a:srgbClr val="FFFFFF"/>
                </a:solidFill>
                <a:latin typeface="+mn-ea"/>
                <a:cs typeface="+mn-ea"/>
              </a:rPr>
              <a:t>标题</a:t>
            </a:r>
            <a:endParaRPr lang="zh-CN" altLang="en-US" sz="2400" dirty="0">
              <a:solidFill>
                <a:srgbClr val="FFFFFF"/>
              </a:solidFill>
              <a:latin typeface="+mn-ea"/>
              <a:cs typeface="+mn-ea"/>
            </a:endParaRPr>
          </a:p>
        </p:txBody>
      </p:sp>
      <p:sp>
        <p:nvSpPr>
          <p:cNvPr id="26" name="矩形 25"/>
          <p:cNvSpPr/>
          <p:nvPr/>
        </p:nvSpPr>
        <p:spPr>
          <a:xfrm>
            <a:off x="3914035" y="1797481"/>
            <a:ext cx="6886488" cy="892360"/>
          </a:xfrm>
          <a:prstGeom prst="rect">
            <a:avLst/>
          </a:prstGeom>
        </p:spPr>
        <p:txBody>
          <a:bodyPr wrap="square">
            <a:spAutoFit/>
          </a:bodyPr>
          <a:lstStyle/>
          <a:p>
            <a:r>
              <a:rPr lang="zh-CN" altLang="en-US" sz="1735" dirty="0">
                <a:solidFill>
                  <a:srgbClr val="969696"/>
                </a:solidFill>
                <a:latin typeface="+mn-ea"/>
                <a:cs typeface="+mn-ea"/>
                <a:sym typeface="微软雅黑" panose="020B0503020204020204" pitchFamily="34" charset="-122"/>
              </a:rPr>
              <a:t>单击添加文本单击添加文本单击添加文本单击添加文本单击添加文本单击添加文本单击添加文本单击添加文本单击添加文本单击添加文本单击添加文本单击添加文本单击添加文本单击添加文本</a:t>
            </a:r>
            <a:endParaRPr lang="zh-CN" altLang="en-US" sz="1735" dirty="0">
              <a:solidFill>
                <a:srgbClr val="969696"/>
              </a:solidFill>
              <a:latin typeface="+mn-ea"/>
              <a:cs typeface="+mn-ea"/>
              <a:sym typeface="微软雅黑" panose="020B0503020204020204" pitchFamily="34" charset="-122"/>
            </a:endParaRPr>
          </a:p>
        </p:txBody>
      </p:sp>
      <p:sp>
        <p:nvSpPr>
          <p:cNvPr id="27" name="矩形 26"/>
          <p:cNvSpPr/>
          <p:nvPr/>
        </p:nvSpPr>
        <p:spPr>
          <a:xfrm>
            <a:off x="3914035" y="3440769"/>
            <a:ext cx="6886488" cy="892360"/>
          </a:xfrm>
          <a:prstGeom prst="rect">
            <a:avLst/>
          </a:prstGeom>
        </p:spPr>
        <p:txBody>
          <a:bodyPr wrap="square">
            <a:spAutoFit/>
          </a:bodyPr>
          <a:lstStyle/>
          <a:p>
            <a:r>
              <a:rPr lang="zh-CN" altLang="en-US" sz="1735" dirty="0">
                <a:solidFill>
                  <a:srgbClr val="969696"/>
                </a:solidFill>
                <a:latin typeface="+mn-ea"/>
                <a:cs typeface="+mn-ea"/>
                <a:sym typeface="微软雅黑" panose="020B0503020204020204" pitchFamily="34" charset="-122"/>
              </a:rPr>
              <a:t>单击添加文本单击添加文本单击添加文本单击添加文本单击添加文本单击添加文本单击添加文本单击添加文本单击添加文本单击添加文本单击添加文本单击添加文本单击添加文本单击添加文本</a:t>
            </a:r>
            <a:endParaRPr lang="zh-CN" altLang="en-US" sz="1735" dirty="0">
              <a:solidFill>
                <a:srgbClr val="969696"/>
              </a:solidFill>
              <a:latin typeface="+mn-ea"/>
              <a:cs typeface="+mn-ea"/>
              <a:sym typeface="微软雅黑" panose="020B0503020204020204" pitchFamily="34" charset="-122"/>
            </a:endParaRPr>
          </a:p>
        </p:txBody>
      </p:sp>
      <p:sp>
        <p:nvSpPr>
          <p:cNvPr id="28" name="矩形 27"/>
          <p:cNvSpPr/>
          <p:nvPr/>
        </p:nvSpPr>
        <p:spPr>
          <a:xfrm>
            <a:off x="3914035" y="5199402"/>
            <a:ext cx="6886488" cy="892360"/>
          </a:xfrm>
          <a:prstGeom prst="rect">
            <a:avLst/>
          </a:prstGeom>
        </p:spPr>
        <p:txBody>
          <a:bodyPr wrap="square">
            <a:spAutoFit/>
          </a:bodyPr>
          <a:lstStyle/>
          <a:p>
            <a:r>
              <a:rPr lang="zh-CN" altLang="en-US" sz="1735" dirty="0">
                <a:solidFill>
                  <a:srgbClr val="969696"/>
                </a:solidFill>
                <a:latin typeface="+mn-ea"/>
                <a:cs typeface="+mn-ea"/>
                <a:sym typeface="微软雅黑" panose="020B0503020204020204" pitchFamily="34" charset="-122"/>
              </a:rPr>
              <a:t>单击添加文本单击添加文本单击添加文本单击添加文本单击添加文本单击添加文本单击添加文本单击添加文本单击添加文本单击添加文本单击添加文本单击添加文本单击添加文本单击添加文本</a:t>
            </a:r>
            <a:endParaRPr lang="zh-CN" altLang="en-US" sz="1735" dirty="0">
              <a:solidFill>
                <a:srgbClr val="969696"/>
              </a:solidFill>
              <a:latin typeface="+mn-ea"/>
              <a:cs typeface="+mn-ea"/>
              <a:sym typeface="微软雅黑" panose="020B0503020204020204" pitchFamily="34" charset="-122"/>
            </a:endParaRPr>
          </a:p>
        </p:txBody>
      </p:sp>
      <p:sp>
        <p:nvSpPr>
          <p:cNvPr id="16"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17" name="文本框 16"/>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down)">
                                      <p:cBhvr>
                                        <p:cTn id="7" dur="500"/>
                                        <p:tgtEl>
                                          <p:spTgt spid="18"/>
                                        </p:tgtEl>
                                      </p:cBhvr>
                                    </p:animEffect>
                                  </p:childTnLst>
                                </p:cTn>
                              </p:par>
                            </p:childTnLst>
                          </p:cTn>
                        </p:par>
                        <p:par>
                          <p:cTn id="8" fill="hold">
                            <p:stCondLst>
                              <p:cond delay="500"/>
                            </p:stCondLst>
                            <p:childTnLst>
                              <p:par>
                                <p:cTn id="9" presetID="2" presetClass="entr" presetSubtype="8"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500" fill="hold"/>
                                        <p:tgtEl>
                                          <p:spTgt spid="23"/>
                                        </p:tgtEl>
                                        <p:attrNameLst>
                                          <p:attrName>ppt_x</p:attrName>
                                        </p:attrNameLst>
                                      </p:cBhvr>
                                      <p:tavLst>
                                        <p:tav tm="0">
                                          <p:val>
                                            <p:strVal val="0-#ppt_w/2"/>
                                          </p:val>
                                        </p:tav>
                                        <p:tav tm="100000">
                                          <p:val>
                                            <p:strVal val="#ppt_x"/>
                                          </p:val>
                                        </p:tav>
                                      </p:tavLst>
                                    </p:anim>
                                    <p:anim calcmode="lin" valueType="num">
                                      <p:cBhvr additive="base">
                                        <p:cTn id="12" dur="500" fill="hold"/>
                                        <p:tgtEl>
                                          <p:spTgt spid="23"/>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2" presetClass="entr" presetSubtype="8" fill="hold" grpId="0" nodeType="afterEffect">
                                  <p:stCondLst>
                                    <p:cond delay="0"/>
                                  </p:stCondLst>
                                  <p:childTnLst>
                                    <p:set>
                                      <p:cBhvr>
                                        <p:cTn id="15" dur="1" fill="hold">
                                          <p:stCondLst>
                                            <p:cond delay="0"/>
                                          </p:stCondLst>
                                        </p:cTn>
                                        <p:tgtEl>
                                          <p:spTgt spid="25"/>
                                        </p:tgtEl>
                                        <p:attrNameLst>
                                          <p:attrName>style.visibility</p:attrName>
                                        </p:attrNameLst>
                                      </p:cBhvr>
                                      <p:to>
                                        <p:strVal val="visible"/>
                                      </p:to>
                                    </p:set>
                                    <p:anim calcmode="lin" valueType="num">
                                      <p:cBhvr additive="base">
                                        <p:cTn id="16" dur="500" fill="hold"/>
                                        <p:tgtEl>
                                          <p:spTgt spid="25"/>
                                        </p:tgtEl>
                                        <p:attrNameLst>
                                          <p:attrName>ppt_x</p:attrName>
                                        </p:attrNameLst>
                                      </p:cBhvr>
                                      <p:tavLst>
                                        <p:tav tm="0">
                                          <p:val>
                                            <p:strVal val="0-#ppt_w/2"/>
                                          </p:val>
                                        </p:tav>
                                        <p:tav tm="100000">
                                          <p:val>
                                            <p:strVal val="#ppt_x"/>
                                          </p:val>
                                        </p:tav>
                                      </p:tavLst>
                                    </p:anim>
                                    <p:anim calcmode="lin" valueType="num">
                                      <p:cBhvr additive="base">
                                        <p:cTn id="17" dur="500" fill="hold"/>
                                        <p:tgtEl>
                                          <p:spTgt spid="25"/>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2" presetClass="entr" presetSubtype="8" fill="hold" grpId="0" nodeType="afterEffect">
                                  <p:stCondLst>
                                    <p:cond delay="0"/>
                                  </p:stCondLst>
                                  <p:childTnLst>
                                    <p:set>
                                      <p:cBhvr>
                                        <p:cTn id="20" dur="1" fill="hold">
                                          <p:stCondLst>
                                            <p:cond delay="0"/>
                                          </p:stCondLst>
                                        </p:cTn>
                                        <p:tgtEl>
                                          <p:spTgt spid="24"/>
                                        </p:tgtEl>
                                        <p:attrNameLst>
                                          <p:attrName>style.visibility</p:attrName>
                                        </p:attrNameLst>
                                      </p:cBhvr>
                                      <p:to>
                                        <p:strVal val="visible"/>
                                      </p:to>
                                    </p:set>
                                    <p:anim calcmode="lin" valueType="num">
                                      <p:cBhvr additive="base">
                                        <p:cTn id="21" dur="500" fill="hold"/>
                                        <p:tgtEl>
                                          <p:spTgt spid="24"/>
                                        </p:tgtEl>
                                        <p:attrNameLst>
                                          <p:attrName>ppt_x</p:attrName>
                                        </p:attrNameLst>
                                      </p:cBhvr>
                                      <p:tavLst>
                                        <p:tav tm="0">
                                          <p:val>
                                            <p:strVal val="0-#ppt_w/2"/>
                                          </p:val>
                                        </p:tav>
                                        <p:tav tm="100000">
                                          <p:val>
                                            <p:strVal val="#ppt_x"/>
                                          </p:val>
                                        </p:tav>
                                      </p:tavLst>
                                    </p:anim>
                                    <p:anim calcmode="lin" valueType="num">
                                      <p:cBhvr additive="base">
                                        <p:cTn id="22" dur="500" fill="hold"/>
                                        <p:tgtEl>
                                          <p:spTgt spid="24"/>
                                        </p:tgtEl>
                                        <p:attrNameLst>
                                          <p:attrName>ppt_y</p:attrName>
                                        </p:attrNameLst>
                                      </p:cBhvr>
                                      <p:tavLst>
                                        <p:tav tm="0">
                                          <p:val>
                                            <p:strVal val="#ppt_y"/>
                                          </p:val>
                                        </p:tav>
                                        <p:tav tm="100000">
                                          <p:val>
                                            <p:strVal val="#ppt_y"/>
                                          </p:val>
                                        </p:tav>
                                      </p:tavLst>
                                    </p:anim>
                                  </p:childTnLst>
                                </p:cTn>
                              </p:par>
                            </p:childTnLst>
                          </p:cTn>
                        </p:par>
                        <p:par>
                          <p:cTn id="23" fill="hold">
                            <p:stCondLst>
                              <p:cond delay="2000"/>
                            </p:stCondLst>
                            <p:childTnLst>
                              <p:par>
                                <p:cTn id="24" presetID="2" presetClass="entr" presetSubtype="2" fill="hold" grpId="0" nodeType="afterEffect">
                                  <p:stCondLst>
                                    <p:cond delay="0"/>
                                  </p:stCondLst>
                                  <p:childTnLst>
                                    <p:set>
                                      <p:cBhvr>
                                        <p:cTn id="25" dur="1" fill="hold">
                                          <p:stCondLst>
                                            <p:cond delay="0"/>
                                          </p:stCondLst>
                                        </p:cTn>
                                        <p:tgtEl>
                                          <p:spTgt spid="26"/>
                                        </p:tgtEl>
                                        <p:attrNameLst>
                                          <p:attrName>style.visibility</p:attrName>
                                        </p:attrNameLst>
                                      </p:cBhvr>
                                      <p:to>
                                        <p:strVal val="visible"/>
                                      </p:to>
                                    </p:set>
                                    <p:anim calcmode="lin" valueType="num">
                                      <p:cBhvr additive="base">
                                        <p:cTn id="26" dur="500" fill="hold"/>
                                        <p:tgtEl>
                                          <p:spTgt spid="26"/>
                                        </p:tgtEl>
                                        <p:attrNameLst>
                                          <p:attrName>ppt_x</p:attrName>
                                        </p:attrNameLst>
                                      </p:cBhvr>
                                      <p:tavLst>
                                        <p:tav tm="0">
                                          <p:val>
                                            <p:strVal val="1+#ppt_w/2"/>
                                          </p:val>
                                        </p:tav>
                                        <p:tav tm="100000">
                                          <p:val>
                                            <p:strVal val="#ppt_x"/>
                                          </p:val>
                                        </p:tav>
                                      </p:tavLst>
                                    </p:anim>
                                    <p:anim calcmode="lin" valueType="num">
                                      <p:cBhvr additive="base">
                                        <p:cTn id="27" dur="500" fill="hold"/>
                                        <p:tgtEl>
                                          <p:spTgt spid="26"/>
                                        </p:tgtEl>
                                        <p:attrNameLst>
                                          <p:attrName>ppt_y</p:attrName>
                                        </p:attrNameLst>
                                      </p:cBhvr>
                                      <p:tavLst>
                                        <p:tav tm="0">
                                          <p:val>
                                            <p:strVal val="#ppt_y"/>
                                          </p:val>
                                        </p:tav>
                                        <p:tav tm="100000">
                                          <p:val>
                                            <p:strVal val="#ppt_y"/>
                                          </p:val>
                                        </p:tav>
                                      </p:tavLst>
                                    </p:anim>
                                  </p:childTnLst>
                                </p:cTn>
                              </p:par>
                            </p:childTnLst>
                          </p:cTn>
                        </p:par>
                        <p:par>
                          <p:cTn id="28" fill="hold">
                            <p:stCondLst>
                              <p:cond delay="2500"/>
                            </p:stCondLst>
                            <p:childTnLst>
                              <p:par>
                                <p:cTn id="29" presetID="2" presetClass="entr" presetSubtype="2" fill="hold" grpId="0" nodeType="afterEffect">
                                  <p:stCondLst>
                                    <p:cond delay="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500" fill="hold"/>
                                        <p:tgtEl>
                                          <p:spTgt spid="27"/>
                                        </p:tgtEl>
                                        <p:attrNameLst>
                                          <p:attrName>ppt_x</p:attrName>
                                        </p:attrNameLst>
                                      </p:cBhvr>
                                      <p:tavLst>
                                        <p:tav tm="0">
                                          <p:val>
                                            <p:strVal val="1+#ppt_w/2"/>
                                          </p:val>
                                        </p:tav>
                                        <p:tav tm="100000">
                                          <p:val>
                                            <p:strVal val="#ppt_x"/>
                                          </p:val>
                                        </p:tav>
                                      </p:tavLst>
                                    </p:anim>
                                    <p:anim calcmode="lin" valueType="num">
                                      <p:cBhvr additive="base">
                                        <p:cTn id="32" dur="500" fill="hold"/>
                                        <p:tgtEl>
                                          <p:spTgt spid="27"/>
                                        </p:tgtEl>
                                        <p:attrNameLst>
                                          <p:attrName>ppt_y</p:attrName>
                                        </p:attrNameLst>
                                      </p:cBhvr>
                                      <p:tavLst>
                                        <p:tav tm="0">
                                          <p:val>
                                            <p:strVal val="#ppt_y"/>
                                          </p:val>
                                        </p:tav>
                                        <p:tav tm="100000">
                                          <p:val>
                                            <p:strVal val="#ppt_y"/>
                                          </p:val>
                                        </p:tav>
                                      </p:tavLst>
                                    </p:anim>
                                  </p:childTnLst>
                                </p:cTn>
                              </p:par>
                            </p:childTnLst>
                          </p:cTn>
                        </p:par>
                        <p:par>
                          <p:cTn id="33" fill="hold">
                            <p:stCondLst>
                              <p:cond delay="3000"/>
                            </p:stCondLst>
                            <p:childTnLst>
                              <p:par>
                                <p:cTn id="34" presetID="2" presetClass="entr" presetSubtype="2" fill="hold" grpId="0" nodeType="afterEffect">
                                  <p:stCondLst>
                                    <p:cond delay="0"/>
                                  </p:stCondLst>
                                  <p:childTnLst>
                                    <p:set>
                                      <p:cBhvr>
                                        <p:cTn id="35" dur="1" fill="hold">
                                          <p:stCondLst>
                                            <p:cond delay="0"/>
                                          </p:stCondLst>
                                        </p:cTn>
                                        <p:tgtEl>
                                          <p:spTgt spid="28"/>
                                        </p:tgtEl>
                                        <p:attrNameLst>
                                          <p:attrName>style.visibility</p:attrName>
                                        </p:attrNameLst>
                                      </p:cBhvr>
                                      <p:to>
                                        <p:strVal val="visible"/>
                                      </p:to>
                                    </p:set>
                                    <p:anim calcmode="lin" valueType="num">
                                      <p:cBhvr additive="base">
                                        <p:cTn id="36" dur="500" fill="hold"/>
                                        <p:tgtEl>
                                          <p:spTgt spid="28"/>
                                        </p:tgtEl>
                                        <p:attrNameLst>
                                          <p:attrName>ppt_x</p:attrName>
                                        </p:attrNameLst>
                                      </p:cBhvr>
                                      <p:tavLst>
                                        <p:tav tm="0">
                                          <p:val>
                                            <p:strVal val="1+#ppt_w/2"/>
                                          </p:val>
                                        </p:tav>
                                        <p:tav tm="100000">
                                          <p:val>
                                            <p:strVal val="#ppt_x"/>
                                          </p:val>
                                        </p:tav>
                                      </p:tavLst>
                                    </p:anim>
                                    <p:anim calcmode="lin" valueType="num">
                                      <p:cBhvr additive="base">
                                        <p:cTn id="37" dur="500" fill="hold"/>
                                        <p:tgtEl>
                                          <p:spTgt spid="28"/>
                                        </p:tgtEl>
                                        <p:attrNameLst>
                                          <p:attrName>ppt_y</p:attrName>
                                        </p:attrNameLst>
                                      </p:cBhvr>
                                      <p:tavLst>
                                        <p:tav tm="0">
                                          <p:val>
                                            <p:strVal val="#ppt_y"/>
                                          </p:val>
                                        </p:tav>
                                        <p:tav tm="100000">
                                          <p:val>
                                            <p:strVal val="#ppt_y"/>
                                          </p:val>
                                        </p:tav>
                                      </p:tavLst>
                                    </p:anim>
                                  </p:childTnLst>
                                </p:cTn>
                              </p:par>
                            </p:childTnLst>
                          </p:cTn>
                        </p:par>
                        <p:par>
                          <p:cTn id="38" fill="hold">
                            <p:stCondLst>
                              <p:cond delay="3500"/>
                            </p:stCondLst>
                            <p:childTnLst>
                              <p:par>
                                <p:cTn id="39" presetID="22" presetClass="entr" presetSubtype="4" fill="hold" grpId="0" nodeType="after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wipe(down)">
                                      <p:cBhvr>
                                        <p:cTn id="41" dur="12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p:bldP spid="27" grpId="0"/>
      <p:bldP spid="28" grpId="0"/>
      <p:bldP spid="1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shangdongying\Desktop\City-Of-Paris-Frankreich-Eiffelturm.jpg"/>
          <p:cNvPicPr preferRelativeResize="0">
            <a:picLocks noChangeArrowheads="1"/>
          </p:cNvPicPr>
          <p:nvPr/>
        </p:nvPicPr>
        <p:blipFill>
          <a:blip r:embed="rId1" cstate="print"/>
          <a:srcRect/>
          <a:stretch>
            <a:fillRect/>
          </a:stretch>
        </p:blipFill>
        <p:spPr bwMode="auto">
          <a:xfrm>
            <a:off x="-4707" y="2496"/>
            <a:ext cx="12196708" cy="6859200"/>
          </a:xfrm>
          <a:prstGeom prst="rect">
            <a:avLst/>
          </a:prstGeom>
          <a:noFill/>
        </p:spPr>
      </p:pic>
      <p:sp>
        <p:nvSpPr>
          <p:cNvPr id="10" name="梯形 9"/>
          <p:cNvSpPr/>
          <p:nvPr/>
        </p:nvSpPr>
        <p:spPr>
          <a:xfrm rot="5400000">
            <a:off x="2667000" y="-2667000"/>
            <a:ext cx="6858000" cy="12192000"/>
          </a:xfrm>
          <a:prstGeom prst="trapezoid">
            <a:avLst>
              <a:gd name="adj" fmla="val 27989"/>
            </a:avLst>
          </a:prstGeom>
          <a:solidFill>
            <a:schemeClr val="accent6">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1" name="直角三角形 10"/>
          <p:cNvSpPr/>
          <p:nvPr/>
        </p:nvSpPr>
        <p:spPr>
          <a:xfrm flipH="1">
            <a:off x="0" y="4773149"/>
            <a:ext cx="12192000" cy="20848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2" name="直角三角形 11"/>
          <p:cNvSpPr/>
          <p:nvPr/>
        </p:nvSpPr>
        <p:spPr>
          <a:xfrm flipH="1" flipV="1">
            <a:off x="0" y="0"/>
            <a:ext cx="12192000" cy="198884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9" name="TextBox 18"/>
          <p:cNvSpPr txBox="1"/>
          <p:nvPr/>
        </p:nvSpPr>
        <p:spPr>
          <a:xfrm>
            <a:off x="527381" y="1700809"/>
            <a:ext cx="2016224" cy="2533899"/>
          </a:xfrm>
          <a:prstGeom prst="rect">
            <a:avLst/>
          </a:prstGeom>
          <a:noFill/>
        </p:spPr>
        <p:txBody>
          <a:bodyPr wrap="square" rtlCol="0">
            <a:spAutoFit/>
          </a:bodyPr>
          <a:lstStyle/>
          <a:p>
            <a:r>
              <a:rPr lang="en-US" altLang="zh-CN" sz="15865" dirty="0">
                <a:solidFill>
                  <a:schemeClr val="bg1"/>
                </a:solidFill>
                <a:latin typeface="+mn-ea"/>
                <a:cs typeface="+mn-ea"/>
              </a:rPr>
              <a:t>P</a:t>
            </a:r>
            <a:endParaRPr lang="zh-CN" altLang="en-US" sz="15865" dirty="0">
              <a:solidFill>
                <a:schemeClr val="bg1"/>
              </a:solidFill>
              <a:latin typeface="+mn-ea"/>
              <a:cs typeface="+mn-ea"/>
            </a:endParaRPr>
          </a:p>
        </p:txBody>
      </p:sp>
      <p:sp>
        <p:nvSpPr>
          <p:cNvPr id="20" name="TextBox 19"/>
          <p:cNvSpPr txBox="1"/>
          <p:nvPr/>
        </p:nvSpPr>
        <p:spPr>
          <a:xfrm>
            <a:off x="1535493" y="2328991"/>
            <a:ext cx="3360373" cy="1733680"/>
          </a:xfrm>
          <a:prstGeom prst="rect">
            <a:avLst/>
          </a:prstGeom>
          <a:noFill/>
        </p:spPr>
        <p:txBody>
          <a:bodyPr wrap="square" rtlCol="0">
            <a:spAutoFit/>
          </a:bodyPr>
          <a:lstStyle/>
          <a:p>
            <a:r>
              <a:rPr lang="en-US" altLang="zh-CN" sz="10665" dirty="0">
                <a:solidFill>
                  <a:schemeClr val="bg1"/>
                </a:solidFill>
                <a:latin typeface="+mn-ea"/>
                <a:cs typeface="+mn-ea"/>
              </a:rPr>
              <a:t>art</a:t>
            </a:r>
            <a:endParaRPr lang="zh-CN" altLang="en-US" sz="10665" dirty="0">
              <a:solidFill>
                <a:schemeClr val="bg1"/>
              </a:solidFill>
              <a:latin typeface="+mn-ea"/>
              <a:cs typeface="+mn-ea"/>
            </a:endParaRPr>
          </a:p>
        </p:txBody>
      </p:sp>
      <p:sp>
        <p:nvSpPr>
          <p:cNvPr id="21" name="TextBox 20"/>
          <p:cNvSpPr txBox="1"/>
          <p:nvPr/>
        </p:nvSpPr>
        <p:spPr>
          <a:xfrm>
            <a:off x="3599723" y="2336490"/>
            <a:ext cx="4224469" cy="1733680"/>
          </a:xfrm>
          <a:prstGeom prst="rect">
            <a:avLst/>
          </a:prstGeom>
          <a:noFill/>
        </p:spPr>
        <p:txBody>
          <a:bodyPr wrap="square" rtlCol="0">
            <a:spAutoFit/>
          </a:bodyPr>
          <a:lstStyle/>
          <a:p>
            <a:r>
              <a:rPr lang="en-US" altLang="zh-CN" sz="10665" dirty="0">
                <a:solidFill>
                  <a:schemeClr val="bg1"/>
                </a:solidFill>
                <a:latin typeface="+mn-ea"/>
                <a:cs typeface="+mn-ea"/>
              </a:rPr>
              <a:t>one</a:t>
            </a:r>
            <a:endParaRPr lang="zh-CN" altLang="en-US" sz="10665" dirty="0">
              <a:solidFill>
                <a:schemeClr val="bg1"/>
              </a:solidFill>
              <a:latin typeface="+mn-ea"/>
              <a:cs typeface="+mn-ea"/>
            </a:endParaRPr>
          </a:p>
        </p:txBody>
      </p:sp>
      <p:sp>
        <p:nvSpPr>
          <p:cNvPr id="29" name="直角三角形 28"/>
          <p:cNvSpPr/>
          <p:nvPr/>
        </p:nvSpPr>
        <p:spPr>
          <a:xfrm rot="10800000">
            <a:off x="0" y="-3"/>
            <a:ext cx="12192000" cy="20848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nvGrpSpPr>
          <p:cNvPr id="2" name="组合 1"/>
          <p:cNvGrpSpPr/>
          <p:nvPr/>
        </p:nvGrpSpPr>
        <p:grpSpPr>
          <a:xfrm>
            <a:off x="8592275" y="0"/>
            <a:ext cx="3599725" cy="6316257"/>
            <a:chOff x="8592275" y="0"/>
            <a:chExt cx="3599725" cy="6316257"/>
          </a:xfrm>
        </p:grpSpPr>
        <p:sp>
          <p:nvSpPr>
            <p:cNvPr id="41" name="平行四边形 40"/>
            <p:cNvSpPr/>
            <p:nvPr/>
          </p:nvSpPr>
          <p:spPr>
            <a:xfrm rot="5400000" flipH="1">
              <a:off x="8197585" y="394692"/>
              <a:ext cx="4389107" cy="3599723"/>
            </a:xfrm>
            <a:prstGeom prst="parallelogram">
              <a:avLst>
                <a:gd name="adj" fmla="val 63758"/>
              </a:avLst>
            </a:prstGeom>
            <a:solidFill>
              <a:schemeClr val="accent6">
                <a:lumMod val="50000"/>
                <a:alpha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42" name="平行四边形 41"/>
            <p:cNvSpPr/>
            <p:nvPr/>
          </p:nvSpPr>
          <p:spPr>
            <a:xfrm rot="5400000">
              <a:off x="8380937" y="2505195"/>
              <a:ext cx="4022400" cy="3599723"/>
            </a:xfrm>
            <a:prstGeom prst="parallelogram">
              <a:avLst>
                <a:gd name="adj" fmla="val 54036"/>
              </a:avLst>
            </a:prstGeom>
            <a:solidFill>
              <a:schemeClr val="accent6">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sp>
        <p:nvSpPr>
          <p:cNvPr id="13" name="TextBox 51"/>
          <p:cNvSpPr txBox="1"/>
          <p:nvPr/>
        </p:nvSpPr>
        <p:spPr>
          <a:xfrm>
            <a:off x="719403" y="815656"/>
            <a:ext cx="2592288" cy="913007"/>
          </a:xfrm>
          <a:prstGeom prst="rect">
            <a:avLst/>
          </a:prstGeom>
          <a:noFill/>
        </p:spPr>
        <p:txBody>
          <a:bodyPr wrap="square" rtlCol="0">
            <a:spAutoFit/>
          </a:bodyPr>
          <a:lstStyle/>
          <a:p>
            <a:r>
              <a:rPr lang="en-US" altLang="zh-CN" sz="5335" b="1" dirty="0">
                <a:solidFill>
                  <a:schemeClr val="bg1"/>
                </a:solidFill>
                <a:latin typeface="+mn-ea"/>
                <a:cs typeface="+mn-ea"/>
              </a:rPr>
              <a:t>LOGO</a:t>
            </a:r>
            <a:endParaRPr lang="zh-CN" altLang="en-US" sz="5335" b="1" dirty="0">
              <a:solidFill>
                <a:schemeClr val="bg1"/>
              </a:solidFill>
              <a:latin typeface="+mn-ea"/>
              <a:cs typeface="+mn-ea"/>
            </a:endParaRPr>
          </a:p>
        </p:txBody>
      </p:sp>
      <p:sp>
        <p:nvSpPr>
          <p:cNvPr id="14" name="文本框 13"/>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2000">
        <p15:prstTrans prst="wind"/>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randombar(horizontal)">
                                      <p:cBhvr>
                                        <p:cTn id="7" dur="500"/>
                                        <p:tgtEl>
                                          <p:spTgt spid="19"/>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randombar(horizontal)">
                                      <p:cBhvr>
                                        <p:cTn id="10" dur="500"/>
                                        <p:tgtEl>
                                          <p:spTgt spid="20"/>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randombar(horizontal)">
                                      <p:cBhvr>
                                        <p:cTn id="13" dur="500"/>
                                        <p:tgtEl>
                                          <p:spTgt spid="21"/>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randombar(horizontal)">
                                      <p:cBhvr>
                                        <p:cTn id="16" dur="500"/>
                                        <p:tgtEl>
                                          <p:spTgt spid="13"/>
                                        </p:tgtEl>
                                      </p:cBhvr>
                                    </p:animEffect>
                                  </p:childTnLst>
                                </p:cTn>
                              </p:par>
                            </p:childTnLst>
                          </p:cTn>
                        </p:par>
                        <p:par>
                          <p:cTn id="17" fill="hold">
                            <p:stCondLst>
                              <p:cond delay="500"/>
                            </p:stCondLst>
                            <p:childTnLst>
                              <p:par>
                                <p:cTn id="18" presetID="22" presetClass="entr" presetSubtype="1"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wipe(up)">
                                      <p:cBhvr>
                                        <p:cTn id="20" dur="1000"/>
                                        <p:tgtEl>
                                          <p:spTgt spid="2"/>
                                        </p:tgtEl>
                                      </p:cBhvr>
                                    </p:animEffect>
                                  </p:childTnLst>
                                </p:cTn>
                              </p:par>
                            </p:childTnLst>
                          </p:cTn>
                        </p:par>
                        <p:par>
                          <p:cTn id="21" fill="hold">
                            <p:stCondLst>
                              <p:cond delay="1500"/>
                            </p:stCondLst>
                            <p:childTnLst>
                              <p:par>
                                <p:cTn id="22" presetID="22" presetClass="entr" presetSubtype="4" fill="hold" grpId="0" nodeType="after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wipe(down)">
                                      <p:cBhvr>
                                        <p:cTn id="24"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13" grpId="0"/>
      <p:bldP spid="1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p:cNvGrpSpPr/>
          <p:nvPr/>
        </p:nvGrpSpPr>
        <p:grpSpPr bwMode="auto">
          <a:xfrm>
            <a:off x="4929718" y="1856117"/>
            <a:ext cx="6951133" cy="685798"/>
            <a:chOff x="4929188" y="1638396"/>
            <a:chExt cx="6951663" cy="684940"/>
          </a:xfrm>
        </p:grpSpPr>
        <p:grpSp>
          <p:nvGrpSpPr>
            <p:cNvPr id="34" name="组合 12"/>
            <p:cNvGrpSpPr/>
            <p:nvPr/>
          </p:nvGrpSpPr>
          <p:grpSpPr bwMode="auto">
            <a:xfrm>
              <a:off x="4929188" y="1746210"/>
              <a:ext cx="5762006" cy="577126"/>
              <a:chOff x="4439816" y="1844785"/>
              <a:chExt cx="5761609" cy="576927"/>
            </a:xfrm>
          </p:grpSpPr>
          <p:sp>
            <p:nvSpPr>
              <p:cNvPr id="36" name="矩形 35"/>
              <p:cNvSpPr/>
              <p:nvPr/>
            </p:nvSpPr>
            <p:spPr>
              <a:xfrm>
                <a:off x="4439816" y="1988490"/>
                <a:ext cx="1655245" cy="433223"/>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1"/>
                  </a:solidFill>
                  <a:cs typeface="+mn-ea"/>
                </a:endParaRPr>
              </a:p>
            </p:txBody>
          </p:sp>
          <p:sp>
            <p:nvSpPr>
              <p:cNvPr id="37" name="矩形 36"/>
              <p:cNvSpPr/>
              <p:nvPr/>
            </p:nvSpPr>
            <p:spPr>
              <a:xfrm>
                <a:off x="5836826" y="1844786"/>
                <a:ext cx="4364599" cy="433223"/>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1"/>
                  </a:solidFill>
                  <a:cs typeface="+mn-ea"/>
                </a:endParaRPr>
              </a:p>
            </p:txBody>
          </p:sp>
        </p:grpSp>
        <p:sp>
          <p:nvSpPr>
            <p:cNvPr id="35" name="文本框 8"/>
            <p:cNvSpPr txBox="1">
              <a:spLocks noChangeArrowheads="1"/>
            </p:cNvSpPr>
            <p:nvPr/>
          </p:nvSpPr>
          <p:spPr bwMode="auto">
            <a:xfrm>
              <a:off x="10367962" y="1638396"/>
              <a:ext cx="1512889" cy="665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3735">
                  <a:solidFill>
                    <a:srgbClr val="254061"/>
                  </a:solidFill>
                  <a:latin typeface="Impact" panose="020B0806030902050204" pitchFamily="34" charset="0"/>
                  <a:ea typeface="+mn-ea"/>
                  <a:cs typeface="+mn-ea"/>
                </a:rPr>
                <a:t>75%</a:t>
              </a:r>
              <a:endParaRPr lang="zh-CN" altLang="en-US" sz="3735">
                <a:solidFill>
                  <a:srgbClr val="254061"/>
                </a:solidFill>
                <a:latin typeface="Impact" panose="020B0806030902050204" pitchFamily="34" charset="0"/>
                <a:ea typeface="+mn-ea"/>
                <a:cs typeface="+mn-ea"/>
              </a:endParaRPr>
            </a:p>
          </p:txBody>
        </p:sp>
      </p:grpSp>
      <p:grpSp>
        <p:nvGrpSpPr>
          <p:cNvPr id="38" name="组合 37"/>
          <p:cNvGrpSpPr/>
          <p:nvPr/>
        </p:nvGrpSpPr>
        <p:grpSpPr bwMode="auto">
          <a:xfrm>
            <a:off x="4929718" y="2802268"/>
            <a:ext cx="6242049" cy="685797"/>
            <a:chOff x="4929188" y="2584546"/>
            <a:chExt cx="6242050" cy="684939"/>
          </a:xfrm>
          <a:solidFill>
            <a:schemeClr val="accent2"/>
          </a:solidFill>
        </p:grpSpPr>
        <p:grpSp>
          <p:nvGrpSpPr>
            <p:cNvPr id="39" name="组合 13"/>
            <p:cNvGrpSpPr/>
            <p:nvPr/>
          </p:nvGrpSpPr>
          <p:grpSpPr bwMode="auto">
            <a:xfrm>
              <a:off x="4929188" y="2683902"/>
              <a:ext cx="5039782" cy="585583"/>
              <a:chOff x="4439816" y="2782938"/>
              <a:chExt cx="5040030" cy="584590"/>
            </a:xfrm>
            <a:grpFill/>
          </p:grpSpPr>
          <p:sp>
            <p:nvSpPr>
              <p:cNvPr id="41" name="矩形 40"/>
              <p:cNvSpPr/>
              <p:nvPr/>
            </p:nvSpPr>
            <p:spPr>
              <a:xfrm>
                <a:off x="4439816" y="2934892"/>
                <a:ext cx="1655315" cy="4326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2"/>
                  </a:solidFill>
                  <a:cs typeface="+mn-ea"/>
                </a:endParaRPr>
              </a:p>
            </p:txBody>
          </p:sp>
          <p:sp>
            <p:nvSpPr>
              <p:cNvPr id="42" name="矩形 41"/>
              <p:cNvSpPr/>
              <p:nvPr/>
            </p:nvSpPr>
            <p:spPr>
              <a:xfrm>
                <a:off x="5834767" y="2782941"/>
                <a:ext cx="3645080" cy="4326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2"/>
                  </a:solidFill>
                  <a:cs typeface="+mn-ea"/>
                </a:endParaRPr>
              </a:p>
            </p:txBody>
          </p:sp>
        </p:grpSp>
        <p:sp>
          <p:nvSpPr>
            <p:cNvPr id="40" name="文本框 65"/>
            <p:cNvSpPr txBox="1">
              <a:spLocks noChangeArrowheads="1"/>
            </p:cNvSpPr>
            <p:nvPr/>
          </p:nvSpPr>
          <p:spPr bwMode="auto">
            <a:xfrm>
              <a:off x="9659938" y="2584546"/>
              <a:ext cx="1511300" cy="6659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3735" dirty="0">
                  <a:solidFill>
                    <a:srgbClr val="E46C0A"/>
                  </a:solidFill>
                  <a:latin typeface="Impact" panose="020B0806030902050204" pitchFamily="34" charset="0"/>
                  <a:ea typeface="+mn-ea"/>
                  <a:cs typeface="+mn-ea"/>
                </a:rPr>
                <a:t>65%</a:t>
              </a:r>
              <a:endParaRPr lang="zh-CN" altLang="en-US" sz="3735" dirty="0">
                <a:solidFill>
                  <a:srgbClr val="E46C0A"/>
                </a:solidFill>
                <a:latin typeface="Impact" panose="020B0806030902050204" pitchFamily="34" charset="0"/>
                <a:ea typeface="+mn-ea"/>
                <a:cs typeface="+mn-ea"/>
              </a:endParaRPr>
            </a:p>
          </p:txBody>
        </p:sp>
      </p:grpSp>
      <p:grpSp>
        <p:nvGrpSpPr>
          <p:cNvPr id="43" name="组合 42"/>
          <p:cNvGrpSpPr/>
          <p:nvPr/>
        </p:nvGrpSpPr>
        <p:grpSpPr bwMode="auto">
          <a:xfrm>
            <a:off x="4929718" y="3737838"/>
            <a:ext cx="5518149" cy="694268"/>
            <a:chOff x="4929188" y="3519327"/>
            <a:chExt cx="5518150" cy="695507"/>
          </a:xfrm>
        </p:grpSpPr>
        <p:grpSp>
          <p:nvGrpSpPr>
            <p:cNvPr id="44" name="组合 16"/>
            <p:cNvGrpSpPr/>
            <p:nvPr/>
          </p:nvGrpSpPr>
          <p:grpSpPr bwMode="auto">
            <a:xfrm>
              <a:off x="4929188" y="3623229"/>
              <a:ext cx="4322233" cy="591605"/>
              <a:chOff x="4439816" y="3722222"/>
              <a:chExt cx="4321538" cy="590323"/>
            </a:xfrm>
          </p:grpSpPr>
          <p:sp>
            <p:nvSpPr>
              <p:cNvPr id="46" name="矩形 45"/>
              <p:cNvSpPr/>
              <p:nvPr/>
            </p:nvSpPr>
            <p:spPr>
              <a:xfrm>
                <a:off x="4439816" y="3878794"/>
                <a:ext cx="1654968" cy="433750"/>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1"/>
                  </a:solidFill>
                  <a:cs typeface="+mn-ea"/>
                </a:endParaRPr>
              </a:p>
            </p:txBody>
          </p:sp>
          <p:sp>
            <p:nvSpPr>
              <p:cNvPr id="47" name="矩形 46"/>
              <p:cNvSpPr/>
              <p:nvPr/>
            </p:nvSpPr>
            <p:spPr>
              <a:xfrm>
                <a:off x="5836592" y="3722221"/>
                <a:ext cx="2924764" cy="433750"/>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1"/>
                  </a:solidFill>
                  <a:cs typeface="+mn-ea"/>
                </a:endParaRPr>
              </a:p>
            </p:txBody>
          </p:sp>
        </p:grpSp>
        <p:sp>
          <p:nvSpPr>
            <p:cNvPr id="45" name="文本框 69"/>
            <p:cNvSpPr txBox="1">
              <a:spLocks noChangeArrowheads="1"/>
            </p:cNvSpPr>
            <p:nvPr/>
          </p:nvSpPr>
          <p:spPr bwMode="auto">
            <a:xfrm>
              <a:off x="8934450" y="3519327"/>
              <a:ext cx="1512888" cy="667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3735">
                  <a:solidFill>
                    <a:srgbClr val="254061"/>
                  </a:solidFill>
                  <a:latin typeface="Impact" panose="020B0806030902050204" pitchFamily="34" charset="0"/>
                  <a:ea typeface="+mn-ea"/>
                  <a:cs typeface="+mn-ea"/>
                </a:rPr>
                <a:t>55%</a:t>
              </a:r>
              <a:endParaRPr lang="zh-CN" altLang="en-US" sz="3735">
                <a:solidFill>
                  <a:srgbClr val="254061"/>
                </a:solidFill>
                <a:latin typeface="Impact" panose="020B0806030902050204" pitchFamily="34" charset="0"/>
                <a:ea typeface="+mn-ea"/>
                <a:cs typeface="+mn-ea"/>
              </a:endParaRPr>
            </a:p>
          </p:txBody>
        </p:sp>
      </p:grpSp>
      <p:grpSp>
        <p:nvGrpSpPr>
          <p:cNvPr id="48" name="组合 47"/>
          <p:cNvGrpSpPr/>
          <p:nvPr/>
        </p:nvGrpSpPr>
        <p:grpSpPr bwMode="auto">
          <a:xfrm>
            <a:off x="4929717" y="4673400"/>
            <a:ext cx="5130800" cy="692150"/>
            <a:chOff x="4929188" y="4465477"/>
            <a:chExt cx="5130800" cy="693386"/>
          </a:xfrm>
          <a:solidFill>
            <a:schemeClr val="accent2"/>
          </a:solidFill>
        </p:grpSpPr>
        <p:grpSp>
          <p:nvGrpSpPr>
            <p:cNvPr id="49" name="组合 18"/>
            <p:cNvGrpSpPr/>
            <p:nvPr/>
          </p:nvGrpSpPr>
          <p:grpSpPr bwMode="auto">
            <a:xfrm>
              <a:off x="4929188" y="4582103"/>
              <a:ext cx="3890433" cy="576760"/>
              <a:chOff x="4439816" y="4681266"/>
              <a:chExt cx="3889490" cy="576562"/>
            </a:xfrm>
            <a:grpFill/>
          </p:grpSpPr>
          <p:sp>
            <p:nvSpPr>
              <p:cNvPr id="51" name="矩形 50"/>
              <p:cNvSpPr/>
              <p:nvPr/>
            </p:nvSpPr>
            <p:spPr>
              <a:xfrm>
                <a:off x="4439816" y="4825404"/>
                <a:ext cx="1656947" cy="4324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2"/>
                  </a:solidFill>
                  <a:cs typeface="+mn-ea"/>
                </a:endParaRPr>
              </a:p>
            </p:txBody>
          </p:sp>
          <p:sp>
            <p:nvSpPr>
              <p:cNvPr id="52" name="矩形 51"/>
              <p:cNvSpPr/>
              <p:nvPr/>
            </p:nvSpPr>
            <p:spPr>
              <a:xfrm>
                <a:off x="5836477" y="4681263"/>
                <a:ext cx="2492829" cy="4324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2"/>
                  </a:solidFill>
                  <a:cs typeface="+mn-ea"/>
                </a:endParaRPr>
              </a:p>
            </p:txBody>
          </p:sp>
        </p:grpSp>
        <p:sp>
          <p:nvSpPr>
            <p:cNvPr id="50" name="文本框 73"/>
            <p:cNvSpPr txBox="1">
              <a:spLocks noChangeArrowheads="1"/>
            </p:cNvSpPr>
            <p:nvPr/>
          </p:nvSpPr>
          <p:spPr bwMode="auto">
            <a:xfrm>
              <a:off x="8547100" y="4465477"/>
              <a:ext cx="1512888" cy="6679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3735">
                  <a:solidFill>
                    <a:srgbClr val="E46C0A"/>
                  </a:solidFill>
                  <a:latin typeface="Impact" panose="020B0806030902050204" pitchFamily="34" charset="0"/>
                  <a:ea typeface="+mn-ea"/>
                  <a:cs typeface="+mn-ea"/>
                </a:rPr>
                <a:t>45%</a:t>
              </a:r>
              <a:endParaRPr lang="zh-CN" altLang="en-US" sz="3735">
                <a:solidFill>
                  <a:srgbClr val="E46C0A"/>
                </a:solidFill>
                <a:latin typeface="Impact" panose="020B0806030902050204" pitchFamily="34" charset="0"/>
                <a:ea typeface="+mn-ea"/>
                <a:cs typeface="+mn-ea"/>
              </a:endParaRPr>
            </a:p>
          </p:txBody>
        </p:sp>
      </p:grpSp>
      <p:grpSp>
        <p:nvGrpSpPr>
          <p:cNvPr id="53" name="组合 52"/>
          <p:cNvGrpSpPr/>
          <p:nvPr/>
        </p:nvGrpSpPr>
        <p:grpSpPr bwMode="auto">
          <a:xfrm>
            <a:off x="683685" y="1652917"/>
            <a:ext cx="3721100" cy="3857343"/>
            <a:chOff x="682625" y="1435100"/>
            <a:chExt cx="3721100" cy="3856459"/>
          </a:xfrm>
        </p:grpSpPr>
        <p:sp>
          <p:nvSpPr>
            <p:cNvPr id="54" name="矩形 41"/>
            <p:cNvSpPr>
              <a:spLocks noChangeArrowheads="1"/>
            </p:cNvSpPr>
            <p:nvPr/>
          </p:nvSpPr>
          <p:spPr bwMode="auto">
            <a:xfrm>
              <a:off x="682625" y="1435100"/>
              <a:ext cx="3721100" cy="830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击</a:t>
              </a:r>
              <a:endParaRPr lang="zh-CN" altLang="en-US" sz="1600">
                <a:solidFill>
                  <a:srgbClr val="969696"/>
                </a:solidFill>
                <a:latin typeface="+mn-ea"/>
                <a:ea typeface="+mn-ea"/>
                <a:cs typeface="+mn-ea"/>
              </a:endParaRPr>
            </a:p>
          </p:txBody>
        </p:sp>
        <p:sp>
          <p:nvSpPr>
            <p:cNvPr id="55" name="矩形 41"/>
            <p:cNvSpPr>
              <a:spLocks noChangeArrowheads="1"/>
            </p:cNvSpPr>
            <p:nvPr/>
          </p:nvSpPr>
          <p:spPr bwMode="auto">
            <a:xfrm>
              <a:off x="682625" y="3011487"/>
              <a:ext cx="3721100" cy="830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击</a:t>
              </a:r>
              <a:endParaRPr lang="zh-CN" altLang="en-US" sz="1600">
                <a:solidFill>
                  <a:srgbClr val="969696"/>
                </a:solidFill>
                <a:latin typeface="+mn-ea"/>
                <a:ea typeface="+mn-ea"/>
                <a:cs typeface="+mn-ea"/>
              </a:endParaRPr>
            </a:p>
          </p:txBody>
        </p:sp>
        <p:sp>
          <p:nvSpPr>
            <p:cNvPr id="56" name="矩形 41"/>
            <p:cNvSpPr>
              <a:spLocks noChangeArrowheads="1"/>
            </p:cNvSpPr>
            <p:nvPr/>
          </p:nvSpPr>
          <p:spPr bwMode="auto">
            <a:xfrm>
              <a:off x="682625" y="4460752"/>
              <a:ext cx="3721100" cy="830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击</a:t>
              </a:r>
              <a:endParaRPr lang="zh-CN" altLang="en-US" sz="1600">
                <a:solidFill>
                  <a:srgbClr val="969696"/>
                </a:solidFill>
                <a:latin typeface="+mn-ea"/>
                <a:ea typeface="+mn-ea"/>
                <a:cs typeface="+mn-ea"/>
              </a:endParaRPr>
            </a:p>
          </p:txBody>
        </p:sp>
      </p:grpSp>
      <p:sp>
        <p:nvSpPr>
          <p:cNvPr id="29"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57" name="文本框 56"/>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500" fill="hold"/>
                                        <p:tgtEl>
                                          <p:spTgt spid="53"/>
                                        </p:tgtEl>
                                        <p:attrNameLst>
                                          <p:attrName>ppt_x</p:attrName>
                                        </p:attrNameLst>
                                      </p:cBhvr>
                                      <p:tavLst>
                                        <p:tav tm="0">
                                          <p:val>
                                            <p:strVal val="0-#ppt_w/2"/>
                                          </p:val>
                                        </p:tav>
                                        <p:tav tm="100000">
                                          <p:val>
                                            <p:strVal val="#ppt_x"/>
                                          </p:val>
                                        </p:tav>
                                      </p:tavLst>
                                    </p:anim>
                                    <p:anim calcmode="lin" valueType="num">
                                      <p:cBhvr additive="base">
                                        <p:cTn id="8" dur="500" fill="hold"/>
                                        <p:tgtEl>
                                          <p:spTgt spid="5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2" presetClass="entr" presetSubtype="8" fill="hold" nodeType="afterEffect">
                                  <p:stCondLst>
                                    <p:cond delay="0"/>
                                  </p:stCondLst>
                                  <p:childTnLst>
                                    <p:set>
                                      <p:cBhvr>
                                        <p:cTn id="11" dur="1" fill="hold">
                                          <p:stCondLst>
                                            <p:cond delay="0"/>
                                          </p:stCondLst>
                                        </p:cTn>
                                        <p:tgtEl>
                                          <p:spTgt spid="30"/>
                                        </p:tgtEl>
                                        <p:attrNameLst>
                                          <p:attrName>style.visibility</p:attrName>
                                        </p:attrNameLst>
                                      </p:cBhvr>
                                      <p:to>
                                        <p:strVal val="visible"/>
                                      </p:to>
                                    </p:set>
                                    <p:anim calcmode="lin" valueType="num">
                                      <p:cBhvr additive="base">
                                        <p:cTn id="12" dur="500"/>
                                        <p:tgtEl>
                                          <p:spTgt spid="30"/>
                                        </p:tgtEl>
                                        <p:attrNameLst>
                                          <p:attrName>ppt_x</p:attrName>
                                        </p:attrNameLst>
                                      </p:cBhvr>
                                      <p:tavLst>
                                        <p:tav tm="0">
                                          <p:val>
                                            <p:strVal val="#ppt_x-#ppt_w*1.125000"/>
                                          </p:val>
                                        </p:tav>
                                        <p:tav tm="100000">
                                          <p:val>
                                            <p:strVal val="#ppt_x"/>
                                          </p:val>
                                        </p:tav>
                                      </p:tavLst>
                                    </p:anim>
                                    <p:animEffect transition="in" filter="wipe(right)">
                                      <p:cBhvr>
                                        <p:cTn id="13" dur="500"/>
                                        <p:tgtEl>
                                          <p:spTgt spid="30"/>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38"/>
                                        </p:tgtEl>
                                        <p:attrNameLst>
                                          <p:attrName>style.visibility</p:attrName>
                                        </p:attrNameLst>
                                      </p:cBhvr>
                                      <p:to>
                                        <p:strVal val="visible"/>
                                      </p:to>
                                    </p:set>
                                    <p:anim calcmode="lin" valueType="num">
                                      <p:cBhvr additive="base">
                                        <p:cTn id="17" dur="500"/>
                                        <p:tgtEl>
                                          <p:spTgt spid="38"/>
                                        </p:tgtEl>
                                        <p:attrNameLst>
                                          <p:attrName>ppt_x</p:attrName>
                                        </p:attrNameLst>
                                      </p:cBhvr>
                                      <p:tavLst>
                                        <p:tav tm="0">
                                          <p:val>
                                            <p:strVal val="#ppt_x-#ppt_w*1.125000"/>
                                          </p:val>
                                        </p:tav>
                                        <p:tav tm="100000">
                                          <p:val>
                                            <p:strVal val="#ppt_x"/>
                                          </p:val>
                                        </p:tav>
                                      </p:tavLst>
                                    </p:anim>
                                    <p:animEffect transition="in" filter="wipe(right)">
                                      <p:cBhvr>
                                        <p:cTn id="18" dur="500"/>
                                        <p:tgtEl>
                                          <p:spTgt spid="38"/>
                                        </p:tgtEl>
                                      </p:cBhvr>
                                    </p:animEffect>
                                  </p:childTnLst>
                                </p:cTn>
                              </p:par>
                            </p:childTnLst>
                          </p:cTn>
                        </p:par>
                        <p:par>
                          <p:cTn id="19" fill="hold">
                            <p:stCondLst>
                              <p:cond delay="1500"/>
                            </p:stCondLst>
                            <p:childTnLst>
                              <p:par>
                                <p:cTn id="20" presetID="12" presetClass="entr" presetSubtype="8" fill="hold" nodeType="afterEffect">
                                  <p:stCondLst>
                                    <p:cond delay="0"/>
                                  </p:stCondLst>
                                  <p:childTnLst>
                                    <p:set>
                                      <p:cBhvr>
                                        <p:cTn id="21" dur="1" fill="hold">
                                          <p:stCondLst>
                                            <p:cond delay="0"/>
                                          </p:stCondLst>
                                        </p:cTn>
                                        <p:tgtEl>
                                          <p:spTgt spid="43"/>
                                        </p:tgtEl>
                                        <p:attrNameLst>
                                          <p:attrName>style.visibility</p:attrName>
                                        </p:attrNameLst>
                                      </p:cBhvr>
                                      <p:to>
                                        <p:strVal val="visible"/>
                                      </p:to>
                                    </p:set>
                                    <p:anim calcmode="lin" valueType="num">
                                      <p:cBhvr additive="base">
                                        <p:cTn id="22" dur="500"/>
                                        <p:tgtEl>
                                          <p:spTgt spid="43"/>
                                        </p:tgtEl>
                                        <p:attrNameLst>
                                          <p:attrName>ppt_x</p:attrName>
                                        </p:attrNameLst>
                                      </p:cBhvr>
                                      <p:tavLst>
                                        <p:tav tm="0">
                                          <p:val>
                                            <p:strVal val="#ppt_x-#ppt_w*1.125000"/>
                                          </p:val>
                                        </p:tav>
                                        <p:tav tm="100000">
                                          <p:val>
                                            <p:strVal val="#ppt_x"/>
                                          </p:val>
                                        </p:tav>
                                      </p:tavLst>
                                    </p:anim>
                                    <p:animEffect transition="in" filter="wipe(right)">
                                      <p:cBhvr>
                                        <p:cTn id="23" dur="500"/>
                                        <p:tgtEl>
                                          <p:spTgt spid="43"/>
                                        </p:tgtEl>
                                      </p:cBhvr>
                                    </p:animEffect>
                                  </p:childTnLst>
                                </p:cTn>
                              </p:par>
                            </p:childTnLst>
                          </p:cTn>
                        </p:par>
                        <p:par>
                          <p:cTn id="24" fill="hold">
                            <p:stCondLst>
                              <p:cond delay="2000"/>
                            </p:stCondLst>
                            <p:childTnLst>
                              <p:par>
                                <p:cTn id="25" presetID="12" presetClass="entr" presetSubtype="8" fill="hold" nodeType="afterEffect">
                                  <p:stCondLst>
                                    <p:cond delay="0"/>
                                  </p:stCondLst>
                                  <p:childTnLst>
                                    <p:set>
                                      <p:cBhvr>
                                        <p:cTn id="26" dur="1" fill="hold">
                                          <p:stCondLst>
                                            <p:cond delay="0"/>
                                          </p:stCondLst>
                                        </p:cTn>
                                        <p:tgtEl>
                                          <p:spTgt spid="48"/>
                                        </p:tgtEl>
                                        <p:attrNameLst>
                                          <p:attrName>style.visibility</p:attrName>
                                        </p:attrNameLst>
                                      </p:cBhvr>
                                      <p:to>
                                        <p:strVal val="visible"/>
                                      </p:to>
                                    </p:set>
                                    <p:anim calcmode="lin" valueType="num">
                                      <p:cBhvr additive="base">
                                        <p:cTn id="27" dur="500"/>
                                        <p:tgtEl>
                                          <p:spTgt spid="48"/>
                                        </p:tgtEl>
                                        <p:attrNameLst>
                                          <p:attrName>ppt_x</p:attrName>
                                        </p:attrNameLst>
                                      </p:cBhvr>
                                      <p:tavLst>
                                        <p:tav tm="0">
                                          <p:val>
                                            <p:strVal val="#ppt_x-#ppt_w*1.125000"/>
                                          </p:val>
                                        </p:tav>
                                        <p:tav tm="100000">
                                          <p:val>
                                            <p:strVal val="#ppt_x"/>
                                          </p:val>
                                        </p:tav>
                                      </p:tavLst>
                                    </p:anim>
                                    <p:animEffect transition="in" filter="wipe(right)">
                                      <p:cBhvr>
                                        <p:cTn id="28" dur="500"/>
                                        <p:tgtEl>
                                          <p:spTgt spid="48"/>
                                        </p:tgtEl>
                                      </p:cBhvr>
                                    </p:animEffect>
                                  </p:childTnLst>
                                </p:cTn>
                              </p:par>
                            </p:childTnLst>
                          </p:cTn>
                        </p:par>
                        <p:par>
                          <p:cTn id="29" fill="hold">
                            <p:stCondLst>
                              <p:cond delay="2500"/>
                            </p:stCondLst>
                            <p:childTnLst>
                              <p:par>
                                <p:cTn id="30" presetID="22" presetClass="entr" presetSubtype="4" fill="hold" grpId="0" nodeType="afterEffect">
                                  <p:stCondLst>
                                    <p:cond delay="0"/>
                                  </p:stCondLst>
                                  <p:childTnLst>
                                    <p:set>
                                      <p:cBhvr>
                                        <p:cTn id="31" dur="1" fill="hold">
                                          <p:stCondLst>
                                            <p:cond delay="0"/>
                                          </p:stCondLst>
                                        </p:cTn>
                                        <p:tgtEl>
                                          <p:spTgt spid="57"/>
                                        </p:tgtEl>
                                        <p:attrNameLst>
                                          <p:attrName>style.visibility</p:attrName>
                                        </p:attrNameLst>
                                      </p:cBhvr>
                                      <p:to>
                                        <p:strVal val="visible"/>
                                      </p:to>
                                    </p:set>
                                    <p:animEffect transition="in" filter="wipe(down)">
                                      <p:cBhvr>
                                        <p:cTn id="32" dur="125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5683251" y="1239574"/>
            <a:ext cx="1835149" cy="2067983"/>
            <a:chOff x="5683250" y="1052513"/>
            <a:chExt cx="1835150" cy="2066925"/>
          </a:xfrm>
        </p:grpSpPr>
        <p:sp>
          <p:nvSpPr>
            <p:cNvPr id="6" name="剪去对角的矩形 5"/>
            <p:cNvSpPr/>
            <p:nvPr/>
          </p:nvSpPr>
          <p:spPr>
            <a:xfrm rot="5400000">
              <a:off x="5567362" y="1168401"/>
              <a:ext cx="2066925" cy="1835150"/>
            </a:xfrm>
            <a:prstGeom prst="snip2Diag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7" name="文本框 7"/>
            <p:cNvSpPr txBox="1">
              <a:spLocks noChangeArrowheads="1"/>
            </p:cNvSpPr>
            <p:nvPr/>
          </p:nvSpPr>
          <p:spPr bwMode="auto">
            <a:xfrm>
              <a:off x="5948363" y="1268413"/>
              <a:ext cx="1296988" cy="3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865">
                  <a:solidFill>
                    <a:srgbClr val="FFFFFF"/>
                  </a:solidFill>
                  <a:latin typeface="+mn-ea"/>
                  <a:ea typeface="+mn-ea"/>
                  <a:cs typeface="+mn-ea"/>
                </a:rPr>
                <a:t>75%</a:t>
              </a:r>
              <a:endParaRPr lang="zh-CN" altLang="en-US" sz="1865">
                <a:solidFill>
                  <a:srgbClr val="FFFFFF"/>
                </a:solidFill>
                <a:latin typeface="+mn-ea"/>
                <a:ea typeface="+mn-ea"/>
                <a:cs typeface="+mn-ea"/>
              </a:endParaRPr>
            </a:p>
          </p:txBody>
        </p:sp>
        <p:sp>
          <p:nvSpPr>
            <p:cNvPr id="8" name="文本框 8"/>
            <p:cNvSpPr txBox="1">
              <a:spLocks noChangeArrowheads="1"/>
            </p:cNvSpPr>
            <p:nvPr/>
          </p:nvSpPr>
          <p:spPr bwMode="auto">
            <a:xfrm>
              <a:off x="5948363" y="2420938"/>
              <a:ext cx="1296988" cy="338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600">
                  <a:solidFill>
                    <a:srgbClr val="FFFFFF"/>
                  </a:solidFill>
                  <a:latin typeface="+mn-ea"/>
                  <a:ea typeface="+mn-ea"/>
                  <a:cs typeface="+mn-ea"/>
                </a:rPr>
                <a:t>标题文字</a:t>
              </a:r>
              <a:endParaRPr lang="zh-CN" altLang="en-US" sz="1600">
                <a:solidFill>
                  <a:srgbClr val="FFFFFF"/>
                </a:solidFill>
                <a:latin typeface="+mn-ea"/>
                <a:ea typeface="+mn-ea"/>
                <a:cs typeface="+mn-ea"/>
              </a:endParaRPr>
            </a:p>
          </p:txBody>
        </p:sp>
      </p:grpSp>
      <p:grpSp>
        <p:nvGrpSpPr>
          <p:cNvPr id="9" name="组合 8"/>
          <p:cNvGrpSpPr/>
          <p:nvPr/>
        </p:nvGrpSpPr>
        <p:grpSpPr bwMode="auto">
          <a:xfrm>
            <a:off x="7859183" y="1239575"/>
            <a:ext cx="1837267" cy="2067983"/>
            <a:chOff x="7859712" y="1052514"/>
            <a:chExt cx="1836737" cy="2066925"/>
          </a:xfrm>
        </p:grpSpPr>
        <p:sp>
          <p:nvSpPr>
            <p:cNvPr id="10" name="剪去对角的矩形 9"/>
            <p:cNvSpPr/>
            <p:nvPr/>
          </p:nvSpPr>
          <p:spPr>
            <a:xfrm rot="5400000">
              <a:off x="7744618" y="1167608"/>
              <a:ext cx="2066925" cy="1836737"/>
            </a:xfrm>
            <a:prstGeom prst="snip2DiagRect">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1" name="文本框 293"/>
            <p:cNvSpPr txBox="1">
              <a:spLocks noChangeArrowheads="1"/>
            </p:cNvSpPr>
            <p:nvPr/>
          </p:nvSpPr>
          <p:spPr bwMode="auto">
            <a:xfrm>
              <a:off x="8129589" y="1268413"/>
              <a:ext cx="1296986" cy="3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865">
                  <a:solidFill>
                    <a:srgbClr val="FFFFFF"/>
                  </a:solidFill>
                  <a:latin typeface="+mn-ea"/>
                  <a:ea typeface="+mn-ea"/>
                  <a:cs typeface="+mn-ea"/>
                </a:rPr>
                <a:t>75%</a:t>
              </a:r>
              <a:endParaRPr lang="zh-CN" altLang="en-US" sz="1865">
                <a:solidFill>
                  <a:srgbClr val="FFFFFF"/>
                </a:solidFill>
                <a:latin typeface="+mn-ea"/>
                <a:ea typeface="+mn-ea"/>
                <a:cs typeface="+mn-ea"/>
              </a:endParaRPr>
            </a:p>
          </p:txBody>
        </p:sp>
        <p:sp>
          <p:nvSpPr>
            <p:cNvPr id="12" name="文本框 295"/>
            <p:cNvSpPr txBox="1">
              <a:spLocks noChangeArrowheads="1"/>
            </p:cNvSpPr>
            <p:nvPr/>
          </p:nvSpPr>
          <p:spPr bwMode="auto">
            <a:xfrm>
              <a:off x="8129588" y="2420938"/>
              <a:ext cx="1296986" cy="338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600">
                  <a:solidFill>
                    <a:srgbClr val="FFFFFF"/>
                  </a:solidFill>
                  <a:latin typeface="+mn-ea"/>
                  <a:ea typeface="+mn-ea"/>
                  <a:cs typeface="+mn-ea"/>
                </a:rPr>
                <a:t>标题文字</a:t>
              </a:r>
              <a:endParaRPr lang="zh-CN" altLang="en-US" sz="1600">
                <a:solidFill>
                  <a:srgbClr val="FFFFFF"/>
                </a:solidFill>
                <a:latin typeface="+mn-ea"/>
                <a:ea typeface="+mn-ea"/>
                <a:cs typeface="+mn-ea"/>
              </a:endParaRPr>
            </a:p>
          </p:txBody>
        </p:sp>
      </p:grpSp>
      <p:grpSp>
        <p:nvGrpSpPr>
          <p:cNvPr id="13" name="组合 12"/>
          <p:cNvGrpSpPr/>
          <p:nvPr/>
        </p:nvGrpSpPr>
        <p:grpSpPr bwMode="auto">
          <a:xfrm>
            <a:off x="10030884" y="1262857"/>
            <a:ext cx="1837267" cy="2065867"/>
            <a:chOff x="10031413" y="1074738"/>
            <a:chExt cx="1836737" cy="2065337"/>
          </a:xfrm>
        </p:grpSpPr>
        <p:sp>
          <p:nvSpPr>
            <p:cNvPr id="14" name="剪去对角的矩形 13"/>
            <p:cNvSpPr/>
            <p:nvPr/>
          </p:nvSpPr>
          <p:spPr>
            <a:xfrm rot="5400000">
              <a:off x="9917113" y="1189038"/>
              <a:ext cx="2065337" cy="1836737"/>
            </a:xfrm>
            <a:prstGeom prst="snip2Diag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5" name="文本框 294"/>
            <p:cNvSpPr txBox="1">
              <a:spLocks noChangeArrowheads="1"/>
            </p:cNvSpPr>
            <p:nvPr/>
          </p:nvSpPr>
          <p:spPr bwMode="auto">
            <a:xfrm>
              <a:off x="10301289" y="1268414"/>
              <a:ext cx="1296986" cy="379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865">
                  <a:solidFill>
                    <a:srgbClr val="FFFFFF"/>
                  </a:solidFill>
                  <a:latin typeface="+mn-ea"/>
                  <a:ea typeface="+mn-ea"/>
                  <a:cs typeface="+mn-ea"/>
                </a:rPr>
                <a:t>75%</a:t>
              </a:r>
              <a:endParaRPr lang="zh-CN" altLang="en-US" sz="1865">
                <a:solidFill>
                  <a:srgbClr val="FFFFFF"/>
                </a:solidFill>
                <a:latin typeface="+mn-ea"/>
                <a:ea typeface="+mn-ea"/>
                <a:cs typeface="+mn-ea"/>
              </a:endParaRPr>
            </a:p>
          </p:txBody>
        </p:sp>
        <p:sp>
          <p:nvSpPr>
            <p:cNvPr id="16" name="文本框 296"/>
            <p:cNvSpPr txBox="1">
              <a:spLocks noChangeArrowheads="1"/>
            </p:cNvSpPr>
            <p:nvPr/>
          </p:nvSpPr>
          <p:spPr bwMode="auto">
            <a:xfrm>
              <a:off x="10301289" y="2416175"/>
              <a:ext cx="1296986" cy="338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600">
                  <a:solidFill>
                    <a:srgbClr val="FFFFFF"/>
                  </a:solidFill>
                  <a:latin typeface="+mn-ea"/>
                  <a:ea typeface="+mn-ea"/>
                  <a:cs typeface="+mn-ea"/>
                </a:rPr>
                <a:t>标题文字</a:t>
              </a:r>
              <a:endParaRPr lang="zh-CN" altLang="en-US" sz="1600">
                <a:solidFill>
                  <a:srgbClr val="FFFFFF"/>
                </a:solidFill>
                <a:latin typeface="+mn-ea"/>
                <a:ea typeface="+mn-ea"/>
                <a:cs typeface="+mn-ea"/>
              </a:endParaRPr>
            </a:p>
          </p:txBody>
        </p:sp>
      </p:grpSp>
      <p:grpSp>
        <p:nvGrpSpPr>
          <p:cNvPr id="17" name="组合 16"/>
          <p:cNvGrpSpPr/>
          <p:nvPr/>
        </p:nvGrpSpPr>
        <p:grpSpPr bwMode="auto">
          <a:xfrm>
            <a:off x="673100" y="4202907"/>
            <a:ext cx="4157133" cy="1521883"/>
            <a:chOff x="7245350" y="4310063"/>
            <a:chExt cx="4156075" cy="1522412"/>
          </a:xfrm>
        </p:grpSpPr>
        <p:sp>
          <p:nvSpPr>
            <p:cNvPr id="18" name="矩形 17"/>
            <p:cNvSpPr/>
            <p:nvPr/>
          </p:nvSpPr>
          <p:spPr>
            <a:xfrm>
              <a:off x="7245350" y="5256541"/>
              <a:ext cx="884541" cy="575934"/>
            </a:xfrm>
            <a:prstGeom prst="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9" name="矩形 18"/>
            <p:cNvSpPr/>
            <p:nvPr/>
          </p:nvSpPr>
          <p:spPr>
            <a:xfrm>
              <a:off x="8335156" y="4680608"/>
              <a:ext cx="884541" cy="1151867"/>
            </a:xfrm>
            <a:prstGeom prst="rect">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20" name="矩形 19"/>
            <p:cNvSpPr/>
            <p:nvPr/>
          </p:nvSpPr>
          <p:spPr>
            <a:xfrm>
              <a:off x="9427078" y="4968575"/>
              <a:ext cx="884541" cy="863900"/>
            </a:xfrm>
            <a:prstGeom prst="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21" name="矩形 20"/>
            <p:cNvSpPr/>
            <p:nvPr/>
          </p:nvSpPr>
          <p:spPr>
            <a:xfrm>
              <a:off x="10514768" y="5472517"/>
              <a:ext cx="886657" cy="359958"/>
            </a:xfrm>
            <a:prstGeom prst="rect">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22" name="文本框 16"/>
            <p:cNvSpPr txBox="1">
              <a:spLocks noChangeArrowheads="1"/>
            </p:cNvSpPr>
            <p:nvPr/>
          </p:nvSpPr>
          <p:spPr bwMode="auto">
            <a:xfrm>
              <a:off x="7245350" y="4886326"/>
              <a:ext cx="884237" cy="37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865">
                  <a:solidFill>
                    <a:srgbClr val="254061"/>
                  </a:solidFill>
                  <a:latin typeface="+mn-ea"/>
                  <a:ea typeface="+mn-ea"/>
                  <a:cs typeface="+mn-ea"/>
                </a:rPr>
                <a:t>197</a:t>
              </a:r>
              <a:endParaRPr lang="zh-CN" altLang="en-US" sz="1865">
                <a:solidFill>
                  <a:srgbClr val="254061"/>
                </a:solidFill>
                <a:latin typeface="+mn-ea"/>
                <a:ea typeface="+mn-ea"/>
                <a:cs typeface="+mn-ea"/>
              </a:endParaRPr>
            </a:p>
          </p:txBody>
        </p:sp>
        <p:sp>
          <p:nvSpPr>
            <p:cNvPr id="23" name="文本框 300"/>
            <p:cNvSpPr txBox="1">
              <a:spLocks noChangeArrowheads="1"/>
            </p:cNvSpPr>
            <p:nvPr/>
          </p:nvSpPr>
          <p:spPr bwMode="auto">
            <a:xfrm>
              <a:off x="8335963" y="4310063"/>
              <a:ext cx="884237" cy="37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865">
                  <a:solidFill>
                    <a:srgbClr val="254061"/>
                  </a:solidFill>
                  <a:latin typeface="+mn-ea"/>
                  <a:ea typeface="+mn-ea"/>
                  <a:cs typeface="+mn-ea"/>
                </a:rPr>
                <a:t>197</a:t>
              </a:r>
              <a:endParaRPr lang="zh-CN" altLang="en-US" sz="1865">
                <a:solidFill>
                  <a:srgbClr val="254061"/>
                </a:solidFill>
                <a:latin typeface="+mn-ea"/>
                <a:ea typeface="+mn-ea"/>
                <a:cs typeface="+mn-ea"/>
              </a:endParaRPr>
            </a:p>
          </p:txBody>
        </p:sp>
        <p:sp>
          <p:nvSpPr>
            <p:cNvPr id="24" name="文本框 301"/>
            <p:cNvSpPr txBox="1">
              <a:spLocks noChangeArrowheads="1"/>
            </p:cNvSpPr>
            <p:nvPr/>
          </p:nvSpPr>
          <p:spPr bwMode="auto">
            <a:xfrm>
              <a:off x="9426576" y="4598987"/>
              <a:ext cx="884237" cy="37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865">
                  <a:solidFill>
                    <a:srgbClr val="254061"/>
                  </a:solidFill>
                  <a:latin typeface="+mn-ea"/>
                  <a:ea typeface="+mn-ea"/>
                  <a:cs typeface="+mn-ea"/>
                </a:rPr>
                <a:t>197</a:t>
              </a:r>
              <a:endParaRPr lang="zh-CN" altLang="en-US" sz="1865">
                <a:solidFill>
                  <a:srgbClr val="254061"/>
                </a:solidFill>
                <a:latin typeface="+mn-ea"/>
                <a:ea typeface="+mn-ea"/>
                <a:cs typeface="+mn-ea"/>
              </a:endParaRPr>
            </a:p>
          </p:txBody>
        </p:sp>
        <p:sp>
          <p:nvSpPr>
            <p:cNvPr id="25" name="文本框 302"/>
            <p:cNvSpPr txBox="1">
              <a:spLocks noChangeArrowheads="1"/>
            </p:cNvSpPr>
            <p:nvPr/>
          </p:nvSpPr>
          <p:spPr bwMode="auto">
            <a:xfrm>
              <a:off x="10507665" y="5102226"/>
              <a:ext cx="884237" cy="37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865">
                  <a:solidFill>
                    <a:srgbClr val="254061"/>
                  </a:solidFill>
                  <a:latin typeface="+mn-ea"/>
                  <a:ea typeface="+mn-ea"/>
                  <a:cs typeface="+mn-ea"/>
                </a:rPr>
                <a:t>197</a:t>
              </a:r>
              <a:endParaRPr lang="zh-CN" altLang="en-US" sz="1865">
                <a:solidFill>
                  <a:srgbClr val="254061"/>
                </a:solidFill>
                <a:latin typeface="+mn-ea"/>
                <a:ea typeface="+mn-ea"/>
                <a:cs typeface="+mn-ea"/>
              </a:endParaRPr>
            </a:p>
          </p:txBody>
        </p:sp>
      </p:grpSp>
      <p:grpSp>
        <p:nvGrpSpPr>
          <p:cNvPr id="26" name="组合 25"/>
          <p:cNvGrpSpPr/>
          <p:nvPr/>
        </p:nvGrpSpPr>
        <p:grpSpPr bwMode="auto">
          <a:xfrm>
            <a:off x="673100" y="1730641"/>
            <a:ext cx="10320867" cy="3972340"/>
            <a:chOff x="673100" y="1543050"/>
            <a:chExt cx="10320866" cy="3971521"/>
          </a:xfrm>
        </p:grpSpPr>
        <p:sp>
          <p:nvSpPr>
            <p:cNvPr id="27" name="矩形 45"/>
            <p:cNvSpPr>
              <a:spLocks noChangeArrowheads="1"/>
            </p:cNvSpPr>
            <p:nvPr/>
          </p:nvSpPr>
          <p:spPr bwMode="auto">
            <a:xfrm>
              <a:off x="673100" y="1543050"/>
              <a:ext cx="2216151" cy="1446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单击此</a:t>
              </a:r>
              <a:endParaRPr lang="zh-CN" altLang="en-US" sz="1465">
                <a:solidFill>
                  <a:srgbClr val="969696"/>
                </a:solidFill>
                <a:latin typeface="+mn-ea"/>
                <a:ea typeface="+mn-ea"/>
                <a:cs typeface="+mn-ea"/>
              </a:endParaRPr>
            </a:p>
          </p:txBody>
        </p:sp>
        <p:sp>
          <p:nvSpPr>
            <p:cNvPr id="28" name="矩形 45"/>
            <p:cNvSpPr>
              <a:spLocks noChangeArrowheads="1"/>
            </p:cNvSpPr>
            <p:nvPr/>
          </p:nvSpPr>
          <p:spPr bwMode="auto">
            <a:xfrm>
              <a:off x="3073400" y="1543050"/>
              <a:ext cx="2216151" cy="1446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单击此</a:t>
              </a:r>
              <a:endParaRPr lang="zh-CN" altLang="en-US" sz="1465">
                <a:solidFill>
                  <a:srgbClr val="969696"/>
                </a:solidFill>
                <a:latin typeface="+mn-ea"/>
                <a:ea typeface="+mn-ea"/>
                <a:cs typeface="+mn-ea"/>
              </a:endParaRPr>
            </a:p>
          </p:txBody>
        </p:sp>
        <p:sp>
          <p:nvSpPr>
            <p:cNvPr id="29" name="矩形 45"/>
            <p:cNvSpPr>
              <a:spLocks noChangeArrowheads="1"/>
            </p:cNvSpPr>
            <p:nvPr/>
          </p:nvSpPr>
          <p:spPr bwMode="auto">
            <a:xfrm>
              <a:off x="6377517" y="4067806"/>
              <a:ext cx="2216151" cy="1446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单击此</a:t>
              </a:r>
              <a:endParaRPr lang="zh-CN" altLang="en-US" sz="1465">
                <a:solidFill>
                  <a:srgbClr val="969696"/>
                </a:solidFill>
                <a:latin typeface="+mn-ea"/>
                <a:ea typeface="+mn-ea"/>
                <a:cs typeface="+mn-ea"/>
              </a:endParaRPr>
            </a:p>
          </p:txBody>
        </p:sp>
        <p:sp>
          <p:nvSpPr>
            <p:cNvPr id="30" name="矩形 45"/>
            <p:cNvSpPr>
              <a:spLocks noChangeArrowheads="1"/>
            </p:cNvSpPr>
            <p:nvPr/>
          </p:nvSpPr>
          <p:spPr bwMode="auto">
            <a:xfrm>
              <a:off x="8777815" y="4067805"/>
              <a:ext cx="2216151" cy="1446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单击此</a:t>
              </a:r>
              <a:endParaRPr lang="zh-CN" altLang="en-US" sz="1465">
                <a:solidFill>
                  <a:srgbClr val="969696"/>
                </a:solidFill>
                <a:latin typeface="+mn-ea"/>
                <a:ea typeface="+mn-ea"/>
                <a:cs typeface="+mn-ea"/>
              </a:endParaRPr>
            </a:p>
          </p:txBody>
        </p:sp>
      </p:grpSp>
      <p:sp>
        <p:nvSpPr>
          <p:cNvPr id="34"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5" name="文本框 34"/>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500" fill="hold"/>
                                        <p:tgtEl>
                                          <p:spTgt spid="26"/>
                                        </p:tgtEl>
                                        <p:attrNameLst>
                                          <p:attrName>ppt_x</p:attrName>
                                        </p:attrNameLst>
                                      </p:cBhvr>
                                      <p:tavLst>
                                        <p:tav tm="0">
                                          <p:val>
                                            <p:strVal val="0-#ppt_w/2"/>
                                          </p:val>
                                        </p:tav>
                                        <p:tav tm="100000">
                                          <p:val>
                                            <p:strVal val="#ppt_x"/>
                                          </p:val>
                                        </p:tav>
                                      </p:tavLst>
                                    </p:anim>
                                    <p:anim calcmode="lin" valueType="num">
                                      <p:cBhvr additive="base">
                                        <p:cTn id="8" dur="500" fill="hold"/>
                                        <p:tgtEl>
                                          <p:spTgt spid="2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childTnLst>
                          </p:cTn>
                        </p:par>
                        <p:par>
                          <p:cTn id="21" fill="hold">
                            <p:stCondLst>
                              <p:cond delay="2000"/>
                            </p:stCondLst>
                            <p:childTnLst>
                              <p:par>
                                <p:cTn id="22" presetID="42" presetClass="entr" presetSubtype="0" fill="hold" nodeType="after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1000"/>
                                        <p:tgtEl>
                                          <p:spTgt spid="17"/>
                                        </p:tgtEl>
                                      </p:cBhvr>
                                    </p:animEffect>
                                    <p:anim calcmode="lin" valueType="num">
                                      <p:cBhvr>
                                        <p:cTn id="25" dur="1000" fill="hold"/>
                                        <p:tgtEl>
                                          <p:spTgt spid="17"/>
                                        </p:tgtEl>
                                        <p:attrNameLst>
                                          <p:attrName>ppt_x</p:attrName>
                                        </p:attrNameLst>
                                      </p:cBhvr>
                                      <p:tavLst>
                                        <p:tav tm="0">
                                          <p:val>
                                            <p:strVal val="#ppt_x"/>
                                          </p:val>
                                        </p:tav>
                                        <p:tav tm="100000">
                                          <p:val>
                                            <p:strVal val="#ppt_x"/>
                                          </p:val>
                                        </p:tav>
                                      </p:tavLst>
                                    </p:anim>
                                    <p:anim calcmode="lin" valueType="num">
                                      <p:cBhvr>
                                        <p:cTn id="26" dur="1000" fill="hold"/>
                                        <p:tgtEl>
                                          <p:spTgt spid="17"/>
                                        </p:tgtEl>
                                        <p:attrNameLst>
                                          <p:attrName>ppt_y</p:attrName>
                                        </p:attrNameLst>
                                      </p:cBhvr>
                                      <p:tavLst>
                                        <p:tav tm="0">
                                          <p:val>
                                            <p:strVal val="#ppt_y+.1"/>
                                          </p:val>
                                        </p:tav>
                                        <p:tav tm="100000">
                                          <p:val>
                                            <p:strVal val="#ppt_y"/>
                                          </p:val>
                                        </p:tav>
                                      </p:tavLst>
                                    </p:anim>
                                  </p:childTnLst>
                                </p:cTn>
                              </p:par>
                            </p:childTnLst>
                          </p:cTn>
                        </p:par>
                        <p:par>
                          <p:cTn id="27" fill="hold">
                            <p:stCondLst>
                              <p:cond delay="3000"/>
                            </p:stCondLst>
                            <p:childTnLst>
                              <p:par>
                                <p:cTn id="28" presetID="22" presetClass="entr" presetSubtype="4" fill="hold" grpId="0" nodeType="afterEffect">
                                  <p:stCondLst>
                                    <p:cond delay="0"/>
                                  </p:stCondLst>
                                  <p:childTnLst>
                                    <p:set>
                                      <p:cBhvr>
                                        <p:cTn id="29" dur="1" fill="hold">
                                          <p:stCondLst>
                                            <p:cond delay="0"/>
                                          </p:stCondLst>
                                        </p:cTn>
                                        <p:tgtEl>
                                          <p:spTgt spid="35"/>
                                        </p:tgtEl>
                                        <p:attrNameLst>
                                          <p:attrName>style.visibility</p:attrName>
                                        </p:attrNameLst>
                                      </p:cBhvr>
                                      <p:to>
                                        <p:strVal val="visible"/>
                                      </p:to>
                                    </p:set>
                                    <p:animEffect transition="in" filter="wipe(down)">
                                      <p:cBhvr>
                                        <p:cTn id="30" dur="12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5"/>
          <p:cNvSpPr>
            <a:spLocks noChangeArrowheads="1"/>
          </p:cNvSpPr>
          <p:nvPr/>
        </p:nvSpPr>
        <p:spPr bwMode="auto">
          <a:xfrm>
            <a:off x="5198798" y="2371891"/>
            <a:ext cx="2396789" cy="2379133"/>
          </a:xfrm>
          <a:prstGeom prst="ellipse">
            <a:avLst/>
          </a:prstGeom>
          <a:gradFill flip="none" rotWithShape="1">
            <a:gsLst>
              <a:gs pos="20000">
                <a:srgbClr val="BFBFBF"/>
              </a:gs>
              <a:gs pos="80000">
                <a:srgbClr val="FFFFFF"/>
              </a:gs>
              <a:gs pos="100000">
                <a:schemeClr val="accent1">
                  <a:tint val="0"/>
                </a:schemeClr>
              </a:gs>
            </a:gsLst>
            <a:lin ang="2700000" scaled="1"/>
            <a:tileRect/>
          </a:gradFill>
          <a:ln w="28575" cap="rnd">
            <a:solidFill>
              <a:srgbClr val="F2F2F2"/>
            </a:solidFill>
            <a:prstDash val="sysDot"/>
            <a:round/>
          </a:ln>
          <a:effectLst>
            <a:outerShdw blurRad="88900" dist="75434" dir="2699985" rotWithShape="0">
              <a:scrgbClr r="0" g="0" b="0">
                <a:alpha val="23000"/>
              </a:sc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zh-CN" sz="2665" dirty="0">
                <a:solidFill>
                  <a:srgbClr val="254061"/>
                </a:solidFill>
                <a:latin typeface="+mn-ea"/>
                <a:ea typeface="+mn-ea"/>
                <a:cs typeface="+mn-ea"/>
              </a:rPr>
              <a:t>单击此处</a:t>
            </a:r>
            <a:endParaRPr lang="zh-CN" altLang="zh-CN" sz="2665" dirty="0">
              <a:solidFill>
                <a:srgbClr val="254061"/>
              </a:solidFill>
              <a:latin typeface="+mn-ea"/>
              <a:ea typeface="+mn-ea"/>
              <a:cs typeface="+mn-ea"/>
            </a:endParaRPr>
          </a:p>
          <a:p>
            <a:pPr algn="ctr" eaLnBrk="1" hangingPunct="1"/>
            <a:r>
              <a:rPr lang="zh-CN" altLang="zh-CN" sz="2665" dirty="0">
                <a:solidFill>
                  <a:srgbClr val="254061"/>
                </a:solidFill>
                <a:latin typeface="+mn-ea"/>
                <a:ea typeface="+mn-ea"/>
                <a:cs typeface="+mn-ea"/>
              </a:rPr>
              <a:t>添加文字</a:t>
            </a:r>
            <a:endParaRPr lang="zh-CN" altLang="zh-CN" sz="2665" dirty="0">
              <a:solidFill>
                <a:srgbClr val="254061"/>
              </a:solidFill>
              <a:latin typeface="+mn-ea"/>
              <a:ea typeface="+mn-ea"/>
              <a:cs typeface="+mn-ea"/>
            </a:endParaRPr>
          </a:p>
        </p:txBody>
      </p:sp>
      <p:grpSp>
        <p:nvGrpSpPr>
          <p:cNvPr id="35" name="组合 34"/>
          <p:cNvGrpSpPr/>
          <p:nvPr/>
        </p:nvGrpSpPr>
        <p:grpSpPr>
          <a:xfrm>
            <a:off x="4237831" y="1076491"/>
            <a:ext cx="4279900" cy="4991100"/>
            <a:chOff x="3178373" y="807368"/>
            <a:chExt cx="3209925" cy="3743325"/>
          </a:xfrm>
        </p:grpSpPr>
        <p:grpSp>
          <p:nvGrpSpPr>
            <p:cNvPr id="36" name="组合 35"/>
            <p:cNvGrpSpPr/>
            <p:nvPr/>
          </p:nvGrpSpPr>
          <p:grpSpPr>
            <a:xfrm>
              <a:off x="3178373" y="807368"/>
              <a:ext cx="3209925" cy="3743325"/>
              <a:chOff x="3178373" y="807368"/>
              <a:chExt cx="3209925" cy="3743325"/>
            </a:xfrm>
          </p:grpSpPr>
          <p:grpSp>
            <p:nvGrpSpPr>
              <p:cNvPr id="38" name="Group 6"/>
              <p:cNvGrpSpPr/>
              <p:nvPr/>
            </p:nvGrpSpPr>
            <p:grpSpPr bwMode="auto">
              <a:xfrm rot="5400000">
                <a:off x="2911673" y="1074068"/>
                <a:ext cx="3743325" cy="3209925"/>
                <a:chOff x="0" y="0"/>
                <a:chExt cx="3140" cy="2691"/>
              </a:xfrm>
            </p:grpSpPr>
            <p:sp>
              <p:nvSpPr>
                <p:cNvPr id="40" name="未知"/>
                <p:cNvSpPr/>
                <p:nvPr/>
              </p:nvSpPr>
              <p:spPr bwMode="auto">
                <a:xfrm>
                  <a:off x="0" y="896"/>
                  <a:ext cx="2848" cy="1795"/>
                </a:xfrm>
                <a:custGeom>
                  <a:avLst/>
                  <a:gdLst>
                    <a:gd name="T0" fmla="*/ 224 w 2848"/>
                    <a:gd name="T1" fmla="*/ 484 h 1795"/>
                    <a:gd name="T2" fmla="*/ 231 w 2848"/>
                    <a:gd name="T3" fmla="*/ 587 h 1795"/>
                    <a:gd name="T4" fmla="*/ 246 w 2848"/>
                    <a:gd name="T5" fmla="*/ 687 h 1795"/>
                    <a:gd name="T6" fmla="*/ 267 w 2848"/>
                    <a:gd name="T7" fmla="*/ 785 h 1795"/>
                    <a:gd name="T8" fmla="*/ 295 w 2848"/>
                    <a:gd name="T9" fmla="*/ 881 h 1795"/>
                    <a:gd name="T10" fmla="*/ 329 w 2848"/>
                    <a:gd name="T11" fmla="*/ 973 h 1795"/>
                    <a:gd name="T12" fmla="*/ 371 w 2848"/>
                    <a:gd name="T13" fmla="*/ 1062 h 1795"/>
                    <a:gd name="T14" fmla="*/ 419 w 2848"/>
                    <a:gd name="T15" fmla="*/ 1147 h 1795"/>
                    <a:gd name="T16" fmla="*/ 472 w 2848"/>
                    <a:gd name="T17" fmla="*/ 1228 h 1795"/>
                    <a:gd name="T18" fmla="*/ 531 w 2848"/>
                    <a:gd name="T19" fmla="*/ 1305 h 1795"/>
                    <a:gd name="T20" fmla="*/ 595 w 2848"/>
                    <a:gd name="T21" fmla="*/ 1377 h 1795"/>
                    <a:gd name="T22" fmla="*/ 665 w 2848"/>
                    <a:gd name="T23" fmla="*/ 1445 h 1795"/>
                    <a:gd name="T24" fmla="*/ 739 w 2848"/>
                    <a:gd name="T25" fmla="*/ 1508 h 1795"/>
                    <a:gd name="T26" fmla="*/ 817 w 2848"/>
                    <a:gd name="T27" fmla="*/ 1565 h 1795"/>
                    <a:gd name="T28" fmla="*/ 900 w 2848"/>
                    <a:gd name="T29" fmla="*/ 1617 h 1795"/>
                    <a:gd name="T30" fmla="*/ 986 w 2848"/>
                    <a:gd name="T31" fmla="*/ 1662 h 1795"/>
                    <a:gd name="T32" fmla="*/ 1076 w 2848"/>
                    <a:gd name="T33" fmla="*/ 1702 h 1795"/>
                    <a:gd name="T34" fmla="*/ 1169 w 2848"/>
                    <a:gd name="T35" fmla="*/ 1734 h 1795"/>
                    <a:gd name="T36" fmla="*/ 1266 w 2848"/>
                    <a:gd name="T37" fmla="*/ 1761 h 1795"/>
                    <a:gd name="T38" fmla="*/ 1365 w 2848"/>
                    <a:gd name="T39" fmla="*/ 1780 h 1795"/>
                    <a:gd name="T40" fmla="*/ 1467 w 2848"/>
                    <a:gd name="T41" fmla="*/ 1790 h 1795"/>
                    <a:gd name="T42" fmla="*/ 1569 w 2848"/>
                    <a:gd name="T43" fmla="*/ 1795 h 1795"/>
                    <a:gd name="T44" fmla="*/ 1680 w 2848"/>
                    <a:gd name="T45" fmla="*/ 1790 h 1795"/>
                    <a:gd name="T46" fmla="*/ 1842 w 2848"/>
                    <a:gd name="T47" fmla="*/ 1767 h 1795"/>
                    <a:gd name="T48" fmla="*/ 1997 w 2848"/>
                    <a:gd name="T49" fmla="*/ 1725 h 1795"/>
                    <a:gd name="T50" fmla="*/ 2143 w 2848"/>
                    <a:gd name="T51" fmla="*/ 1666 h 1795"/>
                    <a:gd name="T52" fmla="*/ 2281 w 2848"/>
                    <a:gd name="T53" fmla="*/ 1592 h 1795"/>
                    <a:gd name="T54" fmla="*/ 2408 w 2848"/>
                    <a:gd name="T55" fmla="*/ 1501 h 1795"/>
                    <a:gd name="T56" fmla="*/ 2525 w 2848"/>
                    <a:gd name="T57" fmla="*/ 1397 h 1795"/>
                    <a:gd name="T58" fmla="*/ 2627 w 2848"/>
                    <a:gd name="T59" fmla="*/ 1280 h 1795"/>
                    <a:gd name="T60" fmla="*/ 2716 w 2848"/>
                    <a:gd name="T61" fmla="*/ 1153 h 1795"/>
                    <a:gd name="T62" fmla="*/ 2790 w 2848"/>
                    <a:gd name="T63" fmla="*/ 1015 h 1795"/>
                    <a:gd name="T64" fmla="*/ 2848 w 2848"/>
                    <a:gd name="T65" fmla="*/ 867 h 1795"/>
                    <a:gd name="T66" fmla="*/ 2721 w 2848"/>
                    <a:gd name="T67" fmla="*/ 994 h 1795"/>
                    <a:gd name="T68" fmla="*/ 2691 w 2848"/>
                    <a:gd name="T69" fmla="*/ 1003 h 1795"/>
                    <a:gd name="T70" fmla="*/ 2671 w 2848"/>
                    <a:gd name="T71" fmla="*/ 999 h 1795"/>
                    <a:gd name="T72" fmla="*/ 2415 w 2848"/>
                    <a:gd name="T73" fmla="*/ 749 h 1795"/>
                    <a:gd name="T74" fmla="*/ 2390 w 2848"/>
                    <a:gd name="T75" fmla="*/ 813 h 1795"/>
                    <a:gd name="T76" fmla="*/ 2343 w 2848"/>
                    <a:gd name="T77" fmla="*/ 905 h 1795"/>
                    <a:gd name="T78" fmla="*/ 2286 w 2848"/>
                    <a:gd name="T79" fmla="*/ 990 h 1795"/>
                    <a:gd name="T80" fmla="*/ 2220 w 2848"/>
                    <a:gd name="T81" fmla="*/ 1066 h 1795"/>
                    <a:gd name="T82" fmla="*/ 2146 w 2848"/>
                    <a:gd name="T83" fmla="*/ 1136 h 1795"/>
                    <a:gd name="T84" fmla="*/ 2064 w 2848"/>
                    <a:gd name="T85" fmla="*/ 1198 h 1795"/>
                    <a:gd name="T86" fmla="*/ 1976 w 2848"/>
                    <a:gd name="T87" fmla="*/ 1249 h 1795"/>
                    <a:gd name="T88" fmla="*/ 1882 w 2848"/>
                    <a:gd name="T89" fmla="*/ 1291 h 1795"/>
                    <a:gd name="T90" fmla="*/ 1782 w 2848"/>
                    <a:gd name="T91" fmla="*/ 1320 h 1795"/>
                    <a:gd name="T92" fmla="*/ 1678 w 2848"/>
                    <a:gd name="T93" fmla="*/ 1339 h 1795"/>
                    <a:gd name="T94" fmla="*/ 1569 w 2848"/>
                    <a:gd name="T95" fmla="*/ 1346 h 1795"/>
                    <a:gd name="T96" fmla="*/ 1478 w 2848"/>
                    <a:gd name="T97" fmla="*/ 1342 h 1795"/>
                    <a:gd name="T98" fmla="*/ 1345 w 2848"/>
                    <a:gd name="T99" fmla="*/ 1318 h 1795"/>
                    <a:gd name="T100" fmla="*/ 1221 w 2848"/>
                    <a:gd name="T101" fmla="*/ 1275 h 1795"/>
                    <a:gd name="T102" fmla="*/ 1104 w 2848"/>
                    <a:gd name="T103" fmla="*/ 1216 h 1795"/>
                    <a:gd name="T104" fmla="*/ 999 w 2848"/>
                    <a:gd name="T105" fmla="*/ 1141 h 1795"/>
                    <a:gd name="T106" fmla="*/ 906 w 2848"/>
                    <a:gd name="T107" fmla="*/ 1052 h 1795"/>
                    <a:gd name="T108" fmla="*/ 825 w 2848"/>
                    <a:gd name="T109" fmla="*/ 951 h 1795"/>
                    <a:gd name="T110" fmla="*/ 760 w 2848"/>
                    <a:gd name="T111" fmla="*/ 839 h 1795"/>
                    <a:gd name="T112" fmla="*/ 713 w 2848"/>
                    <a:gd name="T113" fmla="*/ 716 h 1795"/>
                    <a:gd name="T114" fmla="*/ 683 w 2848"/>
                    <a:gd name="T115" fmla="*/ 586 h 1795"/>
                    <a:gd name="T116" fmla="*/ 673 w 2848"/>
                    <a:gd name="T117" fmla="*/ 449 h 1795"/>
                    <a:gd name="T118" fmla="*/ 0 w 2848"/>
                    <a:gd name="T119" fmla="*/ 449 h 1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48"/>
                    <a:gd name="T181" fmla="*/ 0 h 1795"/>
                    <a:gd name="T182" fmla="*/ 2848 w 2848"/>
                    <a:gd name="T183" fmla="*/ 1795 h 1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48" h="1795">
                      <a:moveTo>
                        <a:pt x="224" y="449"/>
                      </a:moveTo>
                      <a:lnTo>
                        <a:pt x="224" y="449"/>
                      </a:lnTo>
                      <a:lnTo>
                        <a:pt x="224" y="484"/>
                      </a:lnTo>
                      <a:lnTo>
                        <a:pt x="226" y="519"/>
                      </a:lnTo>
                      <a:lnTo>
                        <a:pt x="228" y="553"/>
                      </a:lnTo>
                      <a:lnTo>
                        <a:pt x="231" y="587"/>
                      </a:lnTo>
                      <a:lnTo>
                        <a:pt x="235" y="620"/>
                      </a:lnTo>
                      <a:lnTo>
                        <a:pt x="240" y="654"/>
                      </a:lnTo>
                      <a:lnTo>
                        <a:pt x="246" y="687"/>
                      </a:lnTo>
                      <a:lnTo>
                        <a:pt x="252" y="720"/>
                      </a:lnTo>
                      <a:lnTo>
                        <a:pt x="259" y="754"/>
                      </a:lnTo>
                      <a:lnTo>
                        <a:pt x="267" y="785"/>
                      </a:lnTo>
                      <a:lnTo>
                        <a:pt x="275" y="817"/>
                      </a:lnTo>
                      <a:lnTo>
                        <a:pt x="285" y="849"/>
                      </a:lnTo>
                      <a:lnTo>
                        <a:pt x="295" y="881"/>
                      </a:lnTo>
                      <a:lnTo>
                        <a:pt x="306" y="912"/>
                      </a:lnTo>
                      <a:lnTo>
                        <a:pt x="318" y="942"/>
                      </a:lnTo>
                      <a:lnTo>
                        <a:pt x="329" y="973"/>
                      </a:lnTo>
                      <a:lnTo>
                        <a:pt x="342" y="1003"/>
                      </a:lnTo>
                      <a:lnTo>
                        <a:pt x="357" y="1032"/>
                      </a:lnTo>
                      <a:lnTo>
                        <a:pt x="371" y="1062"/>
                      </a:lnTo>
                      <a:lnTo>
                        <a:pt x="386" y="1090"/>
                      </a:lnTo>
                      <a:lnTo>
                        <a:pt x="403" y="1118"/>
                      </a:lnTo>
                      <a:lnTo>
                        <a:pt x="419" y="1147"/>
                      </a:lnTo>
                      <a:lnTo>
                        <a:pt x="436" y="1174"/>
                      </a:lnTo>
                      <a:lnTo>
                        <a:pt x="453" y="1201"/>
                      </a:lnTo>
                      <a:lnTo>
                        <a:pt x="472" y="1228"/>
                      </a:lnTo>
                      <a:lnTo>
                        <a:pt x="491" y="1254"/>
                      </a:lnTo>
                      <a:lnTo>
                        <a:pt x="511" y="1280"/>
                      </a:lnTo>
                      <a:lnTo>
                        <a:pt x="531" y="1305"/>
                      </a:lnTo>
                      <a:lnTo>
                        <a:pt x="553" y="1330"/>
                      </a:lnTo>
                      <a:lnTo>
                        <a:pt x="574" y="1353"/>
                      </a:lnTo>
                      <a:lnTo>
                        <a:pt x="595" y="1377"/>
                      </a:lnTo>
                      <a:lnTo>
                        <a:pt x="618" y="1401"/>
                      </a:lnTo>
                      <a:lnTo>
                        <a:pt x="641" y="1423"/>
                      </a:lnTo>
                      <a:lnTo>
                        <a:pt x="665" y="1445"/>
                      </a:lnTo>
                      <a:lnTo>
                        <a:pt x="690" y="1467"/>
                      </a:lnTo>
                      <a:lnTo>
                        <a:pt x="713" y="1487"/>
                      </a:lnTo>
                      <a:lnTo>
                        <a:pt x="739" y="1508"/>
                      </a:lnTo>
                      <a:lnTo>
                        <a:pt x="764" y="1527"/>
                      </a:lnTo>
                      <a:lnTo>
                        <a:pt x="791" y="1546"/>
                      </a:lnTo>
                      <a:lnTo>
                        <a:pt x="817" y="1565"/>
                      </a:lnTo>
                      <a:lnTo>
                        <a:pt x="844" y="1582"/>
                      </a:lnTo>
                      <a:lnTo>
                        <a:pt x="872" y="1600"/>
                      </a:lnTo>
                      <a:lnTo>
                        <a:pt x="900" y="1617"/>
                      </a:lnTo>
                      <a:lnTo>
                        <a:pt x="928" y="1632"/>
                      </a:lnTo>
                      <a:lnTo>
                        <a:pt x="957" y="1647"/>
                      </a:lnTo>
                      <a:lnTo>
                        <a:pt x="986" y="1662"/>
                      </a:lnTo>
                      <a:lnTo>
                        <a:pt x="1016" y="1676"/>
                      </a:lnTo>
                      <a:lnTo>
                        <a:pt x="1046" y="1689"/>
                      </a:lnTo>
                      <a:lnTo>
                        <a:pt x="1076" y="1702"/>
                      </a:lnTo>
                      <a:lnTo>
                        <a:pt x="1106" y="1714"/>
                      </a:lnTo>
                      <a:lnTo>
                        <a:pt x="1138" y="1724"/>
                      </a:lnTo>
                      <a:lnTo>
                        <a:pt x="1169" y="1734"/>
                      </a:lnTo>
                      <a:lnTo>
                        <a:pt x="1201" y="1743"/>
                      </a:lnTo>
                      <a:lnTo>
                        <a:pt x="1233" y="1752"/>
                      </a:lnTo>
                      <a:lnTo>
                        <a:pt x="1266" y="1761"/>
                      </a:lnTo>
                      <a:lnTo>
                        <a:pt x="1299" y="1768"/>
                      </a:lnTo>
                      <a:lnTo>
                        <a:pt x="1332" y="1774"/>
                      </a:lnTo>
                      <a:lnTo>
                        <a:pt x="1365" y="1780"/>
                      </a:lnTo>
                      <a:lnTo>
                        <a:pt x="1398" y="1784"/>
                      </a:lnTo>
                      <a:lnTo>
                        <a:pt x="1432" y="1788"/>
                      </a:lnTo>
                      <a:lnTo>
                        <a:pt x="1467" y="1790"/>
                      </a:lnTo>
                      <a:lnTo>
                        <a:pt x="1501" y="1793"/>
                      </a:lnTo>
                      <a:lnTo>
                        <a:pt x="1535" y="1794"/>
                      </a:lnTo>
                      <a:lnTo>
                        <a:pt x="1569" y="1795"/>
                      </a:lnTo>
                      <a:lnTo>
                        <a:pt x="1625" y="1794"/>
                      </a:lnTo>
                      <a:lnTo>
                        <a:pt x="1680" y="1790"/>
                      </a:lnTo>
                      <a:lnTo>
                        <a:pt x="1735" y="1784"/>
                      </a:lnTo>
                      <a:lnTo>
                        <a:pt x="1789" y="1777"/>
                      </a:lnTo>
                      <a:lnTo>
                        <a:pt x="1842" y="1767"/>
                      </a:lnTo>
                      <a:lnTo>
                        <a:pt x="1894" y="1755"/>
                      </a:lnTo>
                      <a:lnTo>
                        <a:pt x="1946" y="1742"/>
                      </a:lnTo>
                      <a:lnTo>
                        <a:pt x="1997" y="1725"/>
                      </a:lnTo>
                      <a:lnTo>
                        <a:pt x="2046" y="1708"/>
                      </a:lnTo>
                      <a:lnTo>
                        <a:pt x="2096" y="1688"/>
                      </a:lnTo>
                      <a:lnTo>
                        <a:pt x="2143" y="1666"/>
                      </a:lnTo>
                      <a:lnTo>
                        <a:pt x="2191" y="1643"/>
                      </a:lnTo>
                      <a:lnTo>
                        <a:pt x="2237" y="1618"/>
                      </a:lnTo>
                      <a:lnTo>
                        <a:pt x="2281" y="1592"/>
                      </a:lnTo>
                      <a:lnTo>
                        <a:pt x="2325" y="1562"/>
                      </a:lnTo>
                      <a:lnTo>
                        <a:pt x="2368" y="1533"/>
                      </a:lnTo>
                      <a:lnTo>
                        <a:pt x="2408" y="1501"/>
                      </a:lnTo>
                      <a:lnTo>
                        <a:pt x="2448" y="1468"/>
                      </a:lnTo>
                      <a:lnTo>
                        <a:pt x="2487" y="1434"/>
                      </a:lnTo>
                      <a:lnTo>
                        <a:pt x="2525" y="1397"/>
                      </a:lnTo>
                      <a:lnTo>
                        <a:pt x="2560" y="1359"/>
                      </a:lnTo>
                      <a:lnTo>
                        <a:pt x="2594" y="1322"/>
                      </a:lnTo>
                      <a:lnTo>
                        <a:pt x="2627" y="1280"/>
                      </a:lnTo>
                      <a:lnTo>
                        <a:pt x="2658" y="1239"/>
                      </a:lnTo>
                      <a:lnTo>
                        <a:pt x="2689" y="1196"/>
                      </a:lnTo>
                      <a:lnTo>
                        <a:pt x="2716" y="1153"/>
                      </a:lnTo>
                      <a:lnTo>
                        <a:pt x="2743" y="1108"/>
                      </a:lnTo>
                      <a:lnTo>
                        <a:pt x="2768" y="1062"/>
                      </a:lnTo>
                      <a:lnTo>
                        <a:pt x="2790" y="1015"/>
                      </a:lnTo>
                      <a:lnTo>
                        <a:pt x="2812" y="966"/>
                      </a:lnTo>
                      <a:lnTo>
                        <a:pt x="2832" y="918"/>
                      </a:lnTo>
                      <a:lnTo>
                        <a:pt x="2848" y="867"/>
                      </a:lnTo>
                      <a:lnTo>
                        <a:pt x="2728" y="987"/>
                      </a:lnTo>
                      <a:lnTo>
                        <a:pt x="2721" y="994"/>
                      </a:lnTo>
                      <a:lnTo>
                        <a:pt x="2711" y="999"/>
                      </a:lnTo>
                      <a:lnTo>
                        <a:pt x="2702" y="1002"/>
                      </a:lnTo>
                      <a:lnTo>
                        <a:pt x="2691" y="1003"/>
                      </a:lnTo>
                      <a:lnTo>
                        <a:pt x="2681" y="1002"/>
                      </a:lnTo>
                      <a:lnTo>
                        <a:pt x="2671" y="999"/>
                      </a:lnTo>
                      <a:lnTo>
                        <a:pt x="2662" y="994"/>
                      </a:lnTo>
                      <a:lnTo>
                        <a:pt x="2653" y="987"/>
                      </a:lnTo>
                      <a:lnTo>
                        <a:pt x="2415" y="749"/>
                      </a:lnTo>
                      <a:lnTo>
                        <a:pt x="2403" y="782"/>
                      </a:lnTo>
                      <a:lnTo>
                        <a:pt x="2390" y="813"/>
                      </a:lnTo>
                      <a:lnTo>
                        <a:pt x="2375" y="844"/>
                      </a:lnTo>
                      <a:lnTo>
                        <a:pt x="2359" y="875"/>
                      </a:lnTo>
                      <a:lnTo>
                        <a:pt x="2343" y="905"/>
                      </a:lnTo>
                      <a:lnTo>
                        <a:pt x="2325" y="933"/>
                      </a:lnTo>
                      <a:lnTo>
                        <a:pt x="2306" y="961"/>
                      </a:lnTo>
                      <a:lnTo>
                        <a:pt x="2286" y="990"/>
                      </a:lnTo>
                      <a:lnTo>
                        <a:pt x="2265" y="1016"/>
                      </a:lnTo>
                      <a:lnTo>
                        <a:pt x="2243" y="1042"/>
                      </a:lnTo>
                      <a:lnTo>
                        <a:pt x="2220" y="1066"/>
                      </a:lnTo>
                      <a:lnTo>
                        <a:pt x="2196" y="1091"/>
                      </a:lnTo>
                      <a:lnTo>
                        <a:pt x="2172" y="1114"/>
                      </a:lnTo>
                      <a:lnTo>
                        <a:pt x="2146" y="1136"/>
                      </a:lnTo>
                      <a:lnTo>
                        <a:pt x="2120" y="1157"/>
                      </a:lnTo>
                      <a:lnTo>
                        <a:pt x="2093" y="1179"/>
                      </a:lnTo>
                      <a:lnTo>
                        <a:pt x="2064" y="1198"/>
                      </a:lnTo>
                      <a:lnTo>
                        <a:pt x="2036" y="1215"/>
                      </a:lnTo>
                      <a:lnTo>
                        <a:pt x="2006" y="1233"/>
                      </a:lnTo>
                      <a:lnTo>
                        <a:pt x="1976" y="1249"/>
                      </a:lnTo>
                      <a:lnTo>
                        <a:pt x="1945" y="1264"/>
                      </a:lnTo>
                      <a:lnTo>
                        <a:pt x="1914" y="1278"/>
                      </a:lnTo>
                      <a:lnTo>
                        <a:pt x="1882" y="1291"/>
                      </a:lnTo>
                      <a:lnTo>
                        <a:pt x="1849" y="1301"/>
                      </a:lnTo>
                      <a:lnTo>
                        <a:pt x="1816" y="1312"/>
                      </a:lnTo>
                      <a:lnTo>
                        <a:pt x="1782" y="1320"/>
                      </a:lnTo>
                      <a:lnTo>
                        <a:pt x="1748" y="1329"/>
                      </a:lnTo>
                      <a:lnTo>
                        <a:pt x="1713" y="1334"/>
                      </a:lnTo>
                      <a:lnTo>
                        <a:pt x="1678" y="1339"/>
                      </a:lnTo>
                      <a:lnTo>
                        <a:pt x="1643" y="1343"/>
                      </a:lnTo>
                      <a:lnTo>
                        <a:pt x="1606" y="1345"/>
                      </a:lnTo>
                      <a:lnTo>
                        <a:pt x="1569" y="1346"/>
                      </a:lnTo>
                      <a:lnTo>
                        <a:pt x="1523" y="1345"/>
                      </a:lnTo>
                      <a:lnTo>
                        <a:pt x="1478" y="1342"/>
                      </a:lnTo>
                      <a:lnTo>
                        <a:pt x="1434" y="1336"/>
                      </a:lnTo>
                      <a:lnTo>
                        <a:pt x="1389" y="1327"/>
                      </a:lnTo>
                      <a:lnTo>
                        <a:pt x="1345" y="1318"/>
                      </a:lnTo>
                      <a:lnTo>
                        <a:pt x="1303" y="1306"/>
                      </a:lnTo>
                      <a:lnTo>
                        <a:pt x="1261" y="1292"/>
                      </a:lnTo>
                      <a:lnTo>
                        <a:pt x="1221" y="1275"/>
                      </a:lnTo>
                      <a:lnTo>
                        <a:pt x="1181" y="1258"/>
                      </a:lnTo>
                      <a:lnTo>
                        <a:pt x="1142" y="1238"/>
                      </a:lnTo>
                      <a:lnTo>
                        <a:pt x="1104" y="1216"/>
                      </a:lnTo>
                      <a:lnTo>
                        <a:pt x="1069" y="1193"/>
                      </a:lnTo>
                      <a:lnTo>
                        <a:pt x="1033" y="1168"/>
                      </a:lnTo>
                      <a:lnTo>
                        <a:pt x="999" y="1141"/>
                      </a:lnTo>
                      <a:lnTo>
                        <a:pt x="966" y="1114"/>
                      </a:lnTo>
                      <a:lnTo>
                        <a:pt x="935" y="1083"/>
                      </a:lnTo>
                      <a:lnTo>
                        <a:pt x="906" y="1052"/>
                      </a:lnTo>
                      <a:lnTo>
                        <a:pt x="877" y="1019"/>
                      </a:lnTo>
                      <a:lnTo>
                        <a:pt x="850" y="986"/>
                      </a:lnTo>
                      <a:lnTo>
                        <a:pt x="825" y="951"/>
                      </a:lnTo>
                      <a:lnTo>
                        <a:pt x="803" y="914"/>
                      </a:lnTo>
                      <a:lnTo>
                        <a:pt x="781" y="876"/>
                      </a:lnTo>
                      <a:lnTo>
                        <a:pt x="760" y="839"/>
                      </a:lnTo>
                      <a:lnTo>
                        <a:pt x="743" y="798"/>
                      </a:lnTo>
                      <a:lnTo>
                        <a:pt x="727" y="757"/>
                      </a:lnTo>
                      <a:lnTo>
                        <a:pt x="713" y="716"/>
                      </a:lnTo>
                      <a:lnTo>
                        <a:pt x="700" y="673"/>
                      </a:lnTo>
                      <a:lnTo>
                        <a:pt x="691" y="630"/>
                      </a:lnTo>
                      <a:lnTo>
                        <a:pt x="683" y="586"/>
                      </a:lnTo>
                      <a:lnTo>
                        <a:pt x="677" y="541"/>
                      </a:lnTo>
                      <a:lnTo>
                        <a:pt x="674" y="495"/>
                      </a:lnTo>
                      <a:lnTo>
                        <a:pt x="673" y="449"/>
                      </a:lnTo>
                      <a:lnTo>
                        <a:pt x="897" y="449"/>
                      </a:lnTo>
                      <a:lnTo>
                        <a:pt x="449" y="0"/>
                      </a:lnTo>
                      <a:lnTo>
                        <a:pt x="0" y="449"/>
                      </a:lnTo>
                      <a:lnTo>
                        <a:pt x="224" y="449"/>
                      </a:lnTo>
                      <a:close/>
                    </a:path>
                  </a:pathLst>
                </a:custGeom>
                <a:solidFill>
                  <a:srgbClr val="25406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sz="2400">
                    <a:cs typeface="+mn-ea"/>
                  </a:endParaRPr>
                </a:p>
              </p:txBody>
            </p:sp>
            <p:sp>
              <p:nvSpPr>
                <p:cNvPr id="41" name="未知"/>
                <p:cNvSpPr/>
                <p:nvPr/>
              </p:nvSpPr>
              <p:spPr bwMode="auto">
                <a:xfrm>
                  <a:off x="291" y="0"/>
                  <a:ext cx="2849" cy="1794"/>
                </a:xfrm>
                <a:custGeom>
                  <a:avLst/>
                  <a:gdLst>
                    <a:gd name="T0" fmla="*/ 2623 w 2849"/>
                    <a:gd name="T1" fmla="*/ 1311 h 1794"/>
                    <a:gd name="T2" fmla="*/ 2618 w 2849"/>
                    <a:gd name="T3" fmla="*/ 1208 h 1794"/>
                    <a:gd name="T4" fmla="*/ 2603 w 2849"/>
                    <a:gd name="T5" fmla="*/ 1106 h 1794"/>
                    <a:gd name="T6" fmla="*/ 2582 w 2849"/>
                    <a:gd name="T7" fmla="*/ 1008 h 1794"/>
                    <a:gd name="T8" fmla="*/ 2554 w 2849"/>
                    <a:gd name="T9" fmla="*/ 914 h 1794"/>
                    <a:gd name="T10" fmla="*/ 2518 w 2849"/>
                    <a:gd name="T11" fmla="*/ 822 h 1794"/>
                    <a:gd name="T12" fmla="*/ 2477 w 2849"/>
                    <a:gd name="T13" fmla="*/ 732 h 1794"/>
                    <a:gd name="T14" fmla="*/ 2430 w 2849"/>
                    <a:gd name="T15" fmla="*/ 647 h 1794"/>
                    <a:gd name="T16" fmla="*/ 2377 w 2849"/>
                    <a:gd name="T17" fmla="*/ 567 h 1794"/>
                    <a:gd name="T18" fmla="*/ 2318 w 2849"/>
                    <a:gd name="T19" fmla="*/ 489 h 1794"/>
                    <a:gd name="T20" fmla="*/ 2253 w 2849"/>
                    <a:gd name="T21" fmla="*/ 417 h 1794"/>
                    <a:gd name="T22" fmla="*/ 2183 w 2849"/>
                    <a:gd name="T23" fmla="*/ 350 h 1794"/>
                    <a:gd name="T24" fmla="*/ 2110 w 2849"/>
                    <a:gd name="T25" fmla="*/ 287 h 1794"/>
                    <a:gd name="T26" fmla="*/ 2031 w 2849"/>
                    <a:gd name="T27" fmla="*/ 229 h 1794"/>
                    <a:gd name="T28" fmla="*/ 1948 w 2849"/>
                    <a:gd name="T29" fmla="*/ 178 h 1794"/>
                    <a:gd name="T30" fmla="*/ 1862 w 2849"/>
                    <a:gd name="T31" fmla="*/ 132 h 1794"/>
                    <a:gd name="T32" fmla="*/ 1772 w 2849"/>
                    <a:gd name="T33" fmla="*/ 93 h 1794"/>
                    <a:gd name="T34" fmla="*/ 1679 w 2849"/>
                    <a:gd name="T35" fmla="*/ 60 h 1794"/>
                    <a:gd name="T36" fmla="*/ 1583 w 2849"/>
                    <a:gd name="T37" fmla="*/ 34 h 1794"/>
                    <a:gd name="T38" fmla="*/ 1484 w 2849"/>
                    <a:gd name="T39" fmla="*/ 15 h 1794"/>
                    <a:gd name="T40" fmla="*/ 1382 w 2849"/>
                    <a:gd name="T41" fmla="*/ 4 h 1794"/>
                    <a:gd name="T42" fmla="*/ 1278 w 2849"/>
                    <a:gd name="T43" fmla="*/ 0 h 1794"/>
                    <a:gd name="T44" fmla="*/ 1167 w 2849"/>
                    <a:gd name="T45" fmla="*/ 4 h 1794"/>
                    <a:gd name="T46" fmla="*/ 1007 w 2849"/>
                    <a:gd name="T47" fmla="*/ 27 h 1794"/>
                    <a:gd name="T48" fmla="*/ 852 w 2849"/>
                    <a:gd name="T49" fmla="*/ 68 h 1794"/>
                    <a:gd name="T50" fmla="*/ 704 w 2849"/>
                    <a:gd name="T51" fmla="*/ 128 h 1794"/>
                    <a:gd name="T52" fmla="*/ 568 w 2849"/>
                    <a:gd name="T53" fmla="*/ 203 h 1794"/>
                    <a:gd name="T54" fmla="*/ 440 w 2849"/>
                    <a:gd name="T55" fmla="*/ 293 h 1794"/>
                    <a:gd name="T56" fmla="*/ 324 w 2849"/>
                    <a:gd name="T57" fmla="*/ 397 h 1794"/>
                    <a:gd name="T58" fmla="*/ 222 w 2849"/>
                    <a:gd name="T59" fmla="*/ 514 h 1794"/>
                    <a:gd name="T60" fmla="*/ 132 w 2849"/>
                    <a:gd name="T61" fmla="*/ 641 h 1794"/>
                    <a:gd name="T62" fmla="*/ 57 w 2849"/>
                    <a:gd name="T63" fmla="*/ 779 h 1794"/>
                    <a:gd name="T64" fmla="*/ 0 w 2849"/>
                    <a:gd name="T65" fmla="*/ 927 h 1794"/>
                    <a:gd name="T66" fmla="*/ 128 w 2849"/>
                    <a:gd name="T67" fmla="*/ 801 h 1794"/>
                    <a:gd name="T68" fmla="*/ 158 w 2849"/>
                    <a:gd name="T69" fmla="*/ 791 h 1794"/>
                    <a:gd name="T70" fmla="*/ 178 w 2849"/>
                    <a:gd name="T71" fmla="*/ 795 h 1794"/>
                    <a:gd name="T72" fmla="*/ 433 w 2849"/>
                    <a:gd name="T73" fmla="*/ 1045 h 1794"/>
                    <a:gd name="T74" fmla="*/ 459 w 2849"/>
                    <a:gd name="T75" fmla="*/ 981 h 1794"/>
                    <a:gd name="T76" fmla="*/ 506 w 2849"/>
                    <a:gd name="T77" fmla="*/ 890 h 1794"/>
                    <a:gd name="T78" fmla="*/ 563 w 2849"/>
                    <a:gd name="T79" fmla="*/ 805 h 1794"/>
                    <a:gd name="T80" fmla="*/ 628 w 2849"/>
                    <a:gd name="T81" fmla="*/ 727 h 1794"/>
                    <a:gd name="T82" fmla="*/ 702 w 2849"/>
                    <a:gd name="T83" fmla="*/ 658 h 1794"/>
                    <a:gd name="T84" fmla="*/ 784 w 2849"/>
                    <a:gd name="T85" fmla="*/ 596 h 1794"/>
                    <a:gd name="T86" fmla="*/ 872 w 2849"/>
                    <a:gd name="T87" fmla="*/ 546 h 1794"/>
                    <a:gd name="T88" fmla="*/ 967 w 2849"/>
                    <a:gd name="T89" fmla="*/ 504 h 1794"/>
                    <a:gd name="T90" fmla="*/ 1066 w 2849"/>
                    <a:gd name="T91" fmla="*/ 473 h 1794"/>
                    <a:gd name="T92" fmla="*/ 1171 w 2849"/>
                    <a:gd name="T93" fmla="*/ 455 h 1794"/>
                    <a:gd name="T94" fmla="*/ 1278 w 2849"/>
                    <a:gd name="T95" fmla="*/ 448 h 1794"/>
                    <a:gd name="T96" fmla="*/ 1371 w 2849"/>
                    <a:gd name="T97" fmla="*/ 452 h 1794"/>
                    <a:gd name="T98" fmla="*/ 1503 w 2849"/>
                    <a:gd name="T99" fmla="*/ 476 h 1794"/>
                    <a:gd name="T100" fmla="*/ 1628 w 2849"/>
                    <a:gd name="T101" fmla="*/ 518 h 1794"/>
                    <a:gd name="T102" fmla="*/ 1744 w 2849"/>
                    <a:gd name="T103" fmla="*/ 577 h 1794"/>
                    <a:gd name="T104" fmla="*/ 1850 w 2849"/>
                    <a:gd name="T105" fmla="*/ 653 h 1794"/>
                    <a:gd name="T106" fmla="*/ 1943 w 2849"/>
                    <a:gd name="T107" fmla="*/ 742 h 1794"/>
                    <a:gd name="T108" fmla="*/ 2022 w 2849"/>
                    <a:gd name="T109" fmla="*/ 843 h 1794"/>
                    <a:gd name="T110" fmla="*/ 2087 w 2849"/>
                    <a:gd name="T111" fmla="*/ 956 h 1794"/>
                    <a:gd name="T112" fmla="*/ 2136 w 2849"/>
                    <a:gd name="T113" fmla="*/ 1078 h 1794"/>
                    <a:gd name="T114" fmla="*/ 2165 w 2849"/>
                    <a:gd name="T115" fmla="*/ 1208 h 1794"/>
                    <a:gd name="T116" fmla="*/ 2176 w 2849"/>
                    <a:gd name="T117" fmla="*/ 1345 h 1794"/>
                    <a:gd name="T118" fmla="*/ 2849 w 2849"/>
                    <a:gd name="T119" fmla="*/ 1345 h 179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49"/>
                    <a:gd name="T181" fmla="*/ 0 h 1794"/>
                    <a:gd name="T182" fmla="*/ 2849 w 2849"/>
                    <a:gd name="T183" fmla="*/ 1794 h 179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49" h="1794">
                      <a:moveTo>
                        <a:pt x="2625" y="1345"/>
                      </a:moveTo>
                      <a:lnTo>
                        <a:pt x="2625" y="1345"/>
                      </a:lnTo>
                      <a:lnTo>
                        <a:pt x="2623" y="1311"/>
                      </a:lnTo>
                      <a:lnTo>
                        <a:pt x="2622" y="1276"/>
                      </a:lnTo>
                      <a:lnTo>
                        <a:pt x="2620" y="1242"/>
                      </a:lnTo>
                      <a:lnTo>
                        <a:pt x="2618" y="1208"/>
                      </a:lnTo>
                      <a:lnTo>
                        <a:pt x="2614" y="1174"/>
                      </a:lnTo>
                      <a:lnTo>
                        <a:pt x="2609" y="1141"/>
                      </a:lnTo>
                      <a:lnTo>
                        <a:pt x="2603" y="1106"/>
                      </a:lnTo>
                      <a:lnTo>
                        <a:pt x="2597" y="1075"/>
                      </a:lnTo>
                      <a:lnTo>
                        <a:pt x="2590" y="1041"/>
                      </a:lnTo>
                      <a:lnTo>
                        <a:pt x="2582" y="1008"/>
                      </a:lnTo>
                      <a:lnTo>
                        <a:pt x="2574" y="977"/>
                      </a:lnTo>
                      <a:lnTo>
                        <a:pt x="2564" y="945"/>
                      </a:lnTo>
                      <a:lnTo>
                        <a:pt x="2554" y="914"/>
                      </a:lnTo>
                      <a:lnTo>
                        <a:pt x="2543" y="882"/>
                      </a:lnTo>
                      <a:lnTo>
                        <a:pt x="2531" y="851"/>
                      </a:lnTo>
                      <a:lnTo>
                        <a:pt x="2518" y="822"/>
                      </a:lnTo>
                      <a:lnTo>
                        <a:pt x="2505" y="791"/>
                      </a:lnTo>
                      <a:lnTo>
                        <a:pt x="2491" y="762"/>
                      </a:lnTo>
                      <a:lnTo>
                        <a:pt x="2477" y="732"/>
                      </a:lnTo>
                      <a:lnTo>
                        <a:pt x="2462" y="704"/>
                      </a:lnTo>
                      <a:lnTo>
                        <a:pt x="2446" y="675"/>
                      </a:lnTo>
                      <a:lnTo>
                        <a:pt x="2430" y="647"/>
                      </a:lnTo>
                      <a:lnTo>
                        <a:pt x="2412" y="620"/>
                      </a:lnTo>
                      <a:lnTo>
                        <a:pt x="2394" y="593"/>
                      </a:lnTo>
                      <a:lnTo>
                        <a:pt x="2377" y="567"/>
                      </a:lnTo>
                      <a:lnTo>
                        <a:pt x="2357" y="540"/>
                      </a:lnTo>
                      <a:lnTo>
                        <a:pt x="2338" y="515"/>
                      </a:lnTo>
                      <a:lnTo>
                        <a:pt x="2318" y="489"/>
                      </a:lnTo>
                      <a:lnTo>
                        <a:pt x="2296" y="464"/>
                      </a:lnTo>
                      <a:lnTo>
                        <a:pt x="2275" y="440"/>
                      </a:lnTo>
                      <a:lnTo>
                        <a:pt x="2253" y="417"/>
                      </a:lnTo>
                      <a:lnTo>
                        <a:pt x="2230" y="393"/>
                      </a:lnTo>
                      <a:lnTo>
                        <a:pt x="2207" y="371"/>
                      </a:lnTo>
                      <a:lnTo>
                        <a:pt x="2183" y="350"/>
                      </a:lnTo>
                      <a:lnTo>
                        <a:pt x="2159" y="328"/>
                      </a:lnTo>
                      <a:lnTo>
                        <a:pt x="2135" y="307"/>
                      </a:lnTo>
                      <a:lnTo>
                        <a:pt x="2110" y="287"/>
                      </a:lnTo>
                      <a:lnTo>
                        <a:pt x="2084" y="267"/>
                      </a:lnTo>
                      <a:lnTo>
                        <a:pt x="2058" y="248"/>
                      </a:lnTo>
                      <a:lnTo>
                        <a:pt x="2031" y="229"/>
                      </a:lnTo>
                      <a:lnTo>
                        <a:pt x="2003" y="211"/>
                      </a:lnTo>
                      <a:lnTo>
                        <a:pt x="1976" y="195"/>
                      </a:lnTo>
                      <a:lnTo>
                        <a:pt x="1948" y="178"/>
                      </a:lnTo>
                      <a:lnTo>
                        <a:pt x="1920" y="162"/>
                      </a:lnTo>
                      <a:lnTo>
                        <a:pt x="1891" y="146"/>
                      </a:lnTo>
                      <a:lnTo>
                        <a:pt x="1862" y="132"/>
                      </a:lnTo>
                      <a:lnTo>
                        <a:pt x="1832" y="118"/>
                      </a:lnTo>
                      <a:lnTo>
                        <a:pt x="1803" y="105"/>
                      </a:lnTo>
                      <a:lnTo>
                        <a:pt x="1772" y="93"/>
                      </a:lnTo>
                      <a:lnTo>
                        <a:pt x="1741" y="81"/>
                      </a:lnTo>
                      <a:lnTo>
                        <a:pt x="1711" y="71"/>
                      </a:lnTo>
                      <a:lnTo>
                        <a:pt x="1679" y="60"/>
                      </a:lnTo>
                      <a:lnTo>
                        <a:pt x="1647" y="51"/>
                      </a:lnTo>
                      <a:lnTo>
                        <a:pt x="1615" y="43"/>
                      </a:lnTo>
                      <a:lnTo>
                        <a:pt x="1583" y="34"/>
                      </a:lnTo>
                      <a:lnTo>
                        <a:pt x="1550" y="27"/>
                      </a:lnTo>
                      <a:lnTo>
                        <a:pt x="1517" y="20"/>
                      </a:lnTo>
                      <a:lnTo>
                        <a:pt x="1484" y="15"/>
                      </a:lnTo>
                      <a:lnTo>
                        <a:pt x="1450" y="11"/>
                      </a:lnTo>
                      <a:lnTo>
                        <a:pt x="1417" y="7"/>
                      </a:lnTo>
                      <a:lnTo>
                        <a:pt x="1382" y="4"/>
                      </a:lnTo>
                      <a:lnTo>
                        <a:pt x="1348" y="1"/>
                      </a:lnTo>
                      <a:lnTo>
                        <a:pt x="1314" y="0"/>
                      </a:lnTo>
                      <a:lnTo>
                        <a:pt x="1278" y="0"/>
                      </a:lnTo>
                      <a:lnTo>
                        <a:pt x="1223" y="1"/>
                      </a:lnTo>
                      <a:lnTo>
                        <a:pt x="1167" y="4"/>
                      </a:lnTo>
                      <a:lnTo>
                        <a:pt x="1113" y="9"/>
                      </a:lnTo>
                      <a:lnTo>
                        <a:pt x="1060" y="18"/>
                      </a:lnTo>
                      <a:lnTo>
                        <a:pt x="1007" y="27"/>
                      </a:lnTo>
                      <a:lnTo>
                        <a:pt x="954" y="39"/>
                      </a:lnTo>
                      <a:lnTo>
                        <a:pt x="903" y="53"/>
                      </a:lnTo>
                      <a:lnTo>
                        <a:pt x="852" y="68"/>
                      </a:lnTo>
                      <a:lnTo>
                        <a:pt x="801" y="86"/>
                      </a:lnTo>
                      <a:lnTo>
                        <a:pt x="753" y="106"/>
                      </a:lnTo>
                      <a:lnTo>
                        <a:pt x="704" y="128"/>
                      </a:lnTo>
                      <a:lnTo>
                        <a:pt x="658" y="151"/>
                      </a:lnTo>
                      <a:lnTo>
                        <a:pt x="612" y="176"/>
                      </a:lnTo>
                      <a:lnTo>
                        <a:pt x="568" y="203"/>
                      </a:lnTo>
                      <a:lnTo>
                        <a:pt x="524" y="231"/>
                      </a:lnTo>
                      <a:lnTo>
                        <a:pt x="481" y="261"/>
                      </a:lnTo>
                      <a:lnTo>
                        <a:pt x="440" y="293"/>
                      </a:lnTo>
                      <a:lnTo>
                        <a:pt x="400" y="326"/>
                      </a:lnTo>
                      <a:lnTo>
                        <a:pt x="362" y="361"/>
                      </a:lnTo>
                      <a:lnTo>
                        <a:pt x="324" y="397"/>
                      </a:lnTo>
                      <a:lnTo>
                        <a:pt x="289" y="435"/>
                      </a:lnTo>
                      <a:lnTo>
                        <a:pt x="255" y="473"/>
                      </a:lnTo>
                      <a:lnTo>
                        <a:pt x="222" y="514"/>
                      </a:lnTo>
                      <a:lnTo>
                        <a:pt x="190" y="555"/>
                      </a:lnTo>
                      <a:lnTo>
                        <a:pt x="160" y="597"/>
                      </a:lnTo>
                      <a:lnTo>
                        <a:pt x="132" y="641"/>
                      </a:lnTo>
                      <a:lnTo>
                        <a:pt x="106" y="686"/>
                      </a:lnTo>
                      <a:lnTo>
                        <a:pt x="81" y="732"/>
                      </a:lnTo>
                      <a:lnTo>
                        <a:pt x="57" y="779"/>
                      </a:lnTo>
                      <a:lnTo>
                        <a:pt x="36" y="828"/>
                      </a:lnTo>
                      <a:lnTo>
                        <a:pt x="17" y="877"/>
                      </a:lnTo>
                      <a:lnTo>
                        <a:pt x="0" y="927"/>
                      </a:lnTo>
                      <a:lnTo>
                        <a:pt x="120" y="806"/>
                      </a:lnTo>
                      <a:lnTo>
                        <a:pt x="128" y="801"/>
                      </a:lnTo>
                      <a:lnTo>
                        <a:pt x="138" y="795"/>
                      </a:lnTo>
                      <a:lnTo>
                        <a:pt x="147" y="792"/>
                      </a:lnTo>
                      <a:lnTo>
                        <a:pt x="158" y="791"/>
                      </a:lnTo>
                      <a:lnTo>
                        <a:pt x="167" y="792"/>
                      </a:lnTo>
                      <a:lnTo>
                        <a:pt x="178" y="795"/>
                      </a:lnTo>
                      <a:lnTo>
                        <a:pt x="186" y="801"/>
                      </a:lnTo>
                      <a:lnTo>
                        <a:pt x="194" y="806"/>
                      </a:lnTo>
                      <a:lnTo>
                        <a:pt x="433" y="1045"/>
                      </a:lnTo>
                      <a:lnTo>
                        <a:pt x="446" y="1013"/>
                      </a:lnTo>
                      <a:lnTo>
                        <a:pt x="459" y="981"/>
                      </a:lnTo>
                      <a:lnTo>
                        <a:pt x="473" y="951"/>
                      </a:lnTo>
                      <a:lnTo>
                        <a:pt x="488" y="920"/>
                      </a:lnTo>
                      <a:lnTo>
                        <a:pt x="506" y="890"/>
                      </a:lnTo>
                      <a:lnTo>
                        <a:pt x="524" y="861"/>
                      </a:lnTo>
                      <a:lnTo>
                        <a:pt x="543" y="832"/>
                      </a:lnTo>
                      <a:lnTo>
                        <a:pt x="563" y="805"/>
                      </a:lnTo>
                      <a:lnTo>
                        <a:pt x="584" y="778"/>
                      </a:lnTo>
                      <a:lnTo>
                        <a:pt x="605" y="752"/>
                      </a:lnTo>
                      <a:lnTo>
                        <a:pt x="628" y="727"/>
                      </a:lnTo>
                      <a:lnTo>
                        <a:pt x="653" y="704"/>
                      </a:lnTo>
                      <a:lnTo>
                        <a:pt x="677" y="680"/>
                      </a:lnTo>
                      <a:lnTo>
                        <a:pt x="702" y="658"/>
                      </a:lnTo>
                      <a:lnTo>
                        <a:pt x="729" y="636"/>
                      </a:lnTo>
                      <a:lnTo>
                        <a:pt x="756" y="616"/>
                      </a:lnTo>
                      <a:lnTo>
                        <a:pt x="784" y="596"/>
                      </a:lnTo>
                      <a:lnTo>
                        <a:pt x="813" y="579"/>
                      </a:lnTo>
                      <a:lnTo>
                        <a:pt x="843" y="561"/>
                      </a:lnTo>
                      <a:lnTo>
                        <a:pt x="872" y="546"/>
                      </a:lnTo>
                      <a:lnTo>
                        <a:pt x="903" y="530"/>
                      </a:lnTo>
                      <a:lnTo>
                        <a:pt x="935" y="516"/>
                      </a:lnTo>
                      <a:lnTo>
                        <a:pt x="967" y="504"/>
                      </a:lnTo>
                      <a:lnTo>
                        <a:pt x="1000" y="492"/>
                      </a:lnTo>
                      <a:lnTo>
                        <a:pt x="1033" y="482"/>
                      </a:lnTo>
                      <a:lnTo>
                        <a:pt x="1066" y="473"/>
                      </a:lnTo>
                      <a:lnTo>
                        <a:pt x="1100" y="465"/>
                      </a:lnTo>
                      <a:lnTo>
                        <a:pt x="1136" y="459"/>
                      </a:lnTo>
                      <a:lnTo>
                        <a:pt x="1171" y="455"/>
                      </a:lnTo>
                      <a:lnTo>
                        <a:pt x="1206" y="451"/>
                      </a:lnTo>
                      <a:lnTo>
                        <a:pt x="1242" y="449"/>
                      </a:lnTo>
                      <a:lnTo>
                        <a:pt x="1278" y="448"/>
                      </a:lnTo>
                      <a:lnTo>
                        <a:pt x="1324" y="449"/>
                      </a:lnTo>
                      <a:lnTo>
                        <a:pt x="1371" y="452"/>
                      </a:lnTo>
                      <a:lnTo>
                        <a:pt x="1415" y="458"/>
                      </a:lnTo>
                      <a:lnTo>
                        <a:pt x="1459" y="466"/>
                      </a:lnTo>
                      <a:lnTo>
                        <a:pt x="1503" y="476"/>
                      </a:lnTo>
                      <a:lnTo>
                        <a:pt x="1545" y="489"/>
                      </a:lnTo>
                      <a:lnTo>
                        <a:pt x="1587" y="503"/>
                      </a:lnTo>
                      <a:lnTo>
                        <a:pt x="1628" y="518"/>
                      </a:lnTo>
                      <a:lnTo>
                        <a:pt x="1668" y="536"/>
                      </a:lnTo>
                      <a:lnTo>
                        <a:pt x="1706" y="556"/>
                      </a:lnTo>
                      <a:lnTo>
                        <a:pt x="1744" y="577"/>
                      </a:lnTo>
                      <a:lnTo>
                        <a:pt x="1780" y="601"/>
                      </a:lnTo>
                      <a:lnTo>
                        <a:pt x="1816" y="626"/>
                      </a:lnTo>
                      <a:lnTo>
                        <a:pt x="1850" y="653"/>
                      </a:lnTo>
                      <a:lnTo>
                        <a:pt x="1882" y="681"/>
                      </a:lnTo>
                      <a:lnTo>
                        <a:pt x="1913" y="711"/>
                      </a:lnTo>
                      <a:lnTo>
                        <a:pt x="1943" y="742"/>
                      </a:lnTo>
                      <a:lnTo>
                        <a:pt x="1970" y="775"/>
                      </a:lnTo>
                      <a:lnTo>
                        <a:pt x="1998" y="809"/>
                      </a:lnTo>
                      <a:lnTo>
                        <a:pt x="2022" y="843"/>
                      </a:lnTo>
                      <a:lnTo>
                        <a:pt x="2046" y="880"/>
                      </a:lnTo>
                      <a:lnTo>
                        <a:pt x="2067" y="917"/>
                      </a:lnTo>
                      <a:lnTo>
                        <a:pt x="2087" y="956"/>
                      </a:lnTo>
                      <a:lnTo>
                        <a:pt x="2105" y="995"/>
                      </a:lnTo>
                      <a:lnTo>
                        <a:pt x="2122" y="1037"/>
                      </a:lnTo>
                      <a:lnTo>
                        <a:pt x="2136" y="1078"/>
                      </a:lnTo>
                      <a:lnTo>
                        <a:pt x="2148" y="1121"/>
                      </a:lnTo>
                      <a:lnTo>
                        <a:pt x="2158" y="1164"/>
                      </a:lnTo>
                      <a:lnTo>
                        <a:pt x="2165" y="1208"/>
                      </a:lnTo>
                      <a:lnTo>
                        <a:pt x="2171" y="1254"/>
                      </a:lnTo>
                      <a:lnTo>
                        <a:pt x="2175" y="1299"/>
                      </a:lnTo>
                      <a:lnTo>
                        <a:pt x="2176" y="1345"/>
                      </a:lnTo>
                      <a:lnTo>
                        <a:pt x="1952" y="1345"/>
                      </a:lnTo>
                      <a:lnTo>
                        <a:pt x="2400" y="1794"/>
                      </a:lnTo>
                      <a:lnTo>
                        <a:pt x="2849" y="1345"/>
                      </a:lnTo>
                      <a:lnTo>
                        <a:pt x="2625" y="1345"/>
                      </a:lnTo>
                      <a:close/>
                    </a:path>
                  </a:pathLst>
                </a:custGeom>
                <a:solidFill>
                  <a:srgbClr val="E46C0A"/>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sz="2400">
                    <a:cs typeface="+mn-ea"/>
                  </a:endParaRPr>
                </a:p>
              </p:txBody>
            </p:sp>
          </p:grpSp>
          <p:sp>
            <p:nvSpPr>
              <p:cNvPr id="39" name="WordArt 10"/>
              <p:cNvSpPr>
                <a:spLocks noChangeArrowheads="1" noChangeShapeType="1"/>
              </p:cNvSpPr>
              <p:nvPr/>
            </p:nvSpPr>
            <p:spPr bwMode="auto">
              <a:xfrm rot="16200000">
                <a:off x="3348236" y="1670968"/>
                <a:ext cx="2130425" cy="1984375"/>
              </a:xfrm>
              <a:prstGeom prst="rect">
                <a:avLst/>
              </a:prstGeom>
              <a:extLst>
                <a:ext uri="{91240B29-F687-4F45-9708-019B960494DF}">
                  <a14:hiddenLine xmlns:a14="http://schemas.microsoft.com/office/drawing/2010/main" w="9525">
                    <a:solidFill>
                      <a:srgbClr val="000000"/>
                    </a:solidFill>
                    <a:round/>
                  </a14:hiddenLine>
                </a:ext>
              </a:extLst>
            </p:spPr>
            <p:txBody>
              <a:bodyPr spcFirstLastPara="1" wrap="none" fromWordArt="1">
                <a:prstTxWarp prst="textArchUp">
                  <a:avLst>
                    <a:gd name="adj" fmla="val 12275980"/>
                  </a:avLst>
                </a:prstTxWarp>
              </a:bodyPr>
              <a:lstStyle/>
              <a:p>
                <a:pPr algn="ctr"/>
                <a:r>
                  <a:rPr lang="zh-CN" altLang="en-US" sz="1065" kern="10" dirty="0">
                    <a:solidFill>
                      <a:srgbClr val="FFFFFF"/>
                    </a:solidFill>
                    <a:latin typeface="+mn-ea"/>
                    <a:cs typeface="+mn-ea"/>
                  </a:rPr>
                  <a:t>双击此处添加标题文字</a:t>
                </a:r>
                <a:endParaRPr lang="zh-CN" altLang="en-US" sz="1065" kern="10" dirty="0">
                  <a:solidFill>
                    <a:srgbClr val="FFFFFF"/>
                  </a:solidFill>
                  <a:latin typeface="+mn-ea"/>
                  <a:cs typeface="+mn-ea"/>
                </a:endParaRPr>
              </a:p>
            </p:txBody>
          </p:sp>
        </p:grpSp>
        <p:sp>
          <p:nvSpPr>
            <p:cNvPr id="37" name="WordArt 9"/>
            <p:cNvSpPr>
              <a:spLocks noChangeArrowheads="1" noChangeShapeType="1"/>
            </p:cNvSpPr>
            <p:nvPr/>
          </p:nvSpPr>
          <p:spPr bwMode="auto">
            <a:xfrm rot="5400000">
              <a:off x="3760986" y="1553492"/>
              <a:ext cx="2414588" cy="2284413"/>
            </a:xfrm>
            <a:prstGeom prst="rect">
              <a:avLst/>
            </a:prstGeom>
            <a:extLst>
              <a:ext uri="{91240B29-F687-4F45-9708-019B960494DF}">
                <a14:hiddenLine xmlns:a14="http://schemas.microsoft.com/office/drawing/2010/main" w="9525">
                  <a:solidFill>
                    <a:srgbClr val="000000"/>
                  </a:solidFill>
                  <a:round/>
                </a14:hiddenLine>
              </a:ext>
            </a:extLst>
          </p:spPr>
          <p:txBody>
            <a:bodyPr spcFirstLastPara="1" wrap="none" fromWordArt="1">
              <a:prstTxWarp prst="textArchUp">
                <a:avLst>
                  <a:gd name="adj" fmla="val 13041412"/>
                </a:avLst>
              </a:prstTxWarp>
            </a:bodyPr>
            <a:lstStyle/>
            <a:p>
              <a:pPr algn="ctr"/>
              <a:r>
                <a:rPr lang="zh-CN" altLang="en-US" sz="1065" kern="10" dirty="0">
                  <a:solidFill>
                    <a:srgbClr val="FFFFFF"/>
                  </a:solidFill>
                  <a:latin typeface="+mn-ea"/>
                  <a:cs typeface="+mn-ea"/>
                </a:rPr>
                <a:t>双击此处添加标题文字</a:t>
              </a:r>
              <a:endParaRPr lang="zh-CN" altLang="en-US" sz="1065" kern="10" dirty="0">
                <a:solidFill>
                  <a:srgbClr val="FFFFFF"/>
                </a:solidFill>
                <a:latin typeface="+mn-ea"/>
                <a:cs typeface="+mn-ea"/>
              </a:endParaRPr>
            </a:p>
          </p:txBody>
        </p:sp>
      </p:grpSp>
      <p:grpSp>
        <p:nvGrpSpPr>
          <p:cNvPr id="42" name="组合 41"/>
          <p:cNvGrpSpPr/>
          <p:nvPr/>
        </p:nvGrpSpPr>
        <p:grpSpPr>
          <a:xfrm>
            <a:off x="8661666" y="2996306"/>
            <a:ext cx="2810934" cy="1611613"/>
            <a:chOff x="6496248" y="2247230"/>
            <a:chExt cx="2108200" cy="1208710"/>
          </a:xfrm>
        </p:grpSpPr>
        <p:sp>
          <p:nvSpPr>
            <p:cNvPr id="43" name="Line 11"/>
            <p:cNvSpPr>
              <a:spLocks noChangeShapeType="1"/>
            </p:cNvSpPr>
            <p:nvPr/>
          </p:nvSpPr>
          <p:spPr bwMode="auto">
            <a:xfrm rot="10800000">
              <a:off x="6496248" y="2661568"/>
              <a:ext cx="2108200" cy="0"/>
            </a:xfrm>
            <a:prstGeom prst="line">
              <a:avLst/>
            </a:prstGeom>
            <a:noFill/>
            <a:ln w="19050" cap="rnd">
              <a:solidFill>
                <a:srgbClr val="E46C0A"/>
              </a:solidFill>
              <a:prstDash val="sysDot"/>
              <a:round/>
              <a:headEnd type="triangle" w="med" len="med"/>
              <a:tailEnd type="oval" w="med" len="med"/>
            </a:ln>
            <a:extLst>
              <a:ext uri="{909E8E84-426E-40DD-AFC4-6F175D3DCCD1}">
                <a14:hiddenFill xmlns:a14="http://schemas.microsoft.com/office/drawing/2010/main">
                  <a:noFill/>
                </a14:hiddenFill>
              </a:ext>
            </a:extLst>
          </p:spPr>
          <p:txBody>
            <a:bodyPr/>
            <a:lstStyle/>
            <a:p>
              <a:endParaRPr lang="zh-CN" altLang="en-US" sz="2400">
                <a:latin typeface="+mn-ea"/>
                <a:cs typeface="+mn-ea"/>
              </a:endParaRPr>
            </a:p>
          </p:txBody>
        </p:sp>
        <p:sp>
          <p:nvSpPr>
            <p:cNvPr id="44" name="AutoShape 13"/>
            <p:cNvSpPr>
              <a:spLocks noChangeArrowheads="1"/>
            </p:cNvSpPr>
            <p:nvPr/>
          </p:nvSpPr>
          <p:spPr bwMode="auto">
            <a:xfrm>
              <a:off x="6732786" y="2247230"/>
              <a:ext cx="1704975" cy="358775"/>
            </a:xfrm>
            <a:prstGeom prst="roundRect">
              <a:avLst>
                <a:gd name="adj" fmla="val 16667"/>
              </a:avLst>
            </a:prstGeom>
            <a:solidFill>
              <a:srgbClr val="E46C0A"/>
            </a:solidFill>
            <a:ln w="28575">
              <a:solidFill>
                <a:srgbClr val="F2F2F2"/>
              </a:solidFill>
              <a:round/>
            </a:ln>
            <a:effectLst>
              <a:outerShdw blurRad="88900" dist="75434" dir="2699985" rotWithShape="0">
                <a:scrgbClr r="0" g="0" b="0">
                  <a:alpha val="23000"/>
                </a:scrgbClr>
              </a:outerShdw>
            </a:effectLst>
          </p:spPr>
          <p:txBody>
            <a:bodyPr wrap="none" anchor="ctr"/>
            <a:lstStyle/>
            <a:p>
              <a:pPr algn="ctr">
                <a:defRPr/>
              </a:pPr>
              <a:r>
                <a:rPr lang="zh-CN" altLang="en-US" sz="1865" dirty="0">
                  <a:solidFill>
                    <a:srgbClr val="FFFFFF"/>
                  </a:solidFill>
                  <a:latin typeface="+mn-ea"/>
                  <a:cs typeface="+mn-ea"/>
                </a:rPr>
                <a:t>单击此处添加文字</a:t>
              </a:r>
              <a:endParaRPr lang="zh-CN" altLang="en-US" sz="1865" dirty="0">
                <a:solidFill>
                  <a:srgbClr val="FFFFFF"/>
                </a:solidFill>
                <a:latin typeface="+mn-ea"/>
                <a:cs typeface="+mn-ea"/>
              </a:endParaRPr>
            </a:p>
          </p:txBody>
        </p:sp>
        <p:sp>
          <p:nvSpPr>
            <p:cNvPr id="45" name="Rectangle 17"/>
            <p:cNvSpPr>
              <a:spLocks noChangeArrowheads="1"/>
            </p:cNvSpPr>
            <p:nvPr/>
          </p:nvSpPr>
          <p:spPr bwMode="auto">
            <a:xfrm>
              <a:off x="6768807" y="2721893"/>
              <a:ext cx="1677382" cy="73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lnSpc>
                  <a:spcPct val="120000"/>
                </a:lnSpc>
              </a:pPr>
              <a:r>
                <a:rPr lang="zh-CN" altLang="zh-CN" sz="1600" dirty="0">
                  <a:solidFill>
                    <a:srgbClr val="080808"/>
                  </a:solidFill>
                  <a:latin typeface="+mn-ea"/>
                  <a:ea typeface="+mn-ea"/>
                  <a:cs typeface="+mn-ea"/>
                </a:rPr>
                <a:t>单击此处添加内容文字</a:t>
              </a:r>
              <a:endParaRPr lang="zh-CN" altLang="zh-CN" sz="1600" dirty="0">
                <a:solidFill>
                  <a:srgbClr val="080808"/>
                </a:solidFill>
                <a:latin typeface="+mn-ea"/>
                <a:ea typeface="+mn-ea"/>
                <a:cs typeface="+mn-ea"/>
              </a:endParaRPr>
            </a:p>
            <a:p>
              <a:pPr algn="ctr" eaLnBrk="1" hangingPunct="1">
                <a:lnSpc>
                  <a:spcPct val="120000"/>
                </a:lnSpc>
              </a:pPr>
              <a:r>
                <a:rPr lang="zh-CN" altLang="zh-CN" sz="1600" dirty="0">
                  <a:solidFill>
                    <a:srgbClr val="080808"/>
                  </a:solidFill>
                  <a:latin typeface="+mn-ea"/>
                  <a:ea typeface="+mn-ea"/>
                  <a:cs typeface="+mn-ea"/>
                </a:rPr>
                <a:t>单击此处添加内容文字</a:t>
              </a:r>
              <a:endParaRPr lang="zh-CN" altLang="zh-CN" sz="1600" dirty="0">
                <a:solidFill>
                  <a:srgbClr val="080808"/>
                </a:solidFill>
                <a:latin typeface="+mn-ea"/>
                <a:ea typeface="+mn-ea"/>
                <a:cs typeface="+mn-ea"/>
              </a:endParaRPr>
            </a:p>
            <a:p>
              <a:pPr algn="ctr" eaLnBrk="1" hangingPunct="1">
                <a:lnSpc>
                  <a:spcPct val="120000"/>
                </a:lnSpc>
              </a:pPr>
              <a:r>
                <a:rPr lang="zh-CN" altLang="zh-CN" sz="1600" dirty="0">
                  <a:solidFill>
                    <a:srgbClr val="080808"/>
                  </a:solidFill>
                  <a:latin typeface="+mn-ea"/>
                  <a:ea typeface="+mn-ea"/>
                  <a:cs typeface="+mn-ea"/>
                </a:rPr>
                <a:t>单击此处添加内容文字</a:t>
              </a:r>
              <a:endParaRPr lang="zh-CN" altLang="zh-CN" sz="1600" dirty="0">
                <a:solidFill>
                  <a:srgbClr val="080808"/>
                </a:solidFill>
                <a:latin typeface="+mn-ea"/>
                <a:ea typeface="+mn-ea"/>
                <a:cs typeface="+mn-ea"/>
              </a:endParaRPr>
            </a:p>
          </p:txBody>
        </p:sp>
      </p:grpSp>
      <p:grpSp>
        <p:nvGrpSpPr>
          <p:cNvPr id="46" name="组合 45"/>
          <p:cNvGrpSpPr/>
          <p:nvPr/>
        </p:nvGrpSpPr>
        <p:grpSpPr>
          <a:xfrm>
            <a:off x="1071298" y="2994190"/>
            <a:ext cx="3037417" cy="1613729"/>
            <a:chOff x="803473" y="2245643"/>
            <a:chExt cx="2278063" cy="1210297"/>
          </a:xfrm>
        </p:grpSpPr>
        <p:sp>
          <p:nvSpPr>
            <p:cNvPr id="47" name="AutoShape 14"/>
            <p:cNvSpPr>
              <a:spLocks noChangeArrowheads="1"/>
            </p:cNvSpPr>
            <p:nvPr/>
          </p:nvSpPr>
          <p:spPr bwMode="auto">
            <a:xfrm>
              <a:off x="1066998" y="2245643"/>
              <a:ext cx="1704975" cy="358775"/>
            </a:xfrm>
            <a:prstGeom prst="roundRect">
              <a:avLst>
                <a:gd name="adj" fmla="val 16667"/>
              </a:avLst>
            </a:prstGeom>
            <a:solidFill>
              <a:srgbClr val="254061"/>
            </a:solidFill>
            <a:ln w="28575">
              <a:solidFill>
                <a:srgbClr val="F2F2F2"/>
              </a:solidFill>
              <a:round/>
            </a:ln>
            <a:effectLst>
              <a:outerShdw blurRad="88900" dist="75434" dir="2699985" rotWithShape="0">
                <a:scrgbClr r="0" g="0" b="0">
                  <a:alpha val="23000"/>
                </a:scrgbClr>
              </a:outerShdw>
            </a:effectLst>
          </p:spPr>
          <p:txBody>
            <a:bodyPr wrap="none" anchor="ctr"/>
            <a:lstStyle/>
            <a:p>
              <a:pPr algn="ctr">
                <a:defRPr/>
              </a:pPr>
              <a:r>
                <a:rPr lang="zh-CN" altLang="en-US" sz="1865" dirty="0">
                  <a:solidFill>
                    <a:srgbClr val="FFFFFF"/>
                  </a:solidFill>
                  <a:latin typeface="+mn-ea"/>
                  <a:cs typeface="+mn-ea"/>
                </a:rPr>
                <a:t>单击此处添加文字</a:t>
              </a:r>
              <a:endParaRPr lang="zh-CN" altLang="en-US" sz="1865" dirty="0">
                <a:solidFill>
                  <a:srgbClr val="FFFFFF"/>
                </a:solidFill>
                <a:latin typeface="+mn-ea"/>
                <a:cs typeface="+mn-ea"/>
              </a:endParaRPr>
            </a:p>
          </p:txBody>
        </p:sp>
        <p:sp>
          <p:nvSpPr>
            <p:cNvPr id="48" name="Line 15"/>
            <p:cNvSpPr>
              <a:spLocks noChangeShapeType="1"/>
            </p:cNvSpPr>
            <p:nvPr/>
          </p:nvSpPr>
          <p:spPr bwMode="auto">
            <a:xfrm>
              <a:off x="803473" y="2659980"/>
              <a:ext cx="2278063" cy="0"/>
            </a:xfrm>
            <a:prstGeom prst="line">
              <a:avLst/>
            </a:prstGeom>
            <a:noFill/>
            <a:ln w="19050" cap="rnd">
              <a:solidFill>
                <a:srgbClr val="254061"/>
              </a:solidFill>
              <a:prstDash val="sysDot"/>
              <a:round/>
              <a:headEnd type="triangle" w="med" len="med"/>
              <a:tailEnd type="oval" w="med" len="med"/>
            </a:ln>
            <a:extLst>
              <a:ext uri="{909E8E84-426E-40DD-AFC4-6F175D3DCCD1}">
                <a14:hiddenFill xmlns:a14="http://schemas.microsoft.com/office/drawing/2010/main">
                  <a:noFill/>
                </a14:hiddenFill>
              </a:ext>
            </a:extLst>
          </p:spPr>
          <p:txBody>
            <a:bodyPr/>
            <a:lstStyle/>
            <a:p>
              <a:endParaRPr lang="zh-CN" altLang="en-US" sz="2400">
                <a:latin typeface="+mn-ea"/>
                <a:cs typeface="+mn-ea"/>
              </a:endParaRPr>
            </a:p>
          </p:txBody>
        </p:sp>
        <p:sp>
          <p:nvSpPr>
            <p:cNvPr id="49" name="Rectangle 18"/>
            <p:cNvSpPr>
              <a:spLocks noChangeArrowheads="1"/>
            </p:cNvSpPr>
            <p:nvPr/>
          </p:nvSpPr>
          <p:spPr bwMode="auto">
            <a:xfrm>
              <a:off x="1091907" y="2721893"/>
              <a:ext cx="1677383" cy="73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lnSpc>
                  <a:spcPct val="120000"/>
                </a:lnSpc>
              </a:pPr>
              <a:r>
                <a:rPr lang="zh-CN" altLang="zh-CN" sz="1600" dirty="0">
                  <a:solidFill>
                    <a:srgbClr val="080808"/>
                  </a:solidFill>
                  <a:latin typeface="+mn-ea"/>
                  <a:ea typeface="+mn-ea"/>
                  <a:cs typeface="+mn-ea"/>
                </a:rPr>
                <a:t>单击此处添加内容文字</a:t>
              </a:r>
              <a:endParaRPr lang="zh-CN" altLang="zh-CN" sz="1600" dirty="0">
                <a:solidFill>
                  <a:srgbClr val="080808"/>
                </a:solidFill>
                <a:latin typeface="+mn-ea"/>
                <a:ea typeface="+mn-ea"/>
                <a:cs typeface="+mn-ea"/>
              </a:endParaRPr>
            </a:p>
            <a:p>
              <a:pPr algn="ctr" eaLnBrk="1" hangingPunct="1">
                <a:lnSpc>
                  <a:spcPct val="120000"/>
                </a:lnSpc>
              </a:pPr>
              <a:r>
                <a:rPr lang="zh-CN" altLang="zh-CN" sz="1600" dirty="0">
                  <a:solidFill>
                    <a:srgbClr val="080808"/>
                  </a:solidFill>
                  <a:latin typeface="+mn-ea"/>
                  <a:ea typeface="+mn-ea"/>
                  <a:cs typeface="+mn-ea"/>
                </a:rPr>
                <a:t>单击此处添加内容文字</a:t>
              </a:r>
              <a:endParaRPr lang="zh-CN" altLang="zh-CN" sz="1600" dirty="0">
                <a:solidFill>
                  <a:srgbClr val="080808"/>
                </a:solidFill>
                <a:latin typeface="+mn-ea"/>
                <a:ea typeface="+mn-ea"/>
                <a:cs typeface="+mn-ea"/>
              </a:endParaRPr>
            </a:p>
            <a:p>
              <a:pPr algn="ctr" eaLnBrk="1" hangingPunct="1">
                <a:lnSpc>
                  <a:spcPct val="120000"/>
                </a:lnSpc>
              </a:pPr>
              <a:r>
                <a:rPr lang="zh-CN" altLang="zh-CN" sz="1600" dirty="0">
                  <a:solidFill>
                    <a:srgbClr val="080808"/>
                  </a:solidFill>
                  <a:latin typeface="+mn-ea"/>
                  <a:ea typeface="+mn-ea"/>
                  <a:cs typeface="+mn-ea"/>
                </a:rPr>
                <a:t>单击此处添加内容文字</a:t>
              </a:r>
              <a:endParaRPr lang="zh-CN" altLang="zh-CN" sz="1600" dirty="0">
                <a:solidFill>
                  <a:srgbClr val="080808"/>
                </a:solidFill>
                <a:latin typeface="+mn-ea"/>
                <a:ea typeface="+mn-ea"/>
                <a:cs typeface="+mn-ea"/>
              </a:endParaRPr>
            </a:p>
          </p:txBody>
        </p:sp>
      </p:grpSp>
      <p:sp>
        <p:nvSpPr>
          <p:cNvPr id="21"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2" name="文本框 21"/>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p:cTn id="7" dur="500" fill="hold"/>
                                        <p:tgtEl>
                                          <p:spTgt spid="34"/>
                                        </p:tgtEl>
                                        <p:attrNameLst>
                                          <p:attrName>ppt_w</p:attrName>
                                        </p:attrNameLst>
                                      </p:cBhvr>
                                      <p:tavLst>
                                        <p:tav tm="0">
                                          <p:val>
                                            <p:fltVal val="0"/>
                                          </p:val>
                                        </p:tav>
                                        <p:tav tm="100000">
                                          <p:val>
                                            <p:strVal val="#ppt_w"/>
                                          </p:val>
                                        </p:tav>
                                      </p:tavLst>
                                    </p:anim>
                                    <p:anim calcmode="lin" valueType="num">
                                      <p:cBhvr>
                                        <p:cTn id="8" dur="500" fill="hold"/>
                                        <p:tgtEl>
                                          <p:spTgt spid="34"/>
                                        </p:tgtEl>
                                        <p:attrNameLst>
                                          <p:attrName>ppt_h</p:attrName>
                                        </p:attrNameLst>
                                      </p:cBhvr>
                                      <p:tavLst>
                                        <p:tav tm="0">
                                          <p:val>
                                            <p:fltVal val="0"/>
                                          </p:val>
                                        </p:tav>
                                        <p:tav tm="100000">
                                          <p:val>
                                            <p:strVal val="#ppt_h"/>
                                          </p:val>
                                        </p:tav>
                                      </p:tavLst>
                                    </p:anim>
                                    <p:animEffect transition="in" filter="fade">
                                      <p:cBhvr>
                                        <p:cTn id="9" dur="500"/>
                                        <p:tgtEl>
                                          <p:spTgt spid="34"/>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35"/>
                                        </p:tgtEl>
                                        <p:attrNameLst>
                                          <p:attrName>style.visibility</p:attrName>
                                        </p:attrNameLst>
                                      </p:cBhvr>
                                      <p:to>
                                        <p:strVal val="visible"/>
                                      </p:to>
                                    </p:set>
                                    <p:anim calcmode="lin" valueType="num">
                                      <p:cBhvr>
                                        <p:cTn id="13" dur="500" fill="hold"/>
                                        <p:tgtEl>
                                          <p:spTgt spid="35"/>
                                        </p:tgtEl>
                                        <p:attrNameLst>
                                          <p:attrName>ppt_w</p:attrName>
                                        </p:attrNameLst>
                                      </p:cBhvr>
                                      <p:tavLst>
                                        <p:tav tm="0">
                                          <p:val>
                                            <p:fltVal val="0"/>
                                          </p:val>
                                        </p:tav>
                                        <p:tav tm="100000">
                                          <p:val>
                                            <p:strVal val="#ppt_w"/>
                                          </p:val>
                                        </p:tav>
                                      </p:tavLst>
                                    </p:anim>
                                    <p:anim calcmode="lin" valueType="num">
                                      <p:cBhvr>
                                        <p:cTn id="14" dur="500" fill="hold"/>
                                        <p:tgtEl>
                                          <p:spTgt spid="35"/>
                                        </p:tgtEl>
                                        <p:attrNameLst>
                                          <p:attrName>ppt_h</p:attrName>
                                        </p:attrNameLst>
                                      </p:cBhvr>
                                      <p:tavLst>
                                        <p:tav tm="0">
                                          <p:val>
                                            <p:fltVal val="0"/>
                                          </p:val>
                                        </p:tav>
                                        <p:tav tm="100000">
                                          <p:val>
                                            <p:strVal val="#ppt_h"/>
                                          </p:val>
                                        </p:tav>
                                      </p:tavLst>
                                    </p:anim>
                                    <p:animEffect transition="in" filter="fade">
                                      <p:cBhvr>
                                        <p:cTn id="15" dur="500"/>
                                        <p:tgtEl>
                                          <p:spTgt spid="35"/>
                                        </p:tgtEl>
                                      </p:cBhvr>
                                    </p:animEffect>
                                  </p:childTnLst>
                                </p:cTn>
                              </p:par>
                            </p:childTnLst>
                          </p:cTn>
                        </p:par>
                        <p:par>
                          <p:cTn id="16" fill="hold">
                            <p:stCondLst>
                              <p:cond delay="1000"/>
                            </p:stCondLst>
                            <p:childTnLst>
                              <p:par>
                                <p:cTn id="17" presetID="8" presetClass="emph" presetSubtype="0" fill="hold" nodeType="afterEffect">
                                  <p:stCondLst>
                                    <p:cond delay="0"/>
                                  </p:stCondLst>
                                  <p:childTnLst>
                                    <p:animRot by="21600000">
                                      <p:cBhvr>
                                        <p:cTn id="18" dur="2000" fill="hold"/>
                                        <p:tgtEl>
                                          <p:spTgt spid="35"/>
                                        </p:tgtEl>
                                        <p:attrNameLst>
                                          <p:attrName>r</p:attrName>
                                        </p:attrNameLst>
                                      </p:cBhvr>
                                    </p:animRot>
                                  </p:childTnLst>
                                </p:cTn>
                              </p:par>
                              <p:par>
                                <p:cTn id="19" presetID="2" presetClass="entr" presetSubtype="2" fill="hold" nodeType="withEffect">
                                  <p:stCondLst>
                                    <p:cond delay="0"/>
                                  </p:stCondLst>
                                  <p:childTnLst>
                                    <p:set>
                                      <p:cBhvr>
                                        <p:cTn id="20" dur="1" fill="hold">
                                          <p:stCondLst>
                                            <p:cond delay="0"/>
                                          </p:stCondLst>
                                        </p:cTn>
                                        <p:tgtEl>
                                          <p:spTgt spid="42"/>
                                        </p:tgtEl>
                                        <p:attrNameLst>
                                          <p:attrName>style.visibility</p:attrName>
                                        </p:attrNameLst>
                                      </p:cBhvr>
                                      <p:to>
                                        <p:strVal val="visible"/>
                                      </p:to>
                                    </p:set>
                                    <p:anim calcmode="lin" valueType="num">
                                      <p:cBhvr additive="base">
                                        <p:cTn id="21" dur="500" fill="hold"/>
                                        <p:tgtEl>
                                          <p:spTgt spid="42"/>
                                        </p:tgtEl>
                                        <p:attrNameLst>
                                          <p:attrName>ppt_x</p:attrName>
                                        </p:attrNameLst>
                                      </p:cBhvr>
                                      <p:tavLst>
                                        <p:tav tm="0">
                                          <p:val>
                                            <p:strVal val="1+#ppt_w/2"/>
                                          </p:val>
                                        </p:tav>
                                        <p:tav tm="100000">
                                          <p:val>
                                            <p:strVal val="#ppt_x"/>
                                          </p:val>
                                        </p:tav>
                                      </p:tavLst>
                                    </p:anim>
                                    <p:anim calcmode="lin" valueType="num">
                                      <p:cBhvr additive="base">
                                        <p:cTn id="22" dur="500" fill="hold"/>
                                        <p:tgtEl>
                                          <p:spTgt spid="42"/>
                                        </p:tgtEl>
                                        <p:attrNameLst>
                                          <p:attrName>ppt_y</p:attrName>
                                        </p:attrNameLst>
                                      </p:cBhvr>
                                      <p:tavLst>
                                        <p:tav tm="0">
                                          <p:val>
                                            <p:strVal val="#ppt_y"/>
                                          </p:val>
                                        </p:tav>
                                        <p:tav tm="100000">
                                          <p:val>
                                            <p:strVal val="#ppt_y"/>
                                          </p:val>
                                        </p:tav>
                                      </p:tavLst>
                                    </p:anim>
                                  </p:childTnLst>
                                </p:cTn>
                              </p:par>
                              <p:par>
                                <p:cTn id="23" presetID="2" presetClass="entr" presetSubtype="8" fill="hold" nodeType="withEffect">
                                  <p:stCondLst>
                                    <p:cond delay="0"/>
                                  </p:stCondLst>
                                  <p:childTnLst>
                                    <p:set>
                                      <p:cBhvr>
                                        <p:cTn id="24" dur="1" fill="hold">
                                          <p:stCondLst>
                                            <p:cond delay="0"/>
                                          </p:stCondLst>
                                        </p:cTn>
                                        <p:tgtEl>
                                          <p:spTgt spid="46"/>
                                        </p:tgtEl>
                                        <p:attrNameLst>
                                          <p:attrName>style.visibility</p:attrName>
                                        </p:attrNameLst>
                                      </p:cBhvr>
                                      <p:to>
                                        <p:strVal val="visible"/>
                                      </p:to>
                                    </p:set>
                                    <p:anim calcmode="lin" valueType="num">
                                      <p:cBhvr additive="base">
                                        <p:cTn id="25" dur="500" fill="hold"/>
                                        <p:tgtEl>
                                          <p:spTgt spid="46"/>
                                        </p:tgtEl>
                                        <p:attrNameLst>
                                          <p:attrName>ppt_x</p:attrName>
                                        </p:attrNameLst>
                                      </p:cBhvr>
                                      <p:tavLst>
                                        <p:tav tm="0">
                                          <p:val>
                                            <p:strVal val="0-#ppt_w/2"/>
                                          </p:val>
                                        </p:tav>
                                        <p:tav tm="100000">
                                          <p:val>
                                            <p:strVal val="#ppt_x"/>
                                          </p:val>
                                        </p:tav>
                                      </p:tavLst>
                                    </p:anim>
                                    <p:anim calcmode="lin" valueType="num">
                                      <p:cBhvr additive="base">
                                        <p:cTn id="26" dur="500" fill="hold"/>
                                        <p:tgtEl>
                                          <p:spTgt spid="46"/>
                                        </p:tgtEl>
                                        <p:attrNameLst>
                                          <p:attrName>ppt_y</p:attrName>
                                        </p:attrNameLst>
                                      </p:cBhvr>
                                      <p:tavLst>
                                        <p:tav tm="0">
                                          <p:val>
                                            <p:strVal val="#ppt_y"/>
                                          </p:val>
                                        </p:tav>
                                        <p:tav tm="100000">
                                          <p:val>
                                            <p:strVal val="#ppt_y"/>
                                          </p:val>
                                        </p:tav>
                                      </p:tavLst>
                                    </p:anim>
                                  </p:childTnLst>
                                </p:cTn>
                              </p:par>
                            </p:childTnLst>
                          </p:cTn>
                        </p:par>
                        <p:par>
                          <p:cTn id="27" fill="hold">
                            <p:stCondLst>
                              <p:cond delay="3000"/>
                            </p:stCondLst>
                            <p:childTnLst>
                              <p:par>
                                <p:cTn id="28" presetID="22" presetClass="entr" presetSubtype="4" fill="hold" grpId="0" nodeType="after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wipe(down)">
                                      <p:cBhvr>
                                        <p:cTn id="30" dur="125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2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893484" y="4891419"/>
            <a:ext cx="5975349" cy="0"/>
          </a:xfrm>
          <a:prstGeom prst="line">
            <a:avLst/>
          </a:prstGeom>
          <a:ln w="9525">
            <a:solidFill>
              <a:srgbClr val="254061"/>
            </a:solidFill>
            <a:prstDash val="dash"/>
          </a:ln>
        </p:spPr>
        <p:style>
          <a:lnRef idx="1">
            <a:schemeClr val="accent1"/>
          </a:lnRef>
          <a:fillRef idx="0">
            <a:schemeClr val="accent1"/>
          </a:fillRef>
          <a:effectRef idx="0">
            <a:schemeClr val="accent1"/>
          </a:effectRef>
          <a:fontRef idx="minor">
            <a:schemeClr val="tx1"/>
          </a:fontRef>
        </p:style>
      </p:cxnSp>
      <p:grpSp>
        <p:nvGrpSpPr>
          <p:cNvPr id="6" name="组合 5"/>
          <p:cNvGrpSpPr/>
          <p:nvPr/>
        </p:nvGrpSpPr>
        <p:grpSpPr bwMode="auto">
          <a:xfrm>
            <a:off x="2207685" y="3678568"/>
            <a:ext cx="1367367" cy="1831662"/>
            <a:chOff x="2208213" y="3624263"/>
            <a:chExt cx="1366837" cy="1830362"/>
          </a:xfrm>
        </p:grpSpPr>
        <p:sp>
          <p:nvSpPr>
            <p:cNvPr id="7" name="椭圆 6"/>
            <p:cNvSpPr>
              <a:spLocks noChangeAspect="1"/>
            </p:cNvSpPr>
            <p:nvPr/>
          </p:nvSpPr>
          <p:spPr>
            <a:xfrm>
              <a:off x="2826040" y="4772798"/>
              <a:ext cx="131182" cy="129024"/>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8" name="TextBox 160"/>
            <p:cNvSpPr txBox="1">
              <a:spLocks noChangeArrowheads="1"/>
            </p:cNvSpPr>
            <p:nvPr/>
          </p:nvSpPr>
          <p:spPr bwMode="auto">
            <a:xfrm>
              <a:off x="2580602" y="4863749"/>
              <a:ext cx="581857" cy="276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200">
                  <a:solidFill>
                    <a:srgbClr val="969696"/>
                  </a:solidFill>
                  <a:latin typeface="+mn-ea"/>
                  <a:ea typeface="+mn-ea"/>
                  <a:cs typeface="+mn-ea"/>
                </a:rPr>
                <a:t>2008</a:t>
              </a:r>
              <a:endParaRPr lang="zh-CN" altLang="en-US" sz="1200">
                <a:solidFill>
                  <a:srgbClr val="969696"/>
                </a:solidFill>
                <a:latin typeface="+mn-ea"/>
                <a:ea typeface="+mn-ea"/>
                <a:cs typeface="+mn-ea"/>
              </a:endParaRPr>
            </a:p>
          </p:txBody>
        </p:sp>
        <p:sp>
          <p:nvSpPr>
            <p:cNvPr id="9" name="饼形 3"/>
            <p:cNvSpPr/>
            <p:nvPr/>
          </p:nvSpPr>
          <p:spPr>
            <a:xfrm rot="10800000">
              <a:off x="2267457" y="4229200"/>
              <a:ext cx="1248350" cy="357463"/>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10" name="三十二角星 9"/>
            <p:cNvSpPr/>
            <p:nvPr/>
          </p:nvSpPr>
          <p:spPr>
            <a:xfrm>
              <a:off x="2608107" y="3624263"/>
              <a:ext cx="488761" cy="486488"/>
            </a:xfrm>
            <a:prstGeom prst="star32">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dirty="0">
                <a:solidFill>
                  <a:schemeClr val="tx1"/>
                </a:solidFill>
                <a:latin typeface="+mn-ea"/>
                <a:cs typeface="+mn-ea"/>
              </a:endParaRPr>
            </a:p>
          </p:txBody>
        </p:sp>
        <p:sp>
          <p:nvSpPr>
            <p:cNvPr id="11" name="文本框 30"/>
            <p:cNvSpPr txBox="1">
              <a:spLocks noChangeArrowheads="1"/>
            </p:cNvSpPr>
            <p:nvPr/>
          </p:nvSpPr>
          <p:spPr bwMode="auto">
            <a:xfrm>
              <a:off x="2208213" y="5075239"/>
              <a:ext cx="1366837" cy="379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mn-ea"/>
                  <a:ea typeface="+mn-ea"/>
                  <a:cs typeface="+mn-ea"/>
                </a:rPr>
                <a:t>标题文字</a:t>
              </a:r>
              <a:endParaRPr lang="zh-CN" altLang="en-US" sz="1865">
                <a:solidFill>
                  <a:srgbClr val="969696"/>
                </a:solidFill>
                <a:latin typeface="+mn-ea"/>
                <a:ea typeface="+mn-ea"/>
                <a:cs typeface="+mn-ea"/>
              </a:endParaRPr>
            </a:p>
          </p:txBody>
        </p:sp>
      </p:grpSp>
      <p:grpSp>
        <p:nvGrpSpPr>
          <p:cNvPr id="12" name="组合 11"/>
          <p:cNvGrpSpPr/>
          <p:nvPr/>
        </p:nvGrpSpPr>
        <p:grpSpPr bwMode="auto">
          <a:xfrm>
            <a:off x="3405718" y="3858486"/>
            <a:ext cx="1367367" cy="1651842"/>
            <a:chOff x="3406775" y="3803650"/>
            <a:chExt cx="1366838" cy="1651064"/>
          </a:xfrm>
        </p:grpSpPr>
        <p:sp>
          <p:nvSpPr>
            <p:cNvPr id="13" name="椭圆 12"/>
            <p:cNvSpPr>
              <a:spLocks noChangeAspect="1"/>
            </p:cNvSpPr>
            <p:nvPr/>
          </p:nvSpPr>
          <p:spPr>
            <a:xfrm>
              <a:off x="4024603" y="4757817"/>
              <a:ext cx="131183" cy="131172"/>
            </a:xfrm>
            <a:prstGeom prst="ellipse">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14" name="TextBox 161"/>
            <p:cNvSpPr txBox="1">
              <a:spLocks noChangeArrowheads="1"/>
            </p:cNvSpPr>
            <p:nvPr/>
          </p:nvSpPr>
          <p:spPr bwMode="auto">
            <a:xfrm>
              <a:off x="3817250" y="4882642"/>
              <a:ext cx="583974" cy="276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200">
                  <a:solidFill>
                    <a:srgbClr val="969696"/>
                  </a:solidFill>
                  <a:latin typeface="+mn-ea"/>
                  <a:ea typeface="+mn-ea"/>
                  <a:cs typeface="+mn-ea"/>
                </a:rPr>
                <a:t>2009</a:t>
              </a:r>
              <a:endParaRPr lang="zh-CN" altLang="en-US" sz="1200">
                <a:solidFill>
                  <a:srgbClr val="969696"/>
                </a:solidFill>
                <a:latin typeface="+mn-ea"/>
                <a:ea typeface="+mn-ea"/>
                <a:cs typeface="+mn-ea"/>
              </a:endParaRPr>
            </a:p>
          </p:txBody>
        </p:sp>
        <p:sp>
          <p:nvSpPr>
            <p:cNvPr id="15" name="饼形 3"/>
            <p:cNvSpPr/>
            <p:nvPr/>
          </p:nvSpPr>
          <p:spPr>
            <a:xfrm rot="10800000">
              <a:off x="3466019" y="3803650"/>
              <a:ext cx="1248350" cy="782798"/>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16" name="文本框 31"/>
            <p:cNvSpPr txBox="1">
              <a:spLocks noChangeArrowheads="1"/>
            </p:cNvSpPr>
            <p:nvPr/>
          </p:nvSpPr>
          <p:spPr bwMode="auto">
            <a:xfrm>
              <a:off x="3406775" y="5075237"/>
              <a:ext cx="1366838" cy="379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mn-ea"/>
                  <a:ea typeface="+mn-ea"/>
                  <a:cs typeface="+mn-ea"/>
                </a:rPr>
                <a:t>标题文字</a:t>
              </a:r>
              <a:endParaRPr lang="zh-CN" altLang="en-US" sz="1865">
                <a:solidFill>
                  <a:srgbClr val="969696"/>
                </a:solidFill>
                <a:latin typeface="+mn-ea"/>
                <a:ea typeface="+mn-ea"/>
                <a:cs typeface="+mn-ea"/>
              </a:endParaRPr>
            </a:p>
          </p:txBody>
        </p:sp>
      </p:grpSp>
      <p:grpSp>
        <p:nvGrpSpPr>
          <p:cNvPr id="17" name="组合 16"/>
          <p:cNvGrpSpPr/>
          <p:nvPr/>
        </p:nvGrpSpPr>
        <p:grpSpPr bwMode="auto">
          <a:xfrm>
            <a:off x="4603751" y="3358952"/>
            <a:ext cx="1369483" cy="2151520"/>
            <a:chOff x="4603750" y="3303588"/>
            <a:chExt cx="1368425" cy="2151260"/>
          </a:xfrm>
        </p:grpSpPr>
        <p:sp>
          <p:nvSpPr>
            <p:cNvPr id="18" name="椭圆 17"/>
            <p:cNvSpPr>
              <a:spLocks noChangeAspect="1"/>
            </p:cNvSpPr>
            <p:nvPr/>
          </p:nvSpPr>
          <p:spPr>
            <a:xfrm>
              <a:off x="5223454" y="4757562"/>
              <a:ext cx="129018" cy="131217"/>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19" name="TextBox 162"/>
            <p:cNvSpPr txBox="1">
              <a:spLocks noChangeArrowheads="1"/>
            </p:cNvSpPr>
            <p:nvPr/>
          </p:nvSpPr>
          <p:spPr bwMode="auto">
            <a:xfrm>
              <a:off x="5014066" y="4863382"/>
              <a:ext cx="585863" cy="276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200">
                  <a:solidFill>
                    <a:srgbClr val="969696"/>
                  </a:solidFill>
                  <a:latin typeface="+mn-ea"/>
                  <a:ea typeface="+mn-ea"/>
                  <a:cs typeface="+mn-ea"/>
                </a:rPr>
                <a:t>2010</a:t>
              </a:r>
              <a:endParaRPr lang="zh-CN" altLang="en-US" sz="1200">
                <a:solidFill>
                  <a:srgbClr val="969696"/>
                </a:solidFill>
                <a:latin typeface="+mn-ea"/>
                <a:ea typeface="+mn-ea"/>
                <a:cs typeface="+mn-ea"/>
              </a:endParaRPr>
            </a:p>
          </p:txBody>
        </p:sp>
        <p:sp>
          <p:nvSpPr>
            <p:cNvPr id="20" name="饼形 3"/>
            <p:cNvSpPr/>
            <p:nvPr/>
          </p:nvSpPr>
          <p:spPr>
            <a:xfrm rot="10800000">
              <a:off x="4665085" y="3303588"/>
              <a:ext cx="1247869" cy="1282545"/>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21" name="文本框 32"/>
            <p:cNvSpPr txBox="1">
              <a:spLocks noChangeArrowheads="1"/>
            </p:cNvSpPr>
            <p:nvPr/>
          </p:nvSpPr>
          <p:spPr bwMode="auto">
            <a:xfrm>
              <a:off x="4603750" y="5075238"/>
              <a:ext cx="1368425" cy="379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mn-ea"/>
                  <a:ea typeface="+mn-ea"/>
                  <a:cs typeface="+mn-ea"/>
                </a:rPr>
                <a:t>标题文字</a:t>
              </a:r>
              <a:endParaRPr lang="zh-CN" altLang="en-US" sz="1865">
                <a:solidFill>
                  <a:srgbClr val="969696"/>
                </a:solidFill>
                <a:latin typeface="+mn-ea"/>
                <a:ea typeface="+mn-ea"/>
                <a:cs typeface="+mn-ea"/>
              </a:endParaRPr>
            </a:p>
          </p:txBody>
        </p:sp>
      </p:grpSp>
      <p:grpSp>
        <p:nvGrpSpPr>
          <p:cNvPr id="22" name="组合 21"/>
          <p:cNvGrpSpPr/>
          <p:nvPr/>
        </p:nvGrpSpPr>
        <p:grpSpPr bwMode="auto">
          <a:xfrm>
            <a:off x="5801784" y="2715486"/>
            <a:ext cx="1369483" cy="2794921"/>
            <a:chOff x="5802313" y="2660650"/>
            <a:chExt cx="1368425" cy="2794138"/>
          </a:xfrm>
        </p:grpSpPr>
        <p:sp>
          <p:nvSpPr>
            <p:cNvPr id="23" name="椭圆 22"/>
            <p:cNvSpPr>
              <a:spLocks noChangeAspect="1"/>
            </p:cNvSpPr>
            <p:nvPr/>
          </p:nvSpPr>
          <p:spPr>
            <a:xfrm>
              <a:off x="6422017" y="4766142"/>
              <a:ext cx="129018" cy="129081"/>
            </a:xfrm>
            <a:prstGeom prst="ellipse">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24" name="TextBox 163"/>
            <p:cNvSpPr txBox="1">
              <a:spLocks noChangeArrowheads="1"/>
            </p:cNvSpPr>
            <p:nvPr/>
          </p:nvSpPr>
          <p:spPr bwMode="auto">
            <a:xfrm>
              <a:off x="6212629" y="4882527"/>
              <a:ext cx="583749" cy="276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200">
                  <a:solidFill>
                    <a:srgbClr val="969696"/>
                  </a:solidFill>
                  <a:latin typeface="+mn-ea"/>
                  <a:ea typeface="+mn-ea"/>
                  <a:cs typeface="+mn-ea"/>
                </a:rPr>
                <a:t>2011</a:t>
              </a:r>
              <a:endParaRPr lang="zh-CN" altLang="en-US" sz="1200">
                <a:solidFill>
                  <a:srgbClr val="969696"/>
                </a:solidFill>
                <a:latin typeface="+mn-ea"/>
                <a:ea typeface="+mn-ea"/>
                <a:cs typeface="+mn-ea"/>
              </a:endParaRPr>
            </a:p>
          </p:txBody>
        </p:sp>
        <p:sp>
          <p:nvSpPr>
            <p:cNvPr id="25" name="饼形 3"/>
            <p:cNvSpPr/>
            <p:nvPr/>
          </p:nvSpPr>
          <p:spPr>
            <a:xfrm rot="10800000">
              <a:off x="5863648" y="2660650"/>
              <a:ext cx="1247869" cy="1925627"/>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26" name="文本框 33"/>
            <p:cNvSpPr txBox="1">
              <a:spLocks noChangeArrowheads="1"/>
            </p:cNvSpPr>
            <p:nvPr/>
          </p:nvSpPr>
          <p:spPr bwMode="auto">
            <a:xfrm>
              <a:off x="5802313" y="5075238"/>
              <a:ext cx="1368425" cy="37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mn-ea"/>
                  <a:ea typeface="+mn-ea"/>
                  <a:cs typeface="+mn-ea"/>
                </a:rPr>
                <a:t>标题文字</a:t>
              </a:r>
              <a:endParaRPr lang="zh-CN" altLang="en-US" sz="1865">
                <a:solidFill>
                  <a:srgbClr val="969696"/>
                </a:solidFill>
                <a:latin typeface="+mn-ea"/>
                <a:ea typeface="+mn-ea"/>
                <a:cs typeface="+mn-ea"/>
              </a:endParaRPr>
            </a:p>
          </p:txBody>
        </p:sp>
      </p:grpSp>
      <p:grpSp>
        <p:nvGrpSpPr>
          <p:cNvPr id="27" name="组合 26"/>
          <p:cNvGrpSpPr/>
          <p:nvPr/>
        </p:nvGrpSpPr>
        <p:grpSpPr bwMode="auto">
          <a:xfrm>
            <a:off x="7001934" y="2359886"/>
            <a:ext cx="1367367" cy="3150535"/>
            <a:chOff x="7000875" y="2305050"/>
            <a:chExt cx="1368425" cy="3149751"/>
          </a:xfrm>
        </p:grpSpPr>
        <p:sp>
          <p:nvSpPr>
            <p:cNvPr id="28" name="椭圆 27"/>
            <p:cNvSpPr>
              <a:spLocks noChangeAspect="1"/>
            </p:cNvSpPr>
            <p:nvPr/>
          </p:nvSpPr>
          <p:spPr>
            <a:xfrm>
              <a:off x="7619420" y="4772469"/>
              <a:ext cx="131335" cy="129084"/>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29" name="TextBox 164"/>
            <p:cNvSpPr txBox="1">
              <a:spLocks noChangeArrowheads="1"/>
            </p:cNvSpPr>
            <p:nvPr/>
          </p:nvSpPr>
          <p:spPr bwMode="auto">
            <a:xfrm>
              <a:off x="7394880" y="4882508"/>
              <a:ext cx="582535" cy="276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200">
                  <a:solidFill>
                    <a:srgbClr val="969696"/>
                  </a:solidFill>
                  <a:latin typeface="+mn-ea"/>
                  <a:ea typeface="+mn-ea"/>
                  <a:cs typeface="+mn-ea"/>
                </a:rPr>
                <a:t>2012</a:t>
              </a:r>
              <a:endParaRPr lang="zh-CN" altLang="en-US" sz="1200">
                <a:solidFill>
                  <a:srgbClr val="969696"/>
                </a:solidFill>
                <a:latin typeface="+mn-ea"/>
                <a:ea typeface="+mn-ea"/>
                <a:cs typeface="+mn-ea"/>
              </a:endParaRPr>
            </a:p>
          </p:txBody>
        </p:sp>
        <p:sp>
          <p:nvSpPr>
            <p:cNvPr id="30" name="饼形 3"/>
            <p:cNvSpPr/>
            <p:nvPr/>
          </p:nvSpPr>
          <p:spPr>
            <a:xfrm rot="10800000">
              <a:off x="7060188" y="2305050"/>
              <a:ext cx="1249800" cy="2281198"/>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34" name="文本框 34"/>
            <p:cNvSpPr txBox="1">
              <a:spLocks noChangeArrowheads="1"/>
            </p:cNvSpPr>
            <p:nvPr/>
          </p:nvSpPr>
          <p:spPr bwMode="auto">
            <a:xfrm>
              <a:off x="7000875" y="5075239"/>
              <a:ext cx="1368425" cy="37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mn-ea"/>
                  <a:ea typeface="+mn-ea"/>
                  <a:cs typeface="+mn-ea"/>
                </a:rPr>
                <a:t>标题文字</a:t>
              </a:r>
              <a:endParaRPr lang="zh-CN" altLang="en-US" sz="1865">
                <a:solidFill>
                  <a:srgbClr val="969696"/>
                </a:solidFill>
                <a:latin typeface="+mn-ea"/>
                <a:ea typeface="+mn-ea"/>
                <a:cs typeface="+mn-ea"/>
              </a:endParaRPr>
            </a:p>
          </p:txBody>
        </p:sp>
      </p:grpSp>
      <p:grpSp>
        <p:nvGrpSpPr>
          <p:cNvPr id="35" name="组合 34"/>
          <p:cNvGrpSpPr/>
          <p:nvPr/>
        </p:nvGrpSpPr>
        <p:grpSpPr bwMode="auto">
          <a:xfrm>
            <a:off x="8185151" y="890919"/>
            <a:ext cx="1367367" cy="4619486"/>
            <a:chOff x="8185150" y="836613"/>
            <a:chExt cx="1366838" cy="4618173"/>
          </a:xfrm>
        </p:grpSpPr>
        <p:sp>
          <p:nvSpPr>
            <p:cNvPr id="36" name="椭圆 35"/>
            <p:cNvSpPr>
              <a:spLocks noChangeAspect="1"/>
            </p:cNvSpPr>
            <p:nvPr/>
          </p:nvSpPr>
          <p:spPr>
            <a:xfrm>
              <a:off x="8802978" y="4766145"/>
              <a:ext cx="131183" cy="129081"/>
            </a:xfrm>
            <a:prstGeom prst="ellipse">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37" name="TextBox 165"/>
            <p:cNvSpPr txBox="1">
              <a:spLocks noChangeArrowheads="1"/>
            </p:cNvSpPr>
            <p:nvPr/>
          </p:nvSpPr>
          <p:spPr bwMode="auto">
            <a:xfrm>
              <a:off x="8576581" y="4882529"/>
              <a:ext cx="583974" cy="276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200">
                  <a:solidFill>
                    <a:srgbClr val="969696"/>
                  </a:solidFill>
                  <a:latin typeface="+mn-ea"/>
                  <a:ea typeface="+mn-ea"/>
                  <a:cs typeface="+mn-ea"/>
                </a:rPr>
                <a:t>2013</a:t>
              </a:r>
              <a:endParaRPr lang="zh-CN" altLang="en-US" sz="1200">
                <a:solidFill>
                  <a:srgbClr val="969696"/>
                </a:solidFill>
                <a:latin typeface="+mn-ea"/>
                <a:ea typeface="+mn-ea"/>
                <a:cs typeface="+mn-ea"/>
              </a:endParaRPr>
            </a:p>
          </p:txBody>
        </p:sp>
        <p:sp>
          <p:nvSpPr>
            <p:cNvPr id="38" name="饼形 3"/>
            <p:cNvSpPr/>
            <p:nvPr/>
          </p:nvSpPr>
          <p:spPr>
            <a:xfrm rot="10800000">
              <a:off x="8244394" y="1376209"/>
              <a:ext cx="1248350" cy="3212187"/>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39" name="三十二角星 38"/>
            <p:cNvSpPr/>
            <p:nvPr/>
          </p:nvSpPr>
          <p:spPr>
            <a:xfrm>
              <a:off x="8625246" y="836613"/>
              <a:ext cx="486645" cy="488810"/>
            </a:xfrm>
            <a:prstGeom prst="star32">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dirty="0">
                <a:solidFill>
                  <a:schemeClr val="tx1"/>
                </a:solidFill>
                <a:latin typeface="+mn-ea"/>
                <a:cs typeface="+mn-ea"/>
              </a:endParaRPr>
            </a:p>
          </p:txBody>
        </p:sp>
        <p:sp>
          <p:nvSpPr>
            <p:cNvPr id="40" name="文本框 35"/>
            <p:cNvSpPr txBox="1">
              <a:spLocks noChangeArrowheads="1"/>
            </p:cNvSpPr>
            <p:nvPr/>
          </p:nvSpPr>
          <p:spPr bwMode="auto">
            <a:xfrm>
              <a:off x="8185150" y="5075238"/>
              <a:ext cx="1366838" cy="379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mn-ea"/>
                  <a:ea typeface="+mn-ea"/>
                  <a:cs typeface="+mn-ea"/>
                </a:rPr>
                <a:t>标题文字</a:t>
              </a:r>
              <a:endParaRPr lang="zh-CN" altLang="en-US" sz="1865">
                <a:solidFill>
                  <a:srgbClr val="969696"/>
                </a:solidFill>
                <a:latin typeface="+mn-ea"/>
                <a:ea typeface="+mn-ea"/>
                <a:cs typeface="+mn-ea"/>
              </a:endParaRPr>
            </a:p>
          </p:txBody>
        </p:sp>
      </p:grpSp>
      <p:sp>
        <p:nvSpPr>
          <p:cNvPr id="41"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42" name="文本框 41"/>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anim calcmode="lin" valueType="num">
                                      <p:cBhvr>
                                        <p:cTn id="14" dur="1000" fill="hold"/>
                                        <p:tgtEl>
                                          <p:spTgt spid="6"/>
                                        </p:tgtEl>
                                        <p:attrNameLst>
                                          <p:attrName>ppt_x</p:attrName>
                                        </p:attrNameLst>
                                      </p:cBhvr>
                                      <p:tavLst>
                                        <p:tav tm="0">
                                          <p:val>
                                            <p:strVal val="#ppt_x"/>
                                          </p:val>
                                        </p:tav>
                                        <p:tav tm="100000">
                                          <p:val>
                                            <p:strVal val="#ppt_x"/>
                                          </p:val>
                                        </p:tav>
                                      </p:tavLst>
                                    </p:anim>
                                    <p:anim calcmode="lin" valueType="num">
                                      <p:cBhvr>
                                        <p:cTn id="15" dur="1000" fill="hold"/>
                                        <p:tgtEl>
                                          <p:spTgt spid="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000"/>
                                        <p:tgtEl>
                                          <p:spTgt spid="12"/>
                                        </p:tgtEl>
                                      </p:cBhvr>
                                    </p:animEffect>
                                    <p:anim calcmode="lin" valueType="num">
                                      <p:cBhvr>
                                        <p:cTn id="20" dur="1000" fill="hold"/>
                                        <p:tgtEl>
                                          <p:spTgt spid="12"/>
                                        </p:tgtEl>
                                        <p:attrNameLst>
                                          <p:attrName>ppt_x</p:attrName>
                                        </p:attrNameLst>
                                      </p:cBhvr>
                                      <p:tavLst>
                                        <p:tav tm="0">
                                          <p:val>
                                            <p:strVal val="#ppt_x"/>
                                          </p:val>
                                        </p:tav>
                                        <p:tav tm="100000">
                                          <p:val>
                                            <p:strVal val="#ppt_x"/>
                                          </p:val>
                                        </p:tav>
                                      </p:tavLst>
                                    </p:anim>
                                    <p:anim calcmode="lin" valueType="num">
                                      <p:cBhvr>
                                        <p:cTn id="21" dur="1000" fill="hold"/>
                                        <p:tgtEl>
                                          <p:spTgt spid="12"/>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1000"/>
                                        <p:tgtEl>
                                          <p:spTgt spid="17"/>
                                        </p:tgtEl>
                                      </p:cBhvr>
                                    </p:animEffect>
                                    <p:anim calcmode="lin" valueType="num">
                                      <p:cBhvr>
                                        <p:cTn id="26" dur="1000" fill="hold"/>
                                        <p:tgtEl>
                                          <p:spTgt spid="17"/>
                                        </p:tgtEl>
                                        <p:attrNameLst>
                                          <p:attrName>ppt_x</p:attrName>
                                        </p:attrNameLst>
                                      </p:cBhvr>
                                      <p:tavLst>
                                        <p:tav tm="0">
                                          <p:val>
                                            <p:strVal val="#ppt_x"/>
                                          </p:val>
                                        </p:tav>
                                        <p:tav tm="100000">
                                          <p:val>
                                            <p:strVal val="#ppt_x"/>
                                          </p:val>
                                        </p:tav>
                                      </p:tavLst>
                                    </p:anim>
                                    <p:anim calcmode="lin" valueType="num">
                                      <p:cBhvr>
                                        <p:cTn id="27" dur="1000" fill="hold"/>
                                        <p:tgtEl>
                                          <p:spTgt spid="17"/>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1000"/>
                                        <p:tgtEl>
                                          <p:spTgt spid="22"/>
                                        </p:tgtEl>
                                      </p:cBhvr>
                                    </p:animEffect>
                                    <p:anim calcmode="lin" valueType="num">
                                      <p:cBhvr>
                                        <p:cTn id="32" dur="1000" fill="hold"/>
                                        <p:tgtEl>
                                          <p:spTgt spid="22"/>
                                        </p:tgtEl>
                                        <p:attrNameLst>
                                          <p:attrName>ppt_x</p:attrName>
                                        </p:attrNameLst>
                                      </p:cBhvr>
                                      <p:tavLst>
                                        <p:tav tm="0">
                                          <p:val>
                                            <p:strVal val="#ppt_x"/>
                                          </p:val>
                                        </p:tav>
                                        <p:tav tm="100000">
                                          <p:val>
                                            <p:strVal val="#ppt_x"/>
                                          </p:val>
                                        </p:tav>
                                      </p:tavLst>
                                    </p:anim>
                                    <p:anim calcmode="lin" valueType="num">
                                      <p:cBhvr>
                                        <p:cTn id="33" dur="1000" fill="hold"/>
                                        <p:tgtEl>
                                          <p:spTgt spid="22"/>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1000"/>
                                        <p:tgtEl>
                                          <p:spTgt spid="27"/>
                                        </p:tgtEl>
                                      </p:cBhvr>
                                    </p:animEffect>
                                    <p:anim calcmode="lin" valueType="num">
                                      <p:cBhvr>
                                        <p:cTn id="38" dur="1000" fill="hold"/>
                                        <p:tgtEl>
                                          <p:spTgt spid="27"/>
                                        </p:tgtEl>
                                        <p:attrNameLst>
                                          <p:attrName>ppt_x</p:attrName>
                                        </p:attrNameLst>
                                      </p:cBhvr>
                                      <p:tavLst>
                                        <p:tav tm="0">
                                          <p:val>
                                            <p:strVal val="#ppt_x"/>
                                          </p:val>
                                        </p:tav>
                                        <p:tav tm="100000">
                                          <p:val>
                                            <p:strVal val="#ppt_x"/>
                                          </p:val>
                                        </p:tav>
                                      </p:tavLst>
                                    </p:anim>
                                    <p:anim calcmode="lin" valueType="num">
                                      <p:cBhvr>
                                        <p:cTn id="39" dur="1000" fill="hold"/>
                                        <p:tgtEl>
                                          <p:spTgt spid="27"/>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fade">
                                      <p:cBhvr>
                                        <p:cTn id="43" dur="1000"/>
                                        <p:tgtEl>
                                          <p:spTgt spid="35"/>
                                        </p:tgtEl>
                                      </p:cBhvr>
                                    </p:animEffect>
                                    <p:anim calcmode="lin" valueType="num">
                                      <p:cBhvr>
                                        <p:cTn id="44" dur="1000" fill="hold"/>
                                        <p:tgtEl>
                                          <p:spTgt spid="35"/>
                                        </p:tgtEl>
                                        <p:attrNameLst>
                                          <p:attrName>ppt_x</p:attrName>
                                        </p:attrNameLst>
                                      </p:cBhvr>
                                      <p:tavLst>
                                        <p:tav tm="0">
                                          <p:val>
                                            <p:strVal val="#ppt_x"/>
                                          </p:val>
                                        </p:tav>
                                        <p:tav tm="100000">
                                          <p:val>
                                            <p:strVal val="#ppt_x"/>
                                          </p:val>
                                        </p:tav>
                                      </p:tavLst>
                                    </p:anim>
                                    <p:anim calcmode="lin" valueType="num">
                                      <p:cBhvr>
                                        <p:cTn id="45" dur="1000" fill="hold"/>
                                        <p:tgtEl>
                                          <p:spTgt spid="35"/>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22" presetClass="entr" presetSubtype="4" fill="hold" grpId="0" nodeType="after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wipe(down)">
                                      <p:cBhvr>
                                        <p:cTn id="49" dur="125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248"/>
          <p:cNvGrpSpPr/>
          <p:nvPr>
            <p:custDataLst>
              <p:tags r:id="rId1"/>
            </p:custDataLst>
          </p:nvPr>
        </p:nvGrpSpPr>
        <p:grpSpPr bwMode="auto">
          <a:xfrm>
            <a:off x="1578252" y="1367072"/>
            <a:ext cx="9001000" cy="4654216"/>
            <a:chOff x="1556" y="1661"/>
            <a:chExt cx="4066" cy="2204"/>
          </a:xfrm>
          <a:solidFill>
            <a:schemeClr val="bg1">
              <a:lumMod val="65000"/>
            </a:schemeClr>
          </a:solidFill>
        </p:grpSpPr>
        <p:grpSp>
          <p:nvGrpSpPr>
            <p:cNvPr id="6" name="Group 249"/>
            <p:cNvGrpSpPr/>
            <p:nvPr/>
          </p:nvGrpSpPr>
          <p:grpSpPr bwMode="auto">
            <a:xfrm>
              <a:off x="3926" y="1661"/>
              <a:ext cx="1696" cy="2204"/>
              <a:chOff x="1136" y="1661"/>
              <a:chExt cx="1696" cy="2204"/>
            </a:xfrm>
            <a:grpFill/>
          </p:grpSpPr>
          <p:sp>
            <p:nvSpPr>
              <p:cNvPr id="188" name="Freeform 250"/>
              <p:cNvSpPr/>
              <p:nvPr/>
            </p:nvSpPr>
            <p:spPr bwMode="auto">
              <a:xfrm>
                <a:off x="2233" y="2849"/>
                <a:ext cx="16" cy="5"/>
              </a:xfrm>
              <a:custGeom>
                <a:avLst/>
                <a:gdLst>
                  <a:gd name="T0" fmla="*/ 0 w 54"/>
                  <a:gd name="T1" fmla="*/ 0 h 19"/>
                  <a:gd name="T2" fmla="*/ 0 w 54"/>
                  <a:gd name="T3" fmla="*/ 0 h 19"/>
                  <a:gd name="T4" fmla="*/ 1 w 54"/>
                  <a:gd name="T5" fmla="*/ 0 h 19"/>
                  <a:gd name="T6" fmla="*/ 0 w 54"/>
                  <a:gd name="T7" fmla="*/ 0 h 19"/>
                  <a:gd name="T8" fmla="*/ 0 60000 65536"/>
                  <a:gd name="T9" fmla="*/ 0 60000 65536"/>
                  <a:gd name="T10" fmla="*/ 0 60000 65536"/>
                  <a:gd name="T11" fmla="*/ 0 60000 65536"/>
                  <a:gd name="T12" fmla="*/ 0 w 54"/>
                  <a:gd name="T13" fmla="*/ 0 h 19"/>
                  <a:gd name="T14" fmla="*/ 54 w 54"/>
                  <a:gd name="T15" fmla="*/ 19 h 19"/>
                </a:gdLst>
                <a:ahLst/>
                <a:cxnLst>
                  <a:cxn ang="T8">
                    <a:pos x="T0" y="T1"/>
                  </a:cxn>
                  <a:cxn ang="T9">
                    <a:pos x="T2" y="T3"/>
                  </a:cxn>
                  <a:cxn ang="T10">
                    <a:pos x="T4" y="T5"/>
                  </a:cxn>
                  <a:cxn ang="T11">
                    <a:pos x="T6" y="T7"/>
                  </a:cxn>
                </a:cxnLst>
                <a:rect l="T12" t="T13" r="T14" b="T15"/>
                <a:pathLst>
                  <a:path w="54" h="19">
                    <a:moveTo>
                      <a:pt x="0" y="0"/>
                    </a:moveTo>
                    <a:lnTo>
                      <a:pt x="3" y="19"/>
                    </a:lnTo>
                    <a:lnTo>
                      <a:pt x="54" y="10"/>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9" name="Freeform 251"/>
              <p:cNvSpPr/>
              <p:nvPr/>
            </p:nvSpPr>
            <p:spPr bwMode="auto">
              <a:xfrm>
                <a:off x="2166" y="3361"/>
                <a:ext cx="214" cy="446"/>
              </a:xfrm>
              <a:custGeom>
                <a:avLst/>
                <a:gdLst>
                  <a:gd name="T0" fmla="*/ 0 w 750"/>
                  <a:gd name="T1" fmla="*/ 33 h 1564"/>
                  <a:gd name="T2" fmla="*/ 0 w 750"/>
                  <a:gd name="T3" fmla="*/ 34 h 1564"/>
                  <a:gd name="T4" fmla="*/ 1 w 750"/>
                  <a:gd name="T5" fmla="*/ 34 h 1564"/>
                  <a:gd name="T6" fmla="*/ 1 w 750"/>
                  <a:gd name="T7" fmla="*/ 36 h 1564"/>
                  <a:gd name="T8" fmla="*/ 4 w 750"/>
                  <a:gd name="T9" fmla="*/ 36 h 1564"/>
                  <a:gd name="T10" fmla="*/ 3 w 750"/>
                  <a:gd name="T11" fmla="*/ 35 h 1564"/>
                  <a:gd name="T12" fmla="*/ 4 w 750"/>
                  <a:gd name="T13" fmla="*/ 33 h 1564"/>
                  <a:gd name="T14" fmla="*/ 5 w 750"/>
                  <a:gd name="T15" fmla="*/ 33 h 1564"/>
                  <a:gd name="T16" fmla="*/ 7 w 750"/>
                  <a:gd name="T17" fmla="*/ 30 h 1564"/>
                  <a:gd name="T18" fmla="*/ 5 w 750"/>
                  <a:gd name="T19" fmla="*/ 28 h 1564"/>
                  <a:gd name="T20" fmla="*/ 7 w 750"/>
                  <a:gd name="T21" fmla="*/ 27 h 1564"/>
                  <a:gd name="T22" fmla="*/ 7 w 750"/>
                  <a:gd name="T23" fmla="*/ 25 h 1564"/>
                  <a:gd name="T24" fmla="*/ 8 w 750"/>
                  <a:gd name="T25" fmla="*/ 24 h 1564"/>
                  <a:gd name="T26" fmla="*/ 7 w 750"/>
                  <a:gd name="T27" fmla="*/ 24 h 1564"/>
                  <a:gd name="T28" fmla="*/ 9 w 750"/>
                  <a:gd name="T29" fmla="*/ 24 h 1564"/>
                  <a:gd name="T30" fmla="*/ 9 w 750"/>
                  <a:gd name="T31" fmla="*/ 23 h 1564"/>
                  <a:gd name="T32" fmla="*/ 8 w 750"/>
                  <a:gd name="T33" fmla="*/ 24 h 1564"/>
                  <a:gd name="T34" fmla="*/ 7 w 750"/>
                  <a:gd name="T35" fmla="*/ 23 h 1564"/>
                  <a:gd name="T36" fmla="*/ 7 w 750"/>
                  <a:gd name="T37" fmla="*/ 22 h 1564"/>
                  <a:gd name="T38" fmla="*/ 10 w 750"/>
                  <a:gd name="T39" fmla="*/ 22 h 1564"/>
                  <a:gd name="T40" fmla="*/ 10 w 750"/>
                  <a:gd name="T41" fmla="*/ 19 h 1564"/>
                  <a:gd name="T42" fmla="*/ 14 w 750"/>
                  <a:gd name="T43" fmla="*/ 19 h 1564"/>
                  <a:gd name="T44" fmla="*/ 15 w 750"/>
                  <a:gd name="T45" fmla="*/ 17 h 1564"/>
                  <a:gd name="T46" fmla="*/ 13 w 750"/>
                  <a:gd name="T47" fmla="*/ 13 h 1564"/>
                  <a:gd name="T48" fmla="*/ 14 w 750"/>
                  <a:gd name="T49" fmla="*/ 9 h 1564"/>
                  <a:gd name="T50" fmla="*/ 17 w 750"/>
                  <a:gd name="T51" fmla="*/ 6 h 1564"/>
                  <a:gd name="T52" fmla="*/ 17 w 750"/>
                  <a:gd name="T53" fmla="*/ 4 h 1564"/>
                  <a:gd name="T54" fmla="*/ 17 w 750"/>
                  <a:gd name="T55" fmla="*/ 4 h 1564"/>
                  <a:gd name="T56" fmla="*/ 16 w 750"/>
                  <a:gd name="T57" fmla="*/ 6 h 1564"/>
                  <a:gd name="T58" fmla="*/ 13 w 750"/>
                  <a:gd name="T59" fmla="*/ 6 h 1564"/>
                  <a:gd name="T60" fmla="*/ 14 w 750"/>
                  <a:gd name="T61" fmla="*/ 4 h 1564"/>
                  <a:gd name="T62" fmla="*/ 10 w 750"/>
                  <a:gd name="T63" fmla="*/ 1 h 1564"/>
                  <a:gd name="T64" fmla="*/ 8 w 750"/>
                  <a:gd name="T65" fmla="*/ 0 h 1564"/>
                  <a:gd name="T66" fmla="*/ 8 w 750"/>
                  <a:gd name="T67" fmla="*/ 1 h 1564"/>
                  <a:gd name="T68" fmla="*/ 7 w 750"/>
                  <a:gd name="T69" fmla="*/ 0 h 1564"/>
                  <a:gd name="T70" fmla="*/ 5 w 750"/>
                  <a:gd name="T71" fmla="*/ 1 h 1564"/>
                  <a:gd name="T72" fmla="*/ 5 w 750"/>
                  <a:gd name="T73" fmla="*/ 3 h 1564"/>
                  <a:gd name="T74" fmla="*/ 4 w 750"/>
                  <a:gd name="T75" fmla="*/ 3 h 1564"/>
                  <a:gd name="T76" fmla="*/ 4 w 750"/>
                  <a:gd name="T77" fmla="*/ 5 h 1564"/>
                  <a:gd name="T78" fmla="*/ 3 w 750"/>
                  <a:gd name="T79" fmla="*/ 7 h 1564"/>
                  <a:gd name="T80" fmla="*/ 3 w 750"/>
                  <a:gd name="T81" fmla="*/ 11 h 1564"/>
                  <a:gd name="T82" fmla="*/ 3 w 750"/>
                  <a:gd name="T83" fmla="*/ 14 h 1564"/>
                  <a:gd name="T84" fmla="*/ 2 w 750"/>
                  <a:gd name="T85" fmla="*/ 17 h 1564"/>
                  <a:gd name="T86" fmla="*/ 1 w 750"/>
                  <a:gd name="T87" fmla="*/ 24 h 1564"/>
                  <a:gd name="T88" fmla="*/ 2 w 750"/>
                  <a:gd name="T89" fmla="*/ 26 h 1564"/>
                  <a:gd name="T90" fmla="*/ 1 w 750"/>
                  <a:gd name="T91" fmla="*/ 27 h 1564"/>
                  <a:gd name="T92" fmla="*/ 1 w 750"/>
                  <a:gd name="T93" fmla="*/ 29 h 1564"/>
                  <a:gd name="T94" fmla="*/ 0 w 750"/>
                  <a:gd name="T95" fmla="*/ 33 h 156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50"/>
                  <a:gd name="T145" fmla="*/ 0 h 1564"/>
                  <a:gd name="T146" fmla="*/ 750 w 750"/>
                  <a:gd name="T147" fmla="*/ 1564 h 156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50" h="1564">
                    <a:moveTo>
                      <a:pt x="0" y="1446"/>
                    </a:moveTo>
                    <a:lnTo>
                      <a:pt x="7" y="1480"/>
                    </a:lnTo>
                    <a:lnTo>
                      <a:pt x="38" y="1467"/>
                    </a:lnTo>
                    <a:lnTo>
                      <a:pt x="52" y="1546"/>
                    </a:lnTo>
                    <a:lnTo>
                      <a:pt x="188" y="1564"/>
                    </a:lnTo>
                    <a:lnTo>
                      <a:pt x="152" y="1523"/>
                    </a:lnTo>
                    <a:lnTo>
                      <a:pt x="181" y="1418"/>
                    </a:lnTo>
                    <a:lnTo>
                      <a:pt x="206" y="1438"/>
                    </a:lnTo>
                    <a:lnTo>
                      <a:pt x="290" y="1288"/>
                    </a:lnTo>
                    <a:lnTo>
                      <a:pt x="226" y="1205"/>
                    </a:lnTo>
                    <a:lnTo>
                      <a:pt x="299" y="1154"/>
                    </a:lnTo>
                    <a:lnTo>
                      <a:pt x="311" y="1077"/>
                    </a:lnTo>
                    <a:lnTo>
                      <a:pt x="345" y="1044"/>
                    </a:lnTo>
                    <a:lnTo>
                      <a:pt x="317" y="1030"/>
                    </a:lnTo>
                    <a:lnTo>
                      <a:pt x="374" y="1030"/>
                    </a:lnTo>
                    <a:lnTo>
                      <a:pt x="368" y="992"/>
                    </a:lnTo>
                    <a:lnTo>
                      <a:pt x="341" y="1019"/>
                    </a:lnTo>
                    <a:lnTo>
                      <a:pt x="317" y="990"/>
                    </a:lnTo>
                    <a:lnTo>
                      <a:pt x="313" y="932"/>
                    </a:lnTo>
                    <a:lnTo>
                      <a:pt x="415" y="939"/>
                    </a:lnTo>
                    <a:lnTo>
                      <a:pt x="425" y="824"/>
                    </a:lnTo>
                    <a:lnTo>
                      <a:pt x="587" y="806"/>
                    </a:lnTo>
                    <a:lnTo>
                      <a:pt x="634" y="725"/>
                    </a:lnTo>
                    <a:lnTo>
                      <a:pt x="570" y="582"/>
                    </a:lnTo>
                    <a:lnTo>
                      <a:pt x="601" y="398"/>
                    </a:lnTo>
                    <a:lnTo>
                      <a:pt x="750" y="249"/>
                    </a:lnTo>
                    <a:lnTo>
                      <a:pt x="744" y="181"/>
                    </a:lnTo>
                    <a:lnTo>
                      <a:pt x="718" y="179"/>
                    </a:lnTo>
                    <a:lnTo>
                      <a:pt x="676" y="261"/>
                    </a:lnTo>
                    <a:lnTo>
                      <a:pt x="572" y="255"/>
                    </a:lnTo>
                    <a:lnTo>
                      <a:pt x="593" y="165"/>
                    </a:lnTo>
                    <a:lnTo>
                      <a:pt x="413" y="25"/>
                    </a:lnTo>
                    <a:lnTo>
                      <a:pt x="350" y="14"/>
                    </a:lnTo>
                    <a:lnTo>
                      <a:pt x="344" y="42"/>
                    </a:lnTo>
                    <a:lnTo>
                      <a:pt x="276" y="0"/>
                    </a:lnTo>
                    <a:lnTo>
                      <a:pt x="234" y="52"/>
                    </a:lnTo>
                    <a:lnTo>
                      <a:pt x="229" y="107"/>
                    </a:lnTo>
                    <a:lnTo>
                      <a:pt x="187" y="130"/>
                    </a:lnTo>
                    <a:lnTo>
                      <a:pt x="188" y="238"/>
                    </a:lnTo>
                    <a:lnTo>
                      <a:pt x="143" y="299"/>
                    </a:lnTo>
                    <a:lnTo>
                      <a:pt x="109" y="451"/>
                    </a:lnTo>
                    <a:lnTo>
                      <a:pt x="135" y="594"/>
                    </a:lnTo>
                    <a:lnTo>
                      <a:pt x="85" y="716"/>
                    </a:lnTo>
                    <a:lnTo>
                      <a:pt x="52" y="1021"/>
                    </a:lnTo>
                    <a:lnTo>
                      <a:pt x="79" y="1132"/>
                    </a:lnTo>
                    <a:lnTo>
                      <a:pt x="54" y="1142"/>
                    </a:lnTo>
                    <a:lnTo>
                      <a:pt x="65" y="1241"/>
                    </a:lnTo>
                    <a:lnTo>
                      <a:pt x="0" y="144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0" name="Freeform 252"/>
              <p:cNvSpPr/>
              <p:nvPr/>
            </p:nvSpPr>
            <p:spPr bwMode="auto">
              <a:xfrm>
                <a:off x="2218" y="3814"/>
                <a:ext cx="37" cy="37"/>
              </a:xfrm>
              <a:custGeom>
                <a:avLst/>
                <a:gdLst>
                  <a:gd name="T0" fmla="*/ 0 w 132"/>
                  <a:gd name="T1" fmla="*/ 0 h 134"/>
                  <a:gd name="T2" fmla="*/ 0 w 132"/>
                  <a:gd name="T3" fmla="*/ 3 h 134"/>
                  <a:gd name="T4" fmla="*/ 3 w 132"/>
                  <a:gd name="T5" fmla="*/ 2 h 134"/>
                  <a:gd name="T6" fmla="*/ 1 w 132"/>
                  <a:gd name="T7" fmla="*/ 1 h 134"/>
                  <a:gd name="T8" fmla="*/ 0 w 132"/>
                  <a:gd name="T9" fmla="*/ 0 h 134"/>
                  <a:gd name="T10" fmla="*/ 0 60000 65536"/>
                  <a:gd name="T11" fmla="*/ 0 60000 65536"/>
                  <a:gd name="T12" fmla="*/ 0 60000 65536"/>
                  <a:gd name="T13" fmla="*/ 0 60000 65536"/>
                  <a:gd name="T14" fmla="*/ 0 60000 65536"/>
                  <a:gd name="T15" fmla="*/ 0 w 132"/>
                  <a:gd name="T16" fmla="*/ 0 h 134"/>
                  <a:gd name="T17" fmla="*/ 132 w 132"/>
                  <a:gd name="T18" fmla="*/ 134 h 134"/>
                </a:gdLst>
                <a:ahLst/>
                <a:cxnLst>
                  <a:cxn ang="T10">
                    <a:pos x="T0" y="T1"/>
                  </a:cxn>
                  <a:cxn ang="T11">
                    <a:pos x="T2" y="T3"/>
                  </a:cxn>
                  <a:cxn ang="T12">
                    <a:pos x="T4" y="T5"/>
                  </a:cxn>
                  <a:cxn ang="T13">
                    <a:pos x="T6" y="T7"/>
                  </a:cxn>
                  <a:cxn ang="T14">
                    <a:pos x="T8" y="T9"/>
                  </a:cxn>
                </a:cxnLst>
                <a:rect l="T15" t="T16" r="T17" b="T18"/>
                <a:pathLst>
                  <a:path w="132" h="134">
                    <a:moveTo>
                      <a:pt x="0" y="0"/>
                    </a:moveTo>
                    <a:lnTo>
                      <a:pt x="2" y="134"/>
                    </a:lnTo>
                    <a:lnTo>
                      <a:pt x="132" y="119"/>
                    </a:lnTo>
                    <a:lnTo>
                      <a:pt x="29" y="64"/>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1" name="Freeform 253"/>
              <p:cNvSpPr/>
              <p:nvPr/>
            </p:nvSpPr>
            <p:spPr bwMode="auto">
              <a:xfrm>
                <a:off x="2207" y="3204"/>
                <a:ext cx="129" cy="172"/>
              </a:xfrm>
              <a:custGeom>
                <a:avLst/>
                <a:gdLst>
                  <a:gd name="T0" fmla="*/ 0 w 454"/>
                  <a:gd name="T1" fmla="*/ 1 h 601"/>
                  <a:gd name="T2" fmla="*/ 1 w 454"/>
                  <a:gd name="T3" fmla="*/ 3 h 601"/>
                  <a:gd name="T4" fmla="*/ 0 w 454"/>
                  <a:gd name="T5" fmla="*/ 6 h 601"/>
                  <a:gd name="T6" fmla="*/ 1 w 454"/>
                  <a:gd name="T7" fmla="*/ 7 h 601"/>
                  <a:gd name="T8" fmla="*/ 1 w 454"/>
                  <a:gd name="T9" fmla="*/ 7 h 601"/>
                  <a:gd name="T10" fmla="*/ 0 w 454"/>
                  <a:gd name="T11" fmla="*/ 8 h 601"/>
                  <a:gd name="T12" fmla="*/ 1 w 454"/>
                  <a:gd name="T13" fmla="*/ 10 h 601"/>
                  <a:gd name="T14" fmla="*/ 1 w 454"/>
                  <a:gd name="T15" fmla="*/ 14 h 601"/>
                  <a:gd name="T16" fmla="*/ 2 w 454"/>
                  <a:gd name="T17" fmla="*/ 14 h 601"/>
                  <a:gd name="T18" fmla="*/ 3 w 454"/>
                  <a:gd name="T19" fmla="*/ 13 h 601"/>
                  <a:gd name="T20" fmla="*/ 5 w 454"/>
                  <a:gd name="T21" fmla="*/ 14 h 601"/>
                  <a:gd name="T22" fmla="*/ 5 w 454"/>
                  <a:gd name="T23" fmla="*/ 13 h 601"/>
                  <a:gd name="T24" fmla="*/ 6 w 454"/>
                  <a:gd name="T25" fmla="*/ 13 h 601"/>
                  <a:gd name="T26" fmla="*/ 7 w 454"/>
                  <a:gd name="T27" fmla="*/ 11 h 601"/>
                  <a:gd name="T28" fmla="*/ 9 w 454"/>
                  <a:gd name="T29" fmla="*/ 10 h 601"/>
                  <a:gd name="T30" fmla="*/ 10 w 454"/>
                  <a:gd name="T31" fmla="*/ 11 h 601"/>
                  <a:gd name="T32" fmla="*/ 11 w 454"/>
                  <a:gd name="T33" fmla="*/ 9 h 601"/>
                  <a:gd name="T34" fmla="*/ 10 w 454"/>
                  <a:gd name="T35" fmla="*/ 7 h 601"/>
                  <a:gd name="T36" fmla="*/ 9 w 454"/>
                  <a:gd name="T37" fmla="*/ 7 h 601"/>
                  <a:gd name="T38" fmla="*/ 8 w 454"/>
                  <a:gd name="T39" fmla="*/ 4 h 601"/>
                  <a:gd name="T40" fmla="*/ 4 w 454"/>
                  <a:gd name="T41" fmla="*/ 2 h 601"/>
                  <a:gd name="T42" fmla="*/ 4 w 454"/>
                  <a:gd name="T43" fmla="*/ 0 h 601"/>
                  <a:gd name="T44" fmla="*/ 1 w 454"/>
                  <a:gd name="T45" fmla="*/ 1 h 601"/>
                  <a:gd name="T46" fmla="*/ 0 w 454"/>
                  <a:gd name="T47" fmla="*/ 1 h 6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54"/>
                  <a:gd name="T73" fmla="*/ 0 h 601"/>
                  <a:gd name="T74" fmla="*/ 454 w 454"/>
                  <a:gd name="T75" fmla="*/ 601 h 6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54" h="601">
                    <a:moveTo>
                      <a:pt x="0" y="61"/>
                    </a:moveTo>
                    <a:lnTo>
                      <a:pt x="32" y="123"/>
                    </a:lnTo>
                    <a:lnTo>
                      <a:pt x="11" y="262"/>
                    </a:lnTo>
                    <a:lnTo>
                      <a:pt x="32" y="277"/>
                    </a:lnTo>
                    <a:lnTo>
                      <a:pt x="24" y="295"/>
                    </a:lnTo>
                    <a:lnTo>
                      <a:pt x="2" y="352"/>
                    </a:lnTo>
                    <a:lnTo>
                      <a:pt x="42" y="433"/>
                    </a:lnTo>
                    <a:lnTo>
                      <a:pt x="65" y="598"/>
                    </a:lnTo>
                    <a:lnTo>
                      <a:pt x="93" y="601"/>
                    </a:lnTo>
                    <a:lnTo>
                      <a:pt x="135" y="549"/>
                    </a:lnTo>
                    <a:lnTo>
                      <a:pt x="203" y="591"/>
                    </a:lnTo>
                    <a:lnTo>
                      <a:pt x="209" y="563"/>
                    </a:lnTo>
                    <a:lnTo>
                      <a:pt x="272" y="574"/>
                    </a:lnTo>
                    <a:lnTo>
                      <a:pt x="293" y="456"/>
                    </a:lnTo>
                    <a:lnTo>
                      <a:pt x="406" y="433"/>
                    </a:lnTo>
                    <a:lnTo>
                      <a:pt x="441" y="472"/>
                    </a:lnTo>
                    <a:lnTo>
                      <a:pt x="454" y="381"/>
                    </a:lnTo>
                    <a:lnTo>
                      <a:pt x="431" y="302"/>
                    </a:lnTo>
                    <a:lnTo>
                      <a:pt x="366" y="298"/>
                    </a:lnTo>
                    <a:lnTo>
                      <a:pt x="342" y="180"/>
                    </a:lnTo>
                    <a:lnTo>
                      <a:pt x="170" y="100"/>
                    </a:lnTo>
                    <a:lnTo>
                      <a:pt x="159" y="0"/>
                    </a:lnTo>
                    <a:lnTo>
                      <a:pt x="46" y="65"/>
                    </a:lnTo>
                    <a:lnTo>
                      <a:pt x="0" y="6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2" name="Freeform 254"/>
              <p:cNvSpPr/>
              <p:nvPr/>
            </p:nvSpPr>
            <p:spPr bwMode="auto">
              <a:xfrm>
                <a:off x="2161" y="3019"/>
                <a:ext cx="424" cy="504"/>
              </a:xfrm>
              <a:custGeom>
                <a:avLst/>
                <a:gdLst>
                  <a:gd name="T0" fmla="*/ 1 w 1487"/>
                  <a:gd name="T1" fmla="*/ 15 h 1768"/>
                  <a:gd name="T2" fmla="*/ 3 w 1487"/>
                  <a:gd name="T3" fmla="*/ 15 h 1768"/>
                  <a:gd name="T4" fmla="*/ 4 w 1487"/>
                  <a:gd name="T5" fmla="*/ 17 h 1768"/>
                  <a:gd name="T6" fmla="*/ 7 w 1487"/>
                  <a:gd name="T7" fmla="*/ 15 h 1768"/>
                  <a:gd name="T8" fmla="*/ 11 w 1487"/>
                  <a:gd name="T9" fmla="*/ 19 h 1768"/>
                  <a:gd name="T10" fmla="*/ 14 w 1487"/>
                  <a:gd name="T11" fmla="*/ 22 h 1768"/>
                  <a:gd name="T12" fmla="*/ 14 w 1487"/>
                  <a:gd name="T13" fmla="*/ 26 h 1768"/>
                  <a:gd name="T14" fmla="*/ 16 w 1487"/>
                  <a:gd name="T15" fmla="*/ 29 h 1768"/>
                  <a:gd name="T16" fmla="*/ 17 w 1487"/>
                  <a:gd name="T17" fmla="*/ 30 h 1768"/>
                  <a:gd name="T18" fmla="*/ 18 w 1487"/>
                  <a:gd name="T19" fmla="*/ 32 h 1768"/>
                  <a:gd name="T20" fmla="*/ 14 w 1487"/>
                  <a:gd name="T21" fmla="*/ 37 h 1768"/>
                  <a:gd name="T22" fmla="*/ 18 w 1487"/>
                  <a:gd name="T23" fmla="*/ 39 h 1768"/>
                  <a:gd name="T24" fmla="*/ 18 w 1487"/>
                  <a:gd name="T25" fmla="*/ 41 h 1768"/>
                  <a:gd name="T26" fmla="*/ 23 w 1487"/>
                  <a:gd name="T27" fmla="*/ 32 h 1768"/>
                  <a:gd name="T28" fmla="*/ 28 w 1487"/>
                  <a:gd name="T29" fmla="*/ 29 h 1768"/>
                  <a:gd name="T30" fmla="*/ 31 w 1487"/>
                  <a:gd name="T31" fmla="*/ 23 h 1768"/>
                  <a:gd name="T32" fmla="*/ 34 w 1487"/>
                  <a:gd name="T33" fmla="*/ 15 h 1768"/>
                  <a:gd name="T34" fmla="*/ 34 w 1487"/>
                  <a:gd name="T35" fmla="*/ 11 h 1768"/>
                  <a:gd name="T36" fmla="*/ 30 w 1487"/>
                  <a:gd name="T37" fmla="*/ 8 h 1768"/>
                  <a:gd name="T38" fmla="*/ 26 w 1487"/>
                  <a:gd name="T39" fmla="*/ 7 h 1768"/>
                  <a:gd name="T40" fmla="*/ 23 w 1487"/>
                  <a:gd name="T41" fmla="*/ 6 h 1768"/>
                  <a:gd name="T42" fmla="*/ 22 w 1487"/>
                  <a:gd name="T43" fmla="*/ 7 h 1768"/>
                  <a:gd name="T44" fmla="*/ 21 w 1487"/>
                  <a:gd name="T45" fmla="*/ 7 h 1768"/>
                  <a:gd name="T46" fmla="*/ 21 w 1487"/>
                  <a:gd name="T47" fmla="*/ 4 h 1768"/>
                  <a:gd name="T48" fmla="*/ 19 w 1487"/>
                  <a:gd name="T49" fmla="*/ 3 h 1768"/>
                  <a:gd name="T50" fmla="*/ 15 w 1487"/>
                  <a:gd name="T51" fmla="*/ 3 h 1768"/>
                  <a:gd name="T52" fmla="*/ 12 w 1487"/>
                  <a:gd name="T53" fmla="*/ 3 h 1768"/>
                  <a:gd name="T54" fmla="*/ 12 w 1487"/>
                  <a:gd name="T55" fmla="*/ 0 h 1768"/>
                  <a:gd name="T56" fmla="*/ 8 w 1487"/>
                  <a:gd name="T57" fmla="*/ 1 h 1768"/>
                  <a:gd name="T58" fmla="*/ 9 w 1487"/>
                  <a:gd name="T59" fmla="*/ 3 h 1768"/>
                  <a:gd name="T60" fmla="*/ 6 w 1487"/>
                  <a:gd name="T61" fmla="*/ 4 h 1768"/>
                  <a:gd name="T62" fmla="*/ 4 w 1487"/>
                  <a:gd name="T63" fmla="*/ 4 h 1768"/>
                  <a:gd name="T64" fmla="*/ 3 w 1487"/>
                  <a:gd name="T65" fmla="*/ 5 h 1768"/>
                  <a:gd name="T66" fmla="*/ 3 w 1487"/>
                  <a:gd name="T67" fmla="*/ 9 h 1768"/>
                  <a:gd name="T68" fmla="*/ 0 w 1487"/>
                  <a:gd name="T69" fmla="*/ 13 h 17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87"/>
                  <a:gd name="T106" fmla="*/ 0 h 1768"/>
                  <a:gd name="T107" fmla="*/ 1487 w 1487"/>
                  <a:gd name="T108" fmla="*/ 1768 h 17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87" h="1768">
                    <a:moveTo>
                      <a:pt x="0" y="559"/>
                    </a:moveTo>
                    <a:lnTo>
                      <a:pt x="31" y="642"/>
                    </a:lnTo>
                    <a:lnTo>
                      <a:pt x="82" y="670"/>
                    </a:lnTo>
                    <a:lnTo>
                      <a:pt x="125" y="637"/>
                    </a:lnTo>
                    <a:lnTo>
                      <a:pt x="125" y="712"/>
                    </a:lnTo>
                    <a:lnTo>
                      <a:pt x="157" y="712"/>
                    </a:lnTo>
                    <a:lnTo>
                      <a:pt x="203" y="716"/>
                    </a:lnTo>
                    <a:lnTo>
                      <a:pt x="316" y="651"/>
                    </a:lnTo>
                    <a:lnTo>
                      <a:pt x="327" y="751"/>
                    </a:lnTo>
                    <a:lnTo>
                      <a:pt x="499" y="831"/>
                    </a:lnTo>
                    <a:lnTo>
                      <a:pt x="523" y="949"/>
                    </a:lnTo>
                    <a:lnTo>
                      <a:pt x="588" y="953"/>
                    </a:lnTo>
                    <a:lnTo>
                      <a:pt x="611" y="1032"/>
                    </a:lnTo>
                    <a:lnTo>
                      <a:pt x="598" y="1123"/>
                    </a:lnTo>
                    <a:lnTo>
                      <a:pt x="606" y="1214"/>
                    </a:lnTo>
                    <a:lnTo>
                      <a:pt x="689" y="1227"/>
                    </a:lnTo>
                    <a:lnTo>
                      <a:pt x="699" y="1289"/>
                    </a:lnTo>
                    <a:lnTo>
                      <a:pt x="740" y="1302"/>
                    </a:lnTo>
                    <a:lnTo>
                      <a:pt x="734" y="1379"/>
                    </a:lnTo>
                    <a:lnTo>
                      <a:pt x="760" y="1381"/>
                    </a:lnTo>
                    <a:lnTo>
                      <a:pt x="766" y="1449"/>
                    </a:lnTo>
                    <a:lnTo>
                      <a:pt x="617" y="1598"/>
                    </a:lnTo>
                    <a:lnTo>
                      <a:pt x="648" y="1590"/>
                    </a:lnTo>
                    <a:lnTo>
                      <a:pt x="760" y="1684"/>
                    </a:lnTo>
                    <a:lnTo>
                      <a:pt x="785" y="1721"/>
                    </a:lnTo>
                    <a:lnTo>
                      <a:pt x="775" y="1768"/>
                    </a:lnTo>
                    <a:lnTo>
                      <a:pt x="959" y="1503"/>
                    </a:lnTo>
                    <a:lnTo>
                      <a:pt x="969" y="1372"/>
                    </a:lnTo>
                    <a:lnTo>
                      <a:pt x="1112" y="1252"/>
                    </a:lnTo>
                    <a:lnTo>
                      <a:pt x="1205" y="1252"/>
                    </a:lnTo>
                    <a:lnTo>
                      <a:pt x="1245" y="1210"/>
                    </a:lnTo>
                    <a:lnTo>
                      <a:pt x="1320" y="1009"/>
                    </a:lnTo>
                    <a:lnTo>
                      <a:pt x="1330" y="811"/>
                    </a:lnTo>
                    <a:lnTo>
                      <a:pt x="1473" y="623"/>
                    </a:lnTo>
                    <a:lnTo>
                      <a:pt x="1487" y="541"/>
                    </a:lnTo>
                    <a:lnTo>
                      <a:pt x="1465" y="459"/>
                    </a:lnTo>
                    <a:lnTo>
                      <a:pt x="1406" y="449"/>
                    </a:lnTo>
                    <a:lnTo>
                      <a:pt x="1309" y="363"/>
                    </a:lnTo>
                    <a:lnTo>
                      <a:pt x="1120" y="347"/>
                    </a:lnTo>
                    <a:lnTo>
                      <a:pt x="1105" y="295"/>
                    </a:lnTo>
                    <a:lnTo>
                      <a:pt x="1019" y="256"/>
                    </a:lnTo>
                    <a:lnTo>
                      <a:pt x="983" y="257"/>
                    </a:lnTo>
                    <a:lnTo>
                      <a:pt x="932" y="336"/>
                    </a:lnTo>
                    <a:lnTo>
                      <a:pt x="931" y="309"/>
                    </a:lnTo>
                    <a:lnTo>
                      <a:pt x="852" y="321"/>
                    </a:lnTo>
                    <a:lnTo>
                      <a:pt x="886" y="307"/>
                    </a:lnTo>
                    <a:lnTo>
                      <a:pt x="854" y="245"/>
                    </a:lnTo>
                    <a:lnTo>
                      <a:pt x="914" y="160"/>
                    </a:lnTo>
                    <a:lnTo>
                      <a:pt x="851" y="50"/>
                    </a:lnTo>
                    <a:lnTo>
                      <a:pt x="796" y="137"/>
                    </a:lnTo>
                    <a:lnTo>
                      <a:pt x="744" y="132"/>
                    </a:lnTo>
                    <a:lnTo>
                      <a:pt x="660" y="144"/>
                    </a:lnTo>
                    <a:lnTo>
                      <a:pt x="554" y="161"/>
                    </a:lnTo>
                    <a:lnTo>
                      <a:pt x="531" y="115"/>
                    </a:lnTo>
                    <a:lnTo>
                      <a:pt x="538" y="31"/>
                    </a:lnTo>
                    <a:lnTo>
                      <a:pt x="509" y="0"/>
                    </a:lnTo>
                    <a:lnTo>
                      <a:pt x="409" y="53"/>
                    </a:lnTo>
                    <a:lnTo>
                      <a:pt x="347" y="37"/>
                    </a:lnTo>
                    <a:lnTo>
                      <a:pt x="363" y="122"/>
                    </a:lnTo>
                    <a:lnTo>
                      <a:pt x="401" y="133"/>
                    </a:lnTo>
                    <a:lnTo>
                      <a:pt x="306" y="192"/>
                    </a:lnTo>
                    <a:lnTo>
                      <a:pt x="265" y="171"/>
                    </a:lnTo>
                    <a:lnTo>
                      <a:pt x="243" y="141"/>
                    </a:lnTo>
                    <a:lnTo>
                      <a:pt x="155" y="157"/>
                    </a:lnTo>
                    <a:lnTo>
                      <a:pt x="181" y="202"/>
                    </a:lnTo>
                    <a:lnTo>
                      <a:pt x="144" y="205"/>
                    </a:lnTo>
                    <a:lnTo>
                      <a:pt x="165" y="284"/>
                    </a:lnTo>
                    <a:lnTo>
                      <a:pt x="148" y="410"/>
                    </a:lnTo>
                    <a:lnTo>
                      <a:pt x="51" y="458"/>
                    </a:lnTo>
                    <a:lnTo>
                      <a:pt x="0" y="55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3" name="Freeform 255"/>
              <p:cNvSpPr/>
              <p:nvPr/>
            </p:nvSpPr>
            <p:spPr bwMode="auto">
              <a:xfrm>
                <a:off x="1995" y="2849"/>
                <a:ext cx="8" cy="33"/>
              </a:xfrm>
              <a:custGeom>
                <a:avLst/>
                <a:gdLst>
                  <a:gd name="T0" fmla="*/ 0 w 31"/>
                  <a:gd name="T1" fmla="*/ 1 h 115"/>
                  <a:gd name="T2" fmla="*/ 0 w 31"/>
                  <a:gd name="T3" fmla="*/ 3 h 115"/>
                  <a:gd name="T4" fmla="*/ 1 w 31"/>
                  <a:gd name="T5" fmla="*/ 0 h 115"/>
                  <a:gd name="T6" fmla="*/ 0 w 31"/>
                  <a:gd name="T7" fmla="*/ 1 h 115"/>
                  <a:gd name="T8" fmla="*/ 0 60000 65536"/>
                  <a:gd name="T9" fmla="*/ 0 60000 65536"/>
                  <a:gd name="T10" fmla="*/ 0 60000 65536"/>
                  <a:gd name="T11" fmla="*/ 0 60000 65536"/>
                  <a:gd name="T12" fmla="*/ 0 w 31"/>
                  <a:gd name="T13" fmla="*/ 0 h 115"/>
                  <a:gd name="T14" fmla="*/ 31 w 31"/>
                  <a:gd name="T15" fmla="*/ 115 h 115"/>
                </a:gdLst>
                <a:ahLst/>
                <a:cxnLst>
                  <a:cxn ang="T8">
                    <a:pos x="T0" y="T1"/>
                  </a:cxn>
                  <a:cxn ang="T9">
                    <a:pos x="T2" y="T3"/>
                  </a:cxn>
                  <a:cxn ang="T10">
                    <a:pos x="T4" y="T5"/>
                  </a:cxn>
                  <a:cxn ang="T11">
                    <a:pos x="T6" y="T7"/>
                  </a:cxn>
                </a:cxnLst>
                <a:rect l="T12" t="T13" r="T14" b="T15"/>
                <a:pathLst>
                  <a:path w="31" h="115">
                    <a:moveTo>
                      <a:pt x="0" y="25"/>
                    </a:moveTo>
                    <a:lnTo>
                      <a:pt x="11" y="115"/>
                    </a:lnTo>
                    <a:lnTo>
                      <a:pt x="31" y="0"/>
                    </a:lnTo>
                    <a:lnTo>
                      <a:pt x="0" y="2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4" name="Freeform 256"/>
              <p:cNvSpPr/>
              <p:nvPr/>
            </p:nvSpPr>
            <p:spPr bwMode="auto">
              <a:xfrm>
                <a:off x="1430" y="1975"/>
                <a:ext cx="929" cy="549"/>
              </a:xfrm>
              <a:custGeom>
                <a:avLst/>
                <a:gdLst>
                  <a:gd name="T0" fmla="*/ 6 w 3259"/>
                  <a:gd name="T1" fmla="*/ 5 h 1930"/>
                  <a:gd name="T2" fmla="*/ 9 w 3259"/>
                  <a:gd name="T3" fmla="*/ 5 h 1930"/>
                  <a:gd name="T4" fmla="*/ 13 w 3259"/>
                  <a:gd name="T5" fmla="*/ 5 h 1930"/>
                  <a:gd name="T6" fmla="*/ 21 w 3259"/>
                  <a:gd name="T7" fmla="*/ 5 h 1930"/>
                  <a:gd name="T8" fmla="*/ 23 w 3259"/>
                  <a:gd name="T9" fmla="*/ 7 h 1930"/>
                  <a:gd name="T10" fmla="*/ 30 w 3259"/>
                  <a:gd name="T11" fmla="*/ 9 h 1930"/>
                  <a:gd name="T12" fmla="*/ 29 w 3259"/>
                  <a:gd name="T13" fmla="*/ 7 h 1930"/>
                  <a:gd name="T14" fmla="*/ 34 w 3259"/>
                  <a:gd name="T15" fmla="*/ 8 h 1930"/>
                  <a:gd name="T16" fmla="*/ 39 w 3259"/>
                  <a:gd name="T17" fmla="*/ 7 h 1930"/>
                  <a:gd name="T18" fmla="*/ 39 w 3259"/>
                  <a:gd name="T19" fmla="*/ 7 h 1930"/>
                  <a:gd name="T20" fmla="*/ 40 w 3259"/>
                  <a:gd name="T21" fmla="*/ 7 h 1930"/>
                  <a:gd name="T22" fmla="*/ 42 w 3259"/>
                  <a:gd name="T23" fmla="*/ 5 h 1930"/>
                  <a:gd name="T24" fmla="*/ 40 w 3259"/>
                  <a:gd name="T25" fmla="*/ 0 h 1930"/>
                  <a:gd name="T26" fmla="*/ 43 w 3259"/>
                  <a:gd name="T27" fmla="*/ 3 h 1930"/>
                  <a:gd name="T28" fmla="*/ 44 w 3259"/>
                  <a:gd name="T29" fmla="*/ 5 h 1930"/>
                  <a:gd name="T30" fmla="*/ 47 w 3259"/>
                  <a:gd name="T31" fmla="*/ 7 h 1930"/>
                  <a:gd name="T32" fmla="*/ 49 w 3259"/>
                  <a:gd name="T33" fmla="*/ 6 h 1930"/>
                  <a:gd name="T34" fmla="*/ 53 w 3259"/>
                  <a:gd name="T35" fmla="*/ 5 h 1930"/>
                  <a:gd name="T36" fmla="*/ 53 w 3259"/>
                  <a:gd name="T37" fmla="*/ 9 h 1930"/>
                  <a:gd name="T38" fmla="*/ 48 w 3259"/>
                  <a:gd name="T39" fmla="*/ 10 h 1930"/>
                  <a:gd name="T40" fmla="*/ 46 w 3259"/>
                  <a:gd name="T41" fmla="*/ 12 h 1930"/>
                  <a:gd name="T42" fmla="*/ 44 w 3259"/>
                  <a:gd name="T43" fmla="*/ 15 h 1930"/>
                  <a:gd name="T44" fmla="*/ 43 w 3259"/>
                  <a:gd name="T45" fmla="*/ 16 h 1930"/>
                  <a:gd name="T46" fmla="*/ 41 w 3259"/>
                  <a:gd name="T47" fmla="*/ 18 h 1930"/>
                  <a:gd name="T48" fmla="*/ 43 w 3259"/>
                  <a:gd name="T49" fmla="*/ 24 h 1930"/>
                  <a:gd name="T50" fmla="*/ 49 w 3259"/>
                  <a:gd name="T51" fmla="*/ 28 h 1930"/>
                  <a:gd name="T52" fmla="*/ 52 w 3259"/>
                  <a:gd name="T53" fmla="*/ 31 h 1930"/>
                  <a:gd name="T54" fmla="*/ 54 w 3259"/>
                  <a:gd name="T55" fmla="*/ 33 h 1930"/>
                  <a:gd name="T56" fmla="*/ 57 w 3259"/>
                  <a:gd name="T57" fmla="*/ 26 h 1930"/>
                  <a:gd name="T58" fmla="*/ 56 w 3259"/>
                  <a:gd name="T59" fmla="*/ 21 h 1930"/>
                  <a:gd name="T60" fmla="*/ 56 w 3259"/>
                  <a:gd name="T61" fmla="*/ 18 h 1930"/>
                  <a:gd name="T62" fmla="*/ 59 w 3259"/>
                  <a:gd name="T63" fmla="*/ 16 h 1930"/>
                  <a:gd name="T64" fmla="*/ 63 w 3259"/>
                  <a:gd name="T65" fmla="*/ 20 h 1930"/>
                  <a:gd name="T66" fmla="*/ 62 w 3259"/>
                  <a:gd name="T67" fmla="*/ 22 h 1930"/>
                  <a:gd name="T68" fmla="*/ 65 w 3259"/>
                  <a:gd name="T69" fmla="*/ 22 h 1930"/>
                  <a:gd name="T70" fmla="*/ 67 w 3259"/>
                  <a:gd name="T71" fmla="*/ 21 h 1930"/>
                  <a:gd name="T72" fmla="*/ 68 w 3259"/>
                  <a:gd name="T73" fmla="*/ 22 h 1930"/>
                  <a:gd name="T74" fmla="*/ 69 w 3259"/>
                  <a:gd name="T75" fmla="*/ 22 h 1930"/>
                  <a:gd name="T76" fmla="*/ 70 w 3259"/>
                  <a:gd name="T77" fmla="*/ 24 h 1930"/>
                  <a:gd name="T78" fmla="*/ 70 w 3259"/>
                  <a:gd name="T79" fmla="*/ 26 h 1930"/>
                  <a:gd name="T80" fmla="*/ 74 w 3259"/>
                  <a:gd name="T81" fmla="*/ 28 h 1930"/>
                  <a:gd name="T82" fmla="*/ 74 w 3259"/>
                  <a:gd name="T83" fmla="*/ 30 h 1930"/>
                  <a:gd name="T84" fmla="*/ 76 w 3259"/>
                  <a:gd name="T85" fmla="*/ 31 h 1930"/>
                  <a:gd name="T86" fmla="*/ 62 w 3259"/>
                  <a:gd name="T87" fmla="*/ 38 h 1930"/>
                  <a:gd name="T88" fmla="*/ 66 w 3259"/>
                  <a:gd name="T89" fmla="*/ 37 h 1930"/>
                  <a:gd name="T90" fmla="*/ 70 w 3259"/>
                  <a:gd name="T91" fmla="*/ 40 h 1930"/>
                  <a:gd name="T92" fmla="*/ 71 w 3259"/>
                  <a:gd name="T93" fmla="*/ 40 h 1930"/>
                  <a:gd name="T94" fmla="*/ 69 w 3259"/>
                  <a:gd name="T95" fmla="*/ 40 h 1930"/>
                  <a:gd name="T96" fmla="*/ 65 w 3259"/>
                  <a:gd name="T97" fmla="*/ 40 h 1930"/>
                  <a:gd name="T98" fmla="*/ 58 w 3259"/>
                  <a:gd name="T99" fmla="*/ 41 h 1930"/>
                  <a:gd name="T100" fmla="*/ 55 w 3259"/>
                  <a:gd name="T101" fmla="*/ 43 h 1930"/>
                  <a:gd name="T102" fmla="*/ 52 w 3259"/>
                  <a:gd name="T103" fmla="*/ 43 h 1930"/>
                  <a:gd name="T104" fmla="*/ 54 w 3259"/>
                  <a:gd name="T105" fmla="*/ 41 h 1930"/>
                  <a:gd name="T106" fmla="*/ 50 w 3259"/>
                  <a:gd name="T107" fmla="*/ 37 h 1930"/>
                  <a:gd name="T108" fmla="*/ 48 w 3259"/>
                  <a:gd name="T109" fmla="*/ 36 h 1930"/>
                  <a:gd name="T110" fmla="*/ 41 w 3259"/>
                  <a:gd name="T111" fmla="*/ 35 h 1930"/>
                  <a:gd name="T112" fmla="*/ 15 w 3259"/>
                  <a:gd name="T113" fmla="*/ 34 h 1930"/>
                  <a:gd name="T114" fmla="*/ 11 w 3259"/>
                  <a:gd name="T115" fmla="*/ 31 h 1930"/>
                  <a:gd name="T116" fmla="*/ 10 w 3259"/>
                  <a:gd name="T117" fmla="*/ 26 h 1930"/>
                  <a:gd name="T118" fmla="*/ 3 w 3259"/>
                  <a:gd name="T119" fmla="*/ 21 h 1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259"/>
                  <a:gd name="T181" fmla="*/ 0 h 1930"/>
                  <a:gd name="T182" fmla="*/ 3259 w 3259"/>
                  <a:gd name="T183" fmla="*/ 1930 h 1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259" h="1930">
                    <a:moveTo>
                      <a:pt x="0" y="855"/>
                    </a:moveTo>
                    <a:lnTo>
                      <a:pt x="0" y="178"/>
                    </a:lnTo>
                    <a:lnTo>
                      <a:pt x="260" y="266"/>
                    </a:lnTo>
                    <a:lnTo>
                      <a:pt x="243" y="231"/>
                    </a:lnTo>
                    <a:lnTo>
                      <a:pt x="271" y="210"/>
                    </a:lnTo>
                    <a:lnTo>
                      <a:pt x="432" y="135"/>
                    </a:lnTo>
                    <a:lnTo>
                      <a:pt x="308" y="226"/>
                    </a:lnTo>
                    <a:lnTo>
                      <a:pt x="377" y="200"/>
                    </a:lnTo>
                    <a:lnTo>
                      <a:pt x="377" y="218"/>
                    </a:lnTo>
                    <a:lnTo>
                      <a:pt x="511" y="137"/>
                    </a:lnTo>
                    <a:lnTo>
                      <a:pt x="493" y="111"/>
                    </a:lnTo>
                    <a:lnTo>
                      <a:pt x="580" y="207"/>
                    </a:lnTo>
                    <a:lnTo>
                      <a:pt x="636" y="151"/>
                    </a:lnTo>
                    <a:lnTo>
                      <a:pt x="630" y="207"/>
                    </a:lnTo>
                    <a:lnTo>
                      <a:pt x="699" y="168"/>
                    </a:lnTo>
                    <a:lnTo>
                      <a:pt x="891" y="235"/>
                    </a:lnTo>
                    <a:lnTo>
                      <a:pt x="981" y="234"/>
                    </a:lnTo>
                    <a:lnTo>
                      <a:pt x="1029" y="275"/>
                    </a:lnTo>
                    <a:lnTo>
                      <a:pt x="972" y="310"/>
                    </a:lnTo>
                    <a:lnTo>
                      <a:pt x="1006" y="323"/>
                    </a:lnTo>
                    <a:lnTo>
                      <a:pt x="1181" y="306"/>
                    </a:lnTo>
                    <a:lnTo>
                      <a:pt x="1255" y="364"/>
                    </a:lnTo>
                    <a:lnTo>
                      <a:pt x="1268" y="402"/>
                    </a:lnTo>
                    <a:lnTo>
                      <a:pt x="1286" y="376"/>
                    </a:lnTo>
                    <a:lnTo>
                      <a:pt x="1255" y="323"/>
                    </a:lnTo>
                    <a:lnTo>
                      <a:pt x="1339" y="260"/>
                    </a:lnTo>
                    <a:lnTo>
                      <a:pt x="1256" y="300"/>
                    </a:lnTo>
                    <a:lnTo>
                      <a:pt x="1231" y="281"/>
                    </a:lnTo>
                    <a:lnTo>
                      <a:pt x="1330" y="234"/>
                    </a:lnTo>
                    <a:lnTo>
                      <a:pt x="1383" y="302"/>
                    </a:lnTo>
                    <a:lnTo>
                      <a:pt x="1441" y="300"/>
                    </a:lnTo>
                    <a:lnTo>
                      <a:pt x="1474" y="331"/>
                    </a:lnTo>
                    <a:lnTo>
                      <a:pt x="1628" y="323"/>
                    </a:lnTo>
                    <a:lnTo>
                      <a:pt x="1622" y="302"/>
                    </a:lnTo>
                    <a:lnTo>
                      <a:pt x="1668" y="342"/>
                    </a:lnTo>
                    <a:lnTo>
                      <a:pt x="1674" y="310"/>
                    </a:lnTo>
                    <a:lnTo>
                      <a:pt x="1639" y="321"/>
                    </a:lnTo>
                    <a:lnTo>
                      <a:pt x="1614" y="279"/>
                    </a:lnTo>
                    <a:lnTo>
                      <a:pt x="1672" y="275"/>
                    </a:lnTo>
                    <a:lnTo>
                      <a:pt x="1691" y="306"/>
                    </a:lnTo>
                    <a:lnTo>
                      <a:pt x="1714" y="296"/>
                    </a:lnTo>
                    <a:lnTo>
                      <a:pt x="1706" y="345"/>
                    </a:lnTo>
                    <a:lnTo>
                      <a:pt x="1746" y="369"/>
                    </a:lnTo>
                    <a:lnTo>
                      <a:pt x="1734" y="302"/>
                    </a:lnTo>
                    <a:lnTo>
                      <a:pt x="1810" y="262"/>
                    </a:lnTo>
                    <a:lnTo>
                      <a:pt x="1790" y="231"/>
                    </a:lnTo>
                    <a:lnTo>
                      <a:pt x="1768" y="253"/>
                    </a:lnTo>
                    <a:lnTo>
                      <a:pt x="1808" y="196"/>
                    </a:lnTo>
                    <a:lnTo>
                      <a:pt x="1696" y="154"/>
                    </a:lnTo>
                    <a:lnTo>
                      <a:pt x="1707" y="55"/>
                    </a:lnTo>
                    <a:lnTo>
                      <a:pt x="1734" y="57"/>
                    </a:lnTo>
                    <a:lnTo>
                      <a:pt x="1752" y="0"/>
                    </a:lnTo>
                    <a:lnTo>
                      <a:pt x="1832" y="55"/>
                    </a:lnTo>
                    <a:lnTo>
                      <a:pt x="1834" y="92"/>
                    </a:lnTo>
                    <a:lnTo>
                      <a:pt x="1891" y="143"/>
                    </a:lnTo>
                    <a:lnTo>
                      <a:pt x="1853" y="142"/>
                    </a:lnTo>
                    <a:lnTo>
                      <a:pt x="1869" y="160"/>
                    </a:lnTo>
                    <a:lnTo>
                      <a:pt x="1847" y="181"/>
                    </a:lnTo>
                    <a:lnTo>
                      <a:pt x="1913" y="196"/>
                    </a:lnTo>
                    <a:lnTo>
                      <a:pt x="1896" y="207"/>
                    </a:lnTo>
                    <a:lnTo>
                      <a:pt x="1935" y="291"/>
                    </a:lnTo>
                    <a:lnTo>
                      <a:pt x="1971" y="216"/>
                    </a:lnTo>
                    <a:lnTo>
                      <a:pt x="2017" y="243"/>
                    </a:lnTo>
                    <a:lnTo>
                      <a:pt x="2029" y="295"/>
                    </a:lnTo>
                    <a:lnTo>
                      <a:pt x="2007" y="310"/>
                    </a:lnTo>
                    <a:lnTo>
                      <a:pt x="2051" y="369"/>
                    </a:lnTo>
                    <a:lnTo>
                      <a:pt x="2077" y="356"/>
                    </a:lnTo>
                    <a:lnTo>
                      <a:pt x="2112" y="261"/>
                    </a:lnTo>
                    <a:lnTo>
                      <a:pt x="2152" y="252"/>
                    </a:lnTo>
                    <a:lnTo>
                      <a:pt x="2122" y="172"/>
                    </a:lnTo>
                    <a:lnTo>
                      <a:pt x="2229" y="180"/>
                    </a:lnTo>
                    <a:lnTo>
                      <a:pt x="2276" y="226"/>
                    </a:lnTo>
                    <a:lnTo>
                      <a:pt x="2258" y="249"/>
                    </a:lnTo>
                    <a:lnTo>
                      <a:pt x="2280" y="261"/>
                    </a:lnTo>
                    <a:lnTo>
                      <a:pt x="2230" y="276"/>
                    </a:lnTo>
                    <a:lnTo>
                      <a:pt x="2274" y="379"/>
                    </a:lnTo>
                    <a:lnTo>
                      <a:pt x="2203" y="431"/>
                    </a:lnTo>
                    <a:lnTo>
                      <a:pt x="2176" y="408"/>
                    </a:lnTo>
                    <a:lnTo>
                      <a:pt x="2186" y="444"/>
                    </a:lnTo>
                    <a:lnTo>
                      <a:pt x="2078" y="419"/>
                    </a:lnTo>
                    <a:lnTo>
                      <a:pt x="2101" y="453"/>
                    </a:lnTo>
                    <a:lnTo>
                      <a:pt x="2060" y="504"/>
                    </a:lnTo>
                    <a:lnTo>
                      <a:pt x="1945" y="464"/>
                    </a:lnTo>
                    <a:lnTo>
                      <a:pt x="1987" y="507"/>
                    </a:lnTo>
                    <a:lnTo>
                      <a:pt x="2067" y="515"/>
                    </a:lnTo>
                    <a:lnTo>
                      <a:pt x="2012" y="599"/>
                    </a:lnTo>
                    <a:lnTo>
                      <a:pt x="1953" y="595"/>
                    </a:lnTo>
                    <a:lnTo>
                      <a:pt x="1924" y="640"/>
                    </a:lnTo>
                    <a:lnTo>
                      <a:pt x="1818" y="603"/>
                    </a:lnTo>
                    <a:lnTo>
                      <a:pt x="1913" y="640"/>
                    </a:lnTo>
                    <a:lnTo>
                      <a:pt x="1928" y="675"/>
                    </a:lnTo>
                    <a:lnTo>
                      <a:pt x="1853" y="688"/>
                    </a:lnTo>
                    <a:lnTo>
                      <a:pt x="1869" y="698"/>
                    </a:lnTo>
                    <a:lnTo>
                      <a:pt x="1848" y="701"/>
                    </a:lnTo>
                    <a:lnTo>
                      <a:pt x="1848" y="736"/>
                    </a:lnTo>
                    <a:lnTo>
                      <a:pt x="1769" y="783"/>
                    </a:lnTo>
                    <a:lnTo>
                      <a:pt x="1757" y="937"/>
                    </a:lnTo>
                    <a:lnTo>
                      <a:pt x="1785" y="973"/>
                    </a:lnTo>
                    <a:lnTo>
                      <a:pt x="1826" y="952"/>
                    </a:lnTo>
                    <a:lnTo>
                      <a:pt x="1846" y="1070"/>
                    </a:lnTo>
                    <a:lnTo>
                      <a:pt x="1905" y="1047"/>
                    </a:lnTo>
                    <a:lnTo>
                      <a:pt x="1978" y="1079"/>
                    </a:lnTo>
                    <a:lnTo>
                      <a:pt x="2123" y="1166"/>
                    </a:lnTo>
                    <a:lnTo>
                      <a:pt x="2112" y="1200"/>
                    </a:lnTo>
                    <a:lnTo>
                      <a:pt x="2128" y="1175"/>
                    </a:lnTo>
                    <a:lnTo>
                      <a:pt x="2238" y="1184"/>
                    </a:lnTo>
                    <a:lnTo>
                      <a:pt x="2238" y="1311"/>
                    </a:lnTo>
                    <a:lnTo>
                      <a:pt x="2271" y="1355"/>
                    </a:lnTo>
                    <a:lnTo>
                      <a:pt x="2248" y="1365"/>
                    </a:lnTo>
                    <a:lnTo>
                      <a:pt x="2302" y="1388"/>
                    </a:lnTo>
                    <a:lnTo>
                      <a:pt x="2287" y="1428"/>
                    </a:lnTo>
                    <a:lnTo>
                      <a:pt x="2341" y="1426"/>
                    </a:lnTo>
                    <a:lnTo>
                      <a:pt x="2412" y="1358"/>
                    </a:lnTo>
                    <a:lnTo>
                      <a:pt x="2379" y="1342"/>
                    </a:lnTo>
                    <a:lnTo>
                      <a:pt x="2341" y="1219"/>
                    </a:lnTo>
                    <a:lnTo>
                      <a:pt x="2474" y="1112"/>
                    </a:lnTo>
                    <a:lnTo>
                      <a:pt x="2456" y="1112"/>
                    </a:lnTo>
                    <a:lnTo>
                      <a:pt x="2424" y="985"/>
                    </a:lnTo>
                    <a:lnTo>
                      <a:pt x="2375" y="952"/>
                    </a:lnTo>
                    <a:lnTo>
                      <a:pt x="2440" y="899"/>
                    </a:lnTo>
                    <a:lnTo>
                      <a:pt x="2418" y="871"/>
                    </a:lnTo>
                    <a:lnTo>
                      <a:pt x="2426" y="825"/>
                    </a:lnTo>
                    <a:lnTo>
                      <a:pt x="2401" y="818"/>
                    </a:lnTo>
                    <a:lnTo>
                      <a:pt x="2426" y="772"/>
                    </a:lnTo>
                    <a:lnTo>
                      <a:pt x="2397" y="741"/>
                    </a:lnTo>
                    <a:lnTo>
                      <a:pt x="2416" y="702"/>
                    </a:lnTo>
                    <a:lnTo>
                      <a:pt x="2516" y="729"/>
                    </a:lnTo>
                    <a:lnTo>
                      <a:pt x="2563" y="706"/>
                    </a:lnTo>
                    <a:lnTo>
                      <a:pt x="2652" y="772"/>
                    </a:lnTo>
                    <a:lnTo>
                      <a:pt x="2652" y="799"/>
                    </a:lnTo>
                    <a:lnTo>
                      <a:pt x="2726" y="803"/>
                    </a:lnTo>
                    <a:lnTo>
                      <a:pt x="2733" y="867"/>
                    </a:lnTo>
                    <a:lnTo>
                      <a:pt x="2666" y="870"/>
                    </a:lnTo>
                    <a:lnTo>
                      <a:pt x="2724" y="881"/>
                    </a:lnTo>
                    <a:lnTo>
                      <a:pt x="2743" y="918"/>
                    </a:lnTo>
                    <a:lnTo>
                      <a:pt x="2681" y="974"/>
                    </a:lnTo>
                    <a:lnTo>
                      <a:pt x="2770" y="947"/>
                    </a:lnTo>
                    <a:lnTo>
                      <a:pt x="2775" y="994"/>
                    </a:lnTo>
                    <a:lnTo>
                      <a:pt x="2736" y="1013"/>
                    </a:lnTo>
                    <a:lnTo>
                      <a:pt x="2792" y="964"/>
                    </a:lnTo>
                    <a:lnTo>
                      <a:pt x="2797" y="996"/>
                    </a:lnTo>
                    <a:lnTo>
                      <a:pt x="2849" y="950"/>
                    </a:lnTo>
                    <a:lnTo>
                      <a:pt x="2860" y="974"/>
                    </a:lnTo>
                    <a:lnTo>
                      <a:pt x="2894" y="906"/>
                    </a:lnTo>
                    <a:lnTo>
                      <a:pt x="2880" y="893"/>
                    </a:lnTo>
                    <a:lnTo>
                      <a:pt x="2922" y="855"/>
                    </a:lnTo>
                    <a:lnTo>
                      <a:pt x="2969" y="927"/>
                    </a:lnTo>
                    <a:lnTo>
                      <a:pt x="2928" y="943"/>
                    </a:lnTo>
                    <a:lnTo>
                      <a:pt x="2974" y="935"/>
                    </a:lnTo>
                    <a:lnTo>
                      <a:pt x="2989" y="963"/>
                    </a:lnTo>
                    <a:lnTo>
                      <a:pt x="2959" y="973"/>
                    </a:lnTo>
                    <a:lnTo>
                      <a:pt x="2997" y="978"/>
                    </a:lnTo>
                    <a:lnTo>
                      <a:pt x="2974" y="998"/>
                    </a:lnTo>
                    <a:lnTo>
                      <a:pt x="2998" y="994"/>
                    </a:lnTo>
                    <a:lnTo>
                      <a:pt x="3019" y="1024"/>
                    </a:lnTo>
                    <a:lnTo>
                      <a:pt x="3006" y="1040"/>
                    </a:lnTo>
                    <a:lnTo>
                      <a:pt x="3042" y="1066"/>
                    </a:lnTo>
                    <a:lnTo>
                      <a:pt x="2983" y="1092"/>
                    </a:lnTo>
                    <a:lnTo>
                      <a:pt x="3025" y="1092"/>
                    </a:lnTo>
                    <a:lnTo>
                      <a:pt x="3017" y="1116"/>
                    </a:lnTo>
                    <a:lnTo>
                      <a:pt x="3082" y="1140"/>
                    </a:lnTo>
                    <a:lnTo>
                      <a:pt x="3104" y="1198"/>
                    </a:lnTo>
                    <a:lnTo>
                      <a:pt x="3130" y="1177"/>
                    </a:lnTo>
                    <a:lnTo>
                      <a:pt x="3193" y="1216"/>
                    </a:lnTo>
                    <a:lnTo>
                      <a:pt x="3053" y="1267"/>
                    </a:lnTo>
                    <a:lnTo>
                      <a:pt x="3082" y="1296"/>
                    </a:lnTo>
                    <a:lnTo>
                      <a:pt x="3199" y="1238"/>
                    </a:lnTo>
                    <a:lnTo>
                      <a:pt x="3199" y="1286"/>
                    </a:lnTo>
                    <a:lnTo>
                      <a:pt x="3255" y="1278"/>
                    </a:lnTo>
                    <a:lnTo>
                      <a:pt x="3259" y="1301"/>
                    </a:lnTo>
                    <a:lnTo>
                      <a:pt x="3235" y="1301"/>
                    </a:lnTo>
                    <a:lnTo>
                      <a:pt x="3259" y="1361"/>
                    </a:lnTo>
                    <a:lnTo>
                      <a:pt x="3092" y="1473"/>
                    </a:lnTo>
                    <a:lnTo>
                      <a:pt x="2857" y="1473"/>
                    </a:lnTo>
                    <a:lnTo>
                      <a:pt x="2754" y="1551"/>
                    </a:lnTo>
                    <a:lnTo>
                      <a:pt x="2671" y="1665"/>
                    </a:lnTo>
                    <a:lnTo>
                      <a:pt x="2754" y="1577"/>
                    </a:lnTo>
                    <a:lnTo>
                      <a:pt x="2882" y="1528"/>
                    </a:lnTo>
                    <a:lnTo>
                      <a:pt x="2928" y="1566"/>
                    </a:lnTo>
                    <a:lnTo>
                      <a:pt x="2844" y="1599"/>
                    </a:lnTo>
                    <a:lnTo>
                      <a:pt x="2914" y="1614"/>
                    </a:lnTo>
                    <a:lnTo>
                      <a:pt x="2894" y="1649"/>
                    </a:lnTo>
                    <a:lnTo>
                      <a:pt x="2945" y="1714"/>
                    </a:lnTo>
                    <a:lnTo>
                      <a:pt x="3046" y="1737"/>
                    </a:lnTo>
                    <a:lnTo>
                      <a:pt x="3076" y="1656"/>
                    </a:lnTo>
                    <a:lnTo>
                      <a:pt x="3076" y="1707"/>
                    </a:lnTo>
                    <a:lnTo>
                      <a:pt x="3098" y="1700"/>
                    </a:lnTo>
                    <a:lnTo>
                      <a:pt x="3052" y="1750"/>
                    </a:lnTo>
                    <a:lnTo>
                      <a:pt x="2934" y="1785"/>
                    </a:lnTo>
                    <a:lnTo>
                      <a:pt x="2890" y="1848"/>
                    </a:lnTo>
                    <a:lnTo>
                      <a:pt x="2860" y="1794"/>
                    </a:lnTo>
                    <a:lnTo>
                      <a:pt x="2973" y="1746"/>
                    </a:lnTo>
                    <a:lnTo>
                      <a:pt x="2914" y="1749"/>
                    </a:lnTo>
                    <a:lnTo>
                      <a:pt x="2922" y="1714"/>
                    </a:lnTo>
                    <a:lnTo>
                      <a:pt x="2826" y="1753"/>
                    </a:lnTo>
                    <a:lnTo>
                      <a:pt x="2797" y="1729"/>
                    </a:lnTo>
                    <a:lnTo>
                      <a:pt x="2797" y="1656"/>
                    </a:lnTo>
                    <a:lnTo>
                      <a:pt x="2735" y="1634"/>
                    </a:lnTo>
                    <a:lnTo>
                      <a:pt x="2687" y="1750"/>
                    </a:lnTo>
                    <a:lnTo>
                      <a:pt x="2493" y="1794"/>
                    </a:lnTo>
                    <a:lnTo>
                      <a:pt x="2358" y="1838"/>
                    </a:lnTo>
                    <a:lnTo>
                      <a:pt x="2339" y="1860"/>
                    </a:lnTo>
                    <a:lnTo>
                      <a:pt x="2366" y="1865"/>
                    </a:lnTo>
                    <a:lnTo>
                      <a:pt x="2373" y="1883"/>
                    </a:lnTo>
                    <a:lnTo>
                      <a:pt x="2210" y="1930"/>
                    </a:lnTo>
                    <a:lnTo>
                      <a:pt x="2218" y="1907"/>
                    </a:lnTo>
                    <a:lnTo>
                      <a:pt x="2230" y="1892"/>
                    </a:lnTo>
                    <a:lnTo>
                      <a:pt x="2237" y="1871"/>
                    </a:lnTo>
                    <a:lnTo>
                      <a:pt x="2263" y="1853"/>
                    </a:lnTo>
                    <a:lnTo>
                      <a:pt x="2265" y="1750"/>
                    </a:lnTo>
                    <a:lnTo>
                      <a:pt x="2296" y="1785"/>
                    </a:lnTo>
                    <a:lnTo>
                      <a:pt x="2342" y="1772"/>
                    </a:lnTo>
                    <a:lnTo>
                      <a:pt x="2300" y="1714"/>
                    </a:lnTo>
                    <a:lnTo>
                      <a:pt x="2162" y="1684"/>
                    </a:lnTo>
                    <a:lnTo>
                      <a:pt x="2155" y="1684"/>
                    </a:lnTo>
                    <a:lnTo>
                      <a:pt x="2139" y="1602"/>
                    </a:lnTo>
                    <a:lnTo>
                      <a:pt x="2112" y="1607"/>
                    </a:lnTo>
                    <a:lnTo>
                      <a:pt x="2088" y="1560"/>
                    </a:lnTo>
                    <a:lnTo>
                      <a:pt x="2060" y="1557"/>
                    </a:lnTo>
                    <a:lnTo>
                      <a:pt x="2060" y="1584"/>
                    </a:lnTo>
                    <a:lnTo>
                      <a:pt x="2020" y="1545"/>
                    </a:lnTo>
                    <a:lnTo>
                      <a:pt x="1956" y="1602"/>
                    </a:lnTo>
                    <a:lnTo>
                      <a:pt x="1773" y="1560"/>
                    </a:lnTo>
                    <a:lnTo>
                      <a:pt x="1753" y="1520"/>
                    </a:lnTo>
                    <a:lnTo>
                      <a:pt x="1752" y="1546"/>
                    </a:lnTo>
                    <a:lnTo>
                      <a:pt x="698" y="1546"/>
                    </a:lnTo>
                    <a:lnTo>
                      <a:pt x="682" y="1501"/>
                    </a:lnTo>
                    <a:lnTo>
                      <a:pt x="626" y="1488"/>
                    </a:lnTo>
                    <a:lnTo>
                      <a:pt x="629" y="1459"/>
                    </a:lnTo>
                    <a:lnTo>
                      <a:pt x="511" y="1422"/>
                    </a:lnTo>
                    <a:lnTo>
                      <a:pt x="525" y="1400"/>
                    </a:lnTo>
                    <a:lnTo>
                      <a:pt x="496" y="1346"/>
                    </a:lnTo>
                    <a:lnTo>
                      <a:pt x="466" y="1342"/>
                    </a:lnTo>
                    <a:lnTo>
                      <a:pt x="403" y="1225"/>
                    </a:lnTo>
                    <a:lnTo>
                      <a:pt x="415" y="1189"/>
                    </a:lnTo>
                    <a:lnTo>
                      <a:pt x="418" y="1127"/>
                    </a:lnTo>
                    <a:lnTo>
                      <a:pt x="347" y="1092"/>
                    </a:lnTo>
                    <a:lnTo>
                      <a:pt x="210" y="887"/>
                    </a:lnTo>
                    <a:lnTo>
                      <a:pt x="135" y="945"/>
                    </a:lnTo>
                    <a:lnTo>
                      <a:pt x="112" y="917"/>
                    </a:lnTo>
                    <a:lnTo>
                      <a:pt x="107" y="912"/>
                    </a:lnTo>
                    <a:lnTo>
                      <a:pt x="72" y="855"/>
                    </a:lnTo>
                    <a:lnTo>
                      <a:pt x="0" y="85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5" name="Freeform 257"/>
              <p:cNvSpPr/>
              <p:nvPr/>
            </p:nvSpPr>
            <p:spPr bwMode="auto">
              <a:xfrm>
                <a:off x="1569" y="2386"/>
                <a:ext cx="54" cy="36"/>
              </a:xfrm>
              <a:custGeom>
                <a:avLst/>
                <a:gdLst>
                  <a:gd name="T0" fmla="*/ 0 w 191"/>
                  <a:gd name="T1" fmla="*/ 0 h 128"/>
                  <a:gd name="T2" fmla="*/ 2 w 191"/>
                  <a:gd name="T3" fmla="*/ 1 h 128"/>
                  <a:gd name="T4" fmla="*/ 4 w 191"/>
                  <a:gd name="T5" fmla="*/ 3 h 128"/>
                  <a:gd name="T6" fmla="*/ 3 w 191"/>
                  <a:gd name="T7" fmla="*/ 3 h 128"/>
                  <a:gd name="T8" fmla="*/ 0 w 191"/>
                  <a:gd name="T9" fmla="*/ 0 h 128"/>
                  <a:gd name="T10" fmla="*/ 0 60000 65536"/>
                  <a:gd name="T11" fmla="*/ 0 60000 65536"/>
                  <a:gd name="T12" fmla="*/ 0 60000 65536"/>
                  <a:gd name="T13" fmla="*/ 0 60000 65536"/>
                  <a:gd name="T14" fmla="*/ 0 60000 65536"/>
                  <a:gd name="T15" fmla="*/ 0 w 191"/>
                  <a:gd name="T16" fmla="*/ 0 h 128"/>
                  <a:gd name="T17" fmla="*/ 191 w 191"/>
                  <a:gd name="T18" fmla="*/ 128 h 128"/>
                </a:gdLst>
                <a:ahLst/>
                <a:cxnLst>
                  <a:cxn ang="T10">
                    <a:pos x="T0" y="T1"/>
                  </a:cxn>
                  <a:cxn ang="T11">
                    <a:pos x="T2" y="T3"/>
                  </a:cxn>
                  <a:cxn ang="T12">
                    <a:pos x="T4" y="T5"/>
                  </a:cxn>
                  <a:cxn ang="T13">
                    <a:pos x="T6" y="T7"/>
                  </a:cxn>
                  <a:cxn ang="T14">
                    <a:pos x="T8" y="T9"/>
                  </a:cxn>
                </a:cxnLst>
                <a:rect l="T15" t="T16" r="T17" b="T18"/>
                <a:pathLst>
                  <a:path w="191" h="128">
                    <a:moveTo>
                      <a:pt x="0" y="0"/>
                    </a:moveTo>
                    <a:lnTo>
                      <a:pt x="103" y="27"/>
                    </a:lnTo>
                    <a:lnTo>
                      <a:pt x="191" y="128"/>
                    </a:lnTo>
                    <a:lnTo>
                      <a:pt x="140" y="109"/>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6" name="Freeform 258"/>
              <p:cNvSpPr/>
              <p:nvPr/>
            </p:nvSpPr>
            <p:spPr bwMode="auto">
              <a:xfrm>
                <a:off x="1594" y="1911"/>
                <a:ext cx="114" cy="83"/>
              </a:xfrm>
              <a:custGeom>
                <a:avLst/>
                <a:gdLst>
                  <a:gd name="T0" fmla="*/ 0 w 399"/>
                  <a:gd name="T1" fmla="*/ 5 h 289"/>
                  <a:gd name="T2" fmla="*/ 0 w 399"/>
                  <a:gd name="T3" fmla="*/ 4 h 289"/>
                  <a:gd name="T4" fmla="*/ 2 w 399"/>
                  <a:gd name="T5" fmla="*/ 1 h 289"/>
                  <a:gd name="T6" fmla="*/ 1 w 399"/>
                  <a:gd name="T7" fmla="*/ 0 h 289"/>
                  <a:gd name="T8" fmla="*/ 4 w 399"/>
                  <a:gd name="T9" fmla="*/ 0 h 289"/>
                  <a:gd name="T10" fmla="*/ 6 w 399"/>
                  <a:gd name="T11" fmla="*/ 1 h 289"/>
                  <a:gd name="T12" fmla="*/ 7 w 399"/>
                  <a:gd name="T13" fmla="*/ 1 h 289"/>
                  <a:gd name="T14" fmla="*/ 9 w 399"/>
                  <a:gd name="T15" fmla="*/ 2 h 289"/>
                  <a:gd name="T16" fmla="*/ 5 w 399"/>
                  <a:gd name="T17" fmla="*/ 5 h 289"/>
                  <a:gd name="T18" fmla="*/ 5 w 399"/>
                  <a:gd name="T19" fmla="*/ 6 h 289"/>
                  <a:gd name="T20" fmla="*/ 3 w 399"/>
                  <a:gd name="T21" fmla="*/ 7 h 289"/>
                  <a:gd name="T22" fmla="*/ 2 w 399"/>
                  <a:gd name="T23" fmla="*/ 6 h 289"/>
                  <a:gd name="T24" fmla="*/ 0 w 399"/>
                  <a:gd name="T25" fmla="*/ 5 h 2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9"/>
                  <a:gd name="T40" fmla="*/ 0 h 289"/>
                  <a:gd name="T41" fmla="*/ 399 w 399"/>
                  <a:gd name="T42" fmla="*/ 289 h 2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9" h="289">
                    <a:moveTo>
                      <a:pt x="0" y="220"/>
                    </a:moveTo>
                    <a:lnTo>
                      <a:pt x="15" y="182"/>
                    </a:lnTo>
                    <a:lnTo>
                      <a:pt x="76" y="63"/>
                    </a:lnTo>
                    <a:lnTo>
                      <a:pt x="47" y="11"/>
                    </a:lnTo>
                    <a:lnTo>
                      <a:pt x="171" y="0"/>
                    </a:lnTo>
                    <a:lnTo>
                      <a:pt x="257" y="48"/>
                    </a:lnTo>
                    <a:lnTo>
                      <a:pt x="312" y="21"/>
                    </a:lnTo>
                    <a:lnTo>
                      <a:pt x="399" y="88"/>
                    </a:lnTo>
                    <a:lnTo>
                      <a:pt x="217" y="195"/>
                    </a:lnTo>
                    <a:lnTo>
                      <a:pt x="200" y="259"/>
                    </a:lnTo>
                    <a:lnTo>
                      <a:pt x="112" y="289"/>
                    </a:lnTo>
                    <a:lnTo>
                      <a:pt x="70" y="239"/>
                    </a:lnTo>
                    <a:lnTo>
                      <a:pt x="0" y="22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7" name="Freeform 259"/>
              <p:cNvSpPr/>
              <p:nvPr/>
            </p:nvSpPr>
            <p:spPr bwMode="auto">
              <a:xfrm>
                <a:off x="1628" y="1835"/>
                <a:ext cx="79" cy="46"/>
              </a:xfrm>
              <a:custGeom>
                <a:avLst/>
                <a:gdLst>
                  <a:gd name="T0" fmla="*/ 0 w 279"/>
                  <a:gd name="T1" fmla="*/ 3 h 161"/>
                  <a:gd name="T2" fmla="*/ 1 w 279"/>
                  <a:gd name="T3" fmla="*/ 3 h 161"/>
                  <a:gd name="T4" fmla="*/ 2 w 279"/>
                  <a:gd name="T5" fmla="*/ 3 h 161"/>
                  <a:gd name="T6" fmla="*/ 2 w 279"/>
                  <a:gd name="T7" fmla="*/ 4 h 161"/>
                  <a:gd name="T8" fmla="*/ 3 w 279"/>
                  <a:gd name="T9" fmla="*/ 3 h 161"/>
                  <a:gd name="T10" fmla="*/ 3 w 279"/>
                  <a:gd name="T11" fmla="*/ 3 h 161"/>
                  <a:gd name="T12" fmla="*/ 3 w 279"/>
                  <a:gd name="T13" fmla="*/ 3 h 161"/>
                  <a:gd name="T14" fmla="*/ 4 w 279"/>
                  <a:gd name="T15" fmla="*/ 2 h 161"/>
                  <a:gd name="T16" fmla="*/ 4 w 279"/>
                  <a:gd name="T17" fmla="*/ 1 h 161"/>
                  <a:gd name="T18" fmla="*/ 5 w 279"/>
                  <a:gd name="T19" fmla="*/ 3 h 161"/>
                  <a:gd name="T20" fmla="*/ 6 w 279"/>
                  <a:gd name="T21" fmla="*/ 2 h 161"/>
                  <a:gd name="T22" fmla="*/ 5 w 279"/>
                  <a:gd name="T23" fmla="*/ 1 h 161"/>
                  <a:gd name="T24" fmla="*/ 6 w 279"/>
                  <a:gd name="T25" fmla="*/ 1 h 161"/>
                  <a:gd name="T26" fmla="*/ 5 w 279"/>
                  <a:gd name="T27" fmla="*/ 0 h 161"/>
                  <a:gd name="T28" fmla="*/ 3 w 279"/>
                  <a:gd name="T29" fmla="*/ 1 h 161"/>
                  <a:gd name="T30" fmla="*/ 0 w 279"/>
                  <a:gd name="T31" fmla="*/ 3 h 1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61"/>
                  <a:gd name="T50" fmla="*/ 279 w 279"/>
                  <a:gd name="T51" fmla="*/ 161 h 1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61">
                    <a:moveTo>
                      <a:pt x="0" y="125"/>
                    </a:moveTo>
                    <a:lnTo>
                      <a:pt x="62" y="148"/>
                    </a:lnTo>
                    <a:lnTo>
                      <a:pt x="78" y="122"/>
                    </a:lnTo>
                    <a:lnTo>
                      <a:pt x="93" y="161"/>
                    </a:lnTo>
                    <a:lnTo>
                      <a:pt x="122" y="146"/>
                    </a:lnTo>
                    <a:lnTo>
                      <a:pt x="116" y="108"/>
                    </a:lnTo>
                    <a:lnTo>
                      <a:pt x="147" y="130"/>
                    </a:lnTo>
                    <a:lnTo>
                      <a:pt x="164" y="72"/>
                    </a:lnTo>
                    <a:lnTo>
                      <a:pt x="189" y="67"/>
                    </a:lnTo>
                    <a:lnTo>
                      <a:pt x="198" y="121"/>
                    </a:lnTo>
                    <a:lnTo>
                      <a:pt x="258" y="80"/>
                    </a:lnTo>
                    <a:lnTo>
                      <a:pt x="241" y="33"/>
                    </a:lnTo>
                    <a:lnTo>
                      <a:pt x="279" y="23"/>
                    </a:lnTo>
                    <a:lnTo>
                      <a:pt x="240" y="0"/>
                    </a:lnTo>
                    <a:lnTo>
                      <a:pt x="136" y="23"/>
                    </a:lnTo>
                    <a:lnTo>
                      <a:pt x="0" y="12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8" name="Freeform 260"/>
              <p:cNvSpPr/>
              <p:nvPr/>
            </p:nvSpPr>
            <p:spPr bwMode="auto">
              <a:xfrm>
                <a:off x="1670" y="1941"/>
                <a:ext cx="195" cy="112"/>
              </a:xfrm>
              <a:custGeom>
                <a:avLst/>
                <a:gdLst>
                  <a:gd name="T0" fmla="*/ 0 w 688"/>
                  <a:gd name="T1" fmla="*/ 3 h 394"/>
                  <a:gd name="T2" fmla="*/ 1 w 688"/>
                  <a:gd name="T3" fmla="*/ 2 h 394"/>
                  <a:gd name="T4" fmla="*/ 0 w 688"/>
                  <a:gd name="T5" fmla="*/ 2 h 394"/>
                  <a:gd name="T6" fmla="*/ 2 w 688"/>
                  <a:gd name="T7" fmla="*/ 1 h 394"/>
                  <a:gd name="T8" fmla="*/ 4 w 688"/>
                  <a:gd name="T9" fmla="*/ 0 h 394"/>
                  <a:gd name="T10" fmla="*/ 4 w 688"/>
                  <a:gd name="T11" fmla="*/ 1 h 394"/>
                  <a:gd name="T12" fmla="*/ 4 w 688"/>
                  <a:gd name="T13" fmla="*/ 1 h 394"/>
                  <a:gd name="T14" fmla="*/ 5 w 688"/>
                  <a:gd name="T15" fmla="*/ 1 h 394"/>
                  <a:gd name="T16" fmla="*/ 7 w 688"/>
                  <a:gd name="T17" fmla="*/ 1 h 394"/>
                  <a:gd name="T18" fmla="*/ 6 w 688"/>
                  <a:gd name="T19" fmla="*/ 2 h 394"/>
                  <a:gd name="T20" fmla="*/ 8 w 688"/>
                  <a:gd name="T21" fmla="*/ 2 h 394"/>
                  <a:gd name="T22" fmla="*/ 7 w 688"/>
                  <a:gd name="T23" fmla="*/ 1 h 394"/>
                  <a:gd name="T24" fmla="*/ 8 w 688"/>
                  <a:gd name="T25" fmla="*/ 1 h 394"/>
                  <a:gd name="T26" fmla="*/ 9 w 688"/>
                  <a:gd name="T27" fmla="*/ 3 h 394"/>
                  <a:gd name="T28" fmla="*/ 10 w 688"/>
                  <a:gd name="T29" fmla="*/ 3 h 394"/>
                  <a:gd name="T30" fmla="*/ 9 w 688"/>
                  <a:gd name="T31" fmla="*/ 0 h 394"/>
                  <a:gd name="T32" fmla="*/ 10 w 688"/>
                  <a:gd name="T33" fmla="*/ 0 h 394"/>
                  <a:gd name="T34" fmla="*/ 12 w 688"/>
                  <a:gd name="T35" fmla="*/ 1 h 394"/>
                  <a:gd name="T36" fmla="*/ 12 w 688"/>
                  <a:gd name="T37" fmla="*/ 4 h 394"/>
                  <a:gd name="T38" fmla="*/ 16 w 688"/>
                  <a:gd name="T39" fmla="*/ 6 h 394"/>
                  <a:gd name="T40" fmla="*/ 16 w 688"/>
                  <a:gd name="T41" fmla="*/ 7 h 394"/>
                  <a:gd name="T42" fmla="*/ 15 w 688"/>
                  <a:gd name="T43" fmla="*/ 7 h 394"/>
                  <a:gd name="T44" fmla="*/ 14 w 688"/>
                  <a:gd name="T45" fmla="*/ 7 h 394"/>
                  <a:gd name="T46" fmla="*/ 15 w 688"/>
                  <a:gd name="T47" fmla="*/ 8 h 394"/>
                  <a:gd name="T48" fmla="*/ 14 w 688"/>
                  <a:gd name="T49" fmla="*/ 9 h 394"/>
                  <a:gd name="T50" fmla="*/ 12 w 688"/>
                  <a:gd name="T51" fmla="*/ 8 h 394"/>
                  <a:gd name="T52" fmla="*/ 11 w 688"/>
                  <a:gd name="T53" fmla="*/ 7 h 394"/>
                  <a:gd name="T54" fmla="*/ 8 w 688"/>
                  <a:gd name="T55" fmla="*/ 9 h 394"/>
                  <a:gd name="T56" fmla="*/ 5 w 688"/>
                  <a:gd name="T57" fmla="*/ 9 h 394"/>
                  <a:gd name="T58" fmla="*/ 4 w 688"/>
                  <a:gd name="T59" fmla="*/ 8 h 394"/>
                  <a:gd name="T60" fmla="*/ 3 w 688"/>
                  <a:gd name="T61" fmla="*/ 8 h 394"/>
                  <a:gd name="T62" fmla="*/ 1 w 688"/>
                  <a:gd name="T63" fmla="*/ 6 h 394"/>
                  <a:gd name="T64" fmla="*/ 6 w 688"/>
                  <a:gd name="T65" fmla="*/ 6 h 394"/>
                  <a:gd name="T66" fmla="*/ 1 w 688"/>
                  <a:gd name="T67" fmla="*/ 5 h 394"/>
                  <a:gd name="T68" fmla="*/ 1 w 688"/>
                  <a:gd name="T69" fmla="*/ 5 h 394"/>
                  <a:gd name="T70" fmla="*/ 3 w 688"/>
                  <a:gd name="T71" fmla="*/ 4 h 394"/>
                  <a:gd name="T72" fmla="*/ 1 w 688"/>
                  <a:gd name="T73" fmla="*/ 4 h 394"/>
                  <a:gd name="T74" fmla="*/ 1 w 688"/>
                  <a:gd name="T75" fmla="*/ 3 h 394"/>
                  <a:gd name="T76" fmla="*/ 0 w 688"/>
                  <a:gd name="T77" fmla="*/ 3 h 39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88"/>
                  <a:gd name="T118" fmla="*/ 0 h 394"/>
                  <a:gd name="T119" fmla="*/ 688 w 688"/>
                  <a:gd name="T120" fmla="*/ 394 h 39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88" h="394">
                    <a:moveTo>
                      <a:pt x="0" y="128"/>
                    </a:moveTo>
                    <a:lnTo>
                      <a:pt x="37" y="96"/>
                    </a:lnTo>
                    <a:lnTo>
                      <a:pt x="17" y="80"/>
                    </a:lnTo>
                    <a:lnTo>
                      <a:pt x="101" y="23"/>
                    </a:lnTo>
                    <a:lnTo>
                      <a:pt x="168" y="0"/>
                    </a:lnTo>
                    <a:lnTo>
                      <a:pt x="189" y="40"/>
                    </a:lnTo>
                    <a:lnTo>
                      <a:pt x="166" y="65"/>
                    </a:lnTo>
                    <a:lnTo>
                      <a:pt x="226" y="32"/>
                    </a:lnTo>
                    <a:lnTo>
                      <a:pt x="296" y="59"/>
                    </a:lnTo>
                    <a:lnTo>
                      <a:pt x="268" y="88"/>
                    </a:lnTo>
                    <a:lnTo>
                      <a:pt x="349" y="69"/>
                    </a:lnTo>
                    <a:lnTo>
                      <a:pt x="326" y="35"/>
                    </a:lnTo>
                    <a:lnTo>
                      <a:pt x="356" y="39"/>
                    </a:lnTo>
                    <a:lnTo>
                      <a:pt x="416" y="146"/>
                    </a:lnTo>
                    <a:lnTo>
                      <a:pt x="439" y="120"/>
                    </a:lnTo>
                    <a:lnTo>
                      <a:pt x="414" y="4"/>
                    </a:lnTo>
                    <a:lnTo>
                      <a:pt x="466" y="5"/>
                    </a:lnTo>
                    <a:lnTo>
                      <a:pt x="521" y="47"/>
                    </a:lnTo>
                    <a:lnTo>
                      <a:pt x="552" y="191"/>
                    </a:lnTo>
                    <a:lnTo>
                      <a:pt x="688" y="261"/>
                    </a:lnTo>
                    <a:lnTo>
                      <a:pt x="686" y="299"/>
                    </a:lnTo>
                    <a:lnTo>
                      <a:pt x="651" y="283"/>
                    </a:lnTo>
                    <a:lnTo>
                      <a:pt x="609" y="308"/>
                    </a:lnTo>
                    <a:lnTo>
                      <a:pt x="665" y="341"/>
                    </a:lnTo>
                    <a:lnTo>
                      <a:pt x="612" y="371"/>
                    </a:lnTo>
                    <a:lnTo>
                      <a:pt x="525" y="354"/>
                    </a:lnTo>
                    <a:lnTo>
                      <a:pt x="476" y="315"/>
                    </a:lnTo>
                    <a:lnTo>
                      <a:pt x="359" y="380"/>
                    </a:lnTo>
                    <a:lnTo>
                      <a:pt x="218" y="394"/>
                    </a:lnTo>
                    <a:lnTo>
                      <a:pt x="189" y="333"/>
                    </a:lnTo>
                    <a:lnTo>
                      <a:pt x="111" y="329"/>
                    </a:lnTo>
                    <a:lnTo>
                      <a:pt x="60" y="274"/>
                    </a:lnTo>
                    <a:lnTo>
                      <a:pt x="263" y="242"/>
                    </a:lnTo>
                    <a:lnTo>
                      <a:pt x="53" y="226"/>
                    </a:lnTo>
                    <a:lnTo>
                      <a:pt x="28" y="192"/>
                    </a:lnTo>
                    <a:lnTo>
                      <a:pt x="134" y="157"/>
                    </a:lnTo>
                    <a:lnTo>
                      <a:pt x="37" y="164"/>
                    </a:lnTo>
                    <a:lnTo>
                      <a:pt x="42" y="146"/>
                    </a:lnTo>
                    <a:lnTo>
                      <a:pt x="0" y="12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9" name="Freeform 261"/>
              <p:cNvSpPr/>
              <p:nvPr/>
            </p:nvSpPr>
            <p:spPr bwMode="auto">
              <a:xfrm>
                <a:off x="1683" y="1853"/>
                <a:ext cx="134" cy="62"/>
              </a:xfrm>
              <a:custGeom>
                <a:avLst/>
                <a:gdLst>
                  <a:gd name="T0" fmla="*/ 0 w 468"/>
                  <a:gd name="T1" fmla="*/ 3 h 217"/>
                  <a:gd name="T2" fmla="*/ 0 w 468"/>
                  <a:gd name="T3" fmla="*/ 3 h 217"/>
                  <a:gd name="T4" fmla="*/ 2 w 468"/>
                  <a:gd name="T5" fmla="*/ 3 h 217"/>
                  <a:gd name="T6" fmla="*/ 0 w 468"/>
                  <a:gd name="T7" fmla="*/ 3 h 217"/>
                  <a:gd name="T8" fmla="*/ 3 w 468"/>
                  <a:gd name="T9" fmla="*/ 2 h 217"/>
                  <a:gd name="T10" fmla="*/ 1 w 468"/>
                  <a:gd name="T11" fmla="*/ 2 h 217"/>
                  <a:gd name="T12" fmla="*/ 1 w 468"/>
                  <a:gd name="T13" fmla="*/ 1 h 217"/>
                  <a:gd name="T14" fmla="*/ 3 w 468"/>
                  <a:gd name="T15" fmla="*/ 1 h 217"/>
                  <a:gd name="T16" fmla="*/ 1 w 468"/>
                  <a:gd name="T17" fmla="*/ 1 h 217"/>
                  <a:gd name="T18" fmla="*/ 3 w 468"/>
                  <a:gd name="T19" fmla="*/ 1 h 217"/>
                  <a:gd name="T20" fmla="*/ 5 w 468"/>
                  <a:gd name="T21" fmla="*/ 1 h 217"/>
                  <a:gd name="T22" fmla="*/ 6 w 468"/>
                  <a:gd name="T23" fmla="*/ 3 h 217"/>
                  <a:gd name="T24" fmla="*/ 8 w 468"/>
                  <a:gd name="T25" fmla="*/ 3 h 217"/>
                  <a:gd name="T26" fmla="*/ 7 w 468"/>
                  <a:gd name="T27" fmla="*/ 2 h 217"/>
                  <a:gd name="T28" fmla="*/ 7 w 468"/>
                  <a:gd name="T29" fmla="*/ 1 h 217"/>
                  <a:gd name="T30" fmla="*/ 7 w 468"/>
                  <a:gd name="T31" fmla="*/ 1 h 217"/>
                  <a:gd name="T32" fmla="*/ 8 w 468"/>
                  <a:gd name="T33" fmla="*/ 0 h 217"/>
                  <a:gd name="T34" fmla="*/ 9 w 468"/>
                  <a:gd name="T35" fmla="*/ 1 h 217"/>
                  <a:gd name="T36" fmla="*/ 8 w 468"/>
                  <a:gd name="T37" fmla="*/ 2 h 217"/>
                  <a:gd name="T38" fmla="*/ 9 w 468"/>
                  <a:gd name="T39" fmla="*/ 2 h 217"/>
                  <a:gd name="T40" fmla="*/ 9 w 468"/>
                  <a:gd name="T41" fmla="*/ 2 h 217"/>
                  <a:gd name="T42" fmla="*/ 10 w 468"/>
                  <a:gd name="T43" fmla="*/ 3 h 217"/>
                  <a:gd name="T44" fmla="*/ 10 w 468"/>
                  <a:gd name="T45" fmla="*/ 2 h 217"/>
                  <a:gd name="T46" fmla="*/ 11 w 468"/>
                  <a:gd name="T47" fmla="*/ 3 h 217"/>
                  <a:gd name="T48" fmla="*/ 11 w 468"/>
                  <a:gd name="T49" fmla="*/ 4 h 217"/>
                  <a:gd name="T50" fmla="*/ 8 w 468"/>
                  <a:gd name="T51" fmla="*/ 4 h 217"/>
                  <a:gd name="T52" fmla="*/ 5 w 468"/>
                  <a:gd name="T53" fmla="*/ 5 h 217"/>
                  <a:gd name="T54" fmla="*/ 3 w 468"/>
                  <a:gd name="T55" fmla="*/ 4 h 217"/>
                  <a:gd name="T56" fmla="*/ 6 w 468"/>
                  <a:gd name="T57" fmla="*/ 3 h 217"/>
                  <a:gd name="T58" fmla="*/ 3 w 468"/>
                  <a:gd name="T59" fmla="*/ 4 h 217"/>
                  <a:gd name="T60" fmla="*/ 4 w 468"/>
                  <a:gd name="T61" fmla="*/ 3 h 217"/>
                  <a:gd name="T62" fmla="*/ 3 w 468"/>
                  <a:gd name="T63" fmla="*/ 4 h 217"/>
                  <a:gd name="T64" fmla="*/ 1 w 468"/>
                  <a:gd name="T65" fmla="*/ 4 h 217"/>
                  <a:gd name="T66" fmla="*/ 0 w 468"/>
                  <a:gd name="T67" fmla="*/ 3 h 21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8"/>
                  <a:gd name="T103" fmla="*/ 0 h 217"/>
                  <a:gd name="T104" fmla="*/ 468 w 468"/>
                  <a:gd name="T105" fmla="*/ 217 h 21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8" h="217">
                    <a:moveTo>
                      <a:pt x="0" y="143"/>
                    </a:moveTo>
                    <a:lnTo>
                      <a:pt x="18" y="125"/>
                    </a:lnTo>
                    <a:lnTo>
                      <a:pt x="100" y="105"/>
                    </a:lnTo>
                    <a:lnTo>
                      <a:pt x="18" y="109"/>
                    </a:lnTo>
                    <a:lnTo>
                      <a:pt x="113" y="88"/>
                    </a:lnTo>
                    <a:lnTo>
                      <a:pt x="36" y="88"/>
                    </a:lnTo>
                    <a:lnTo>
                      <a:pt x="44" y="64"/>
                    </a:lnTo>
                    <a:lnTo>
                      <a:pt x="115" y="63"/>
                    </a:lnTo>
                    <a:lnTo>
                      <a:pt x="64" y="57"/>
                    </a:lnTo>
                    <a:lnTo>
                      <a:pt x="106" y="36"/>
                    </a:lnTo>
                    <a:lnTo>
                      <a:pt x="200" y="63"/>
                    </a:lnTo>
                    <a:lnTo>
                      <a:pt x="247" y="117"/>
                    </a:lnTo>
                    <a:lnTo>
                      <a:pt x="334" y="120"/>
                    </a:lnTo>
                    <a:lnTo>
                      <a:pt x="300" y="88"/>
                    </a:lnTo>
                    <a:lnTo>
                      <a:pt x="317" y="65"/>
                    </a:lnTo>
                    <a:lnTo>
                      <a:pt x="280" y="40"/>
                    </a:lnTo>
                    <a:lnTo>
                      <a:pt x="342" y="0"/>
                    </a:lnTo>
                    <a:lnTo>
                      <a:pt x="366" y="48"/>
                    </a:lnTo>
                    <a:lnTo>
                      <a:pt x="349" y="69"/>
                    </a:lnTo>
                    <a:lnTo>
                      <a:pt x="384" y="76"/>
                    </a:lnTo>
                    <a:lnTo>
                      <a:pt x="369" y="99"/>
                    </a:lnTo>
                    <a:lnTo>
                      <a:pt x="414" y="107"/>
                    </a:lnTo>
                    <a:lnTo>
                      <a:pt x="439" y="75"/>
                    </a:lnTo>
                    <a:lnTo>
                      <a:pt x="468" y="111"/>
                    </a:lnTo>
                    <a:lnTo>
                      <a:pt x="446" y="161"/>
                    </a:lnTo>
                    <a:lnTo>
                      <a:pt x="344" y="157"/>
                    </a:lnTo>
                    <a:lnTo>
                      <a:pt x="191" y="217"/>
                    </a:lnTo>
                    <a:lnTo>
                      <a:pt x="129" y="187"/>
                    </a:lnTo>
                    <a:lnTo>
                      <a:pt x="259" y="137"/>
                    </a:lnTo>
                    <a:lnTo>
                      <a:pt x="146" y="167"/>
                    </a:lnTo>
                    <a:lnTo>
                      <a:pt x="165" y="128"/>
                    </a:lnTo>
                    <a:lnTo>
                      <a:pt x="108" y="170"/>
                    </a:lnTo>
                    <a:lnTo>
                      <a:pt x="44" y="157"/>
                    </a:lnTo>
                    <a:lnTo>
                      <a:pt x="0" y="14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0" name="Freeform 262"/>
              <p:cNvSpPr/>
              <p:nvPr/>
            </p:nvSpPr>
            <p:spPr bwMode="auto">
              <a:xfrm>
                <a:off x="1817" y="1788"/>
                <a:ext cx="69" cy="38"/>
              </a:xfrm>
              <a:custGeom>
                <a:avLst/>
                <a:gdLst>
                  <a:gd name="T0" fmla="*/ 0 w 244"/>
                  <a:gd name="T1" fmla="*/ 0 h 134"/>
                  <a:gd name="T2" fmla="*/ 1 w 244"/>
                  <a:gd name="T3" fmla="*/ 1 h 134"/>
                  <a:gd name="T4" fmla="*/ 2 w 244"/>
                  <a:gd name="T5" fmla="*/ 1 h 134"/>
                  <a:gd name="T6" fmla="*/ 1 w 244"/>
                  <a:gd name="T7" fmla="*/ 1 h 134"/>
                  <a:gd name="T8" fmla="*/ 2 w 244"/>
                  <a:gd name="T9" fmla="*/ 2 h 134"/>
                  <a:gd name="T10" fmla="*/ 1 w 244"/>
                  <a:gd name="T11" fmla="*/ 2 h 134"/>
                  <a:gd name="T12" fmla="*/ 2 w 244"/>
                  <a:gd name="T13" fmla="*/ 2 h 134"/>
                  <a:gd name="T14" fmla="*/ 6 w 244"/>
                  <a:gd name="T15" fmla="*/ 3 h 134"/>
                  <a:gd name="T16" fmla="*/ 5 w 244"/>
                  <a:gd name="T17" fmla="*/ 1 h 134"/>
                  <a:gd name="T18" fmla="*/ 3 w 244"/>
                  <a:gd name="T19" fmla="*/ 0 h 134"/>
                  <a:gd name="T20" fmla="*/ 2 w 244"/>
                  <a:gd name="T21" fmla="*/ 1 h 134"/>
                  <a:gd name="T22" fmla="*/ 2 w 244"/>
                  <a:gd name="T23" fmla="*/ 0 h 134"/>
                  <a:gd name="T24" fmla="*/ 0 w 244"/>
                  <a:gd name="T25" fmla="*/ 0 h 1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4"/>
                  <a:gd name="T40" fmla="*/ 0 h 134"/>
                  <a:gd name="T41" fmla="*/ 244 w 244"/>
                  <a:gd name="T42" fmla="*/ 134 h 1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4" h="134">
                    <a:moveTo>
                      <a:pt x="0" y="0"/>
                    </a:moveTo>
                    <a:lnTo>
                      <a:pt x="22" y="48"/>
                    </a:lnTo>
                    <a:lnTo>
                      <a:pt x="79" y="48"/>
                    </a:lnTo>
                    <a:lnTo>
                      <a:pt x="59" y="60"/>
                    </a:lnTo>
                    <a:lnTo>
                      <a:pt x="75" y="76"/>
                    </a:lnTo>
                    <a:lnTo>
                      <a:pt x="23" y="83"/>
                    </a:lnTo>
                    <a:lnTo>
                      <a:pt x="107" y="100"/>
                    </a:lnTo>
                    <a:lnTo>
                      <a:pt x="244" y="134"/>
                    </a:lnTo>
                    <a:lnTo>
                      <a:pt x="221" y="58"/>
                    </a:lnTo>
                    <a:lnTo>
                      <a:pt x="123" y="11"/>
                    </a:lnTo>
                    <a:lnTo>
                      <a:pt x="93" y="31"/>
                    </a:lnTo>
                    <a:lnTo>
                      <a:pt x="85" y="0"/>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1" name="Freeform 263"/>
              <p:cNvSpPr/>
              <p:nvPr/>
            </p:nvSpPr>
            <p:spPr bwMode="auto">
              <a:xfrm>
                <a:off x="1848" y="1861"/>
                <a:ext cx="56" cy="39"/>
              </a:xfrm>
              <a:custGeom>
                <a:avLst/>
                <a:gdLst>
                  <a:gd name="T0" fmla="*/ 0 w 195"/>
                  <a:gd name="T1" fmla="*/ 2 h 137"/>
                  <a:gd name="T2" fmla="*/ 1 w 195"/>
                  <a:gd name="T3" fmla="*/ 1 h 137"/>
                  <a:gd name="T4" fmla="*/ 1 w 195"/>
                  <a:gd name="T5" fmla="*/ 1 h 137"/>
                  <a:gd name="T6" fmla="*/ 0 w 195"/>
                  <a:gd name="T7" fmla="*/ 1 h 137"/>
                  <a:gd name="T8" fmla="*/ 1 w 195"/>
                  <a:gd name="T9" fmla="*/ 0 h 137"/>
                  <a:gd name="T10" fmla="*/ 2 w 195"/>
                  <a:gd name="T11" fmla="*/ 1 h 137"/>
                  <a:gd name="T12" fmla="*/ 1 w 195"/>
                  <a:gd name="T13" fmla="*/ 0 h 137"/>
                  <a:gd name="T14" fmla="*/ 4 w 195"/>
                  <a:gd name="T15" fmla="*/ 0 h 137"/>
                  <a:gd name="T16" fmla="*/ 5 w 195"/>
                  <a:gd name="T17" fmla="*/ 2 h 137"/>
                  <a:gd name="T18" fmla="*/ 4 w 195"/>
                  <a:gd name="T19" fmla="*/ 2 h 137"/>
                  <a:gd name="T20" fmla="*/ 4 w 195"/>
                  <a:gd name="T21" fmla="*/ 3 h 137"/>
                  <a:gd name="T22" fmla="*/ 2 w 195"/>
                  <a:gd name="T23" fmla="*/ 3 h 137"/>
                  <a:gd name="T24" fmla="*/ 2 w 195"/>
                  <a:gd name="T25" fmla="*/ 3 h 137"/>
                  <a:gd name="T26" fmla="*/ 2 w 195"/>
                  <a:gd name="T27" fmla="*/ 2 h 137"/>
                  <a:gd name="T28" fmla="*/ 3 w 195"/>
                  <a:gd name="T29" fmla="*/ 2 h 137"/>
                  <a:gd name="T30" fmla="*/ 0 w 195"/>
                  <a:gd name="T31" fmla="*/ 2 h 1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5"/>
                  <a:gd name="T49" fmla="*/ 0 h 137"/>
                  <a:gd name="T50" fmla="*/ 195 w 195"/>
                  <a:gd name="T51" fmla="*/ 137 h 1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5" h="137">
                    <a:moveTo>
                      <a:pt x="0" y="90"/>
                    </a:moveTo>
                    <a:lnTo>
                      <a:pt x="23" y="58"/>
                    </a:lnTo>
                    <a:lnTo>
                      <a:pt x="58" y="64"/>
                    </a:lnTo>
                    <a:lnTo>
                      <a:pt x="11" y="30"/>
                    </a:lnTo>
                    <a:lnTo>
                      <a:pt x="24" y="10"/>
                    </a:lnTo>
                    <a:lnTo>
                      <a:pt x="99" y="54"/>
                    </a:lnTo>
                    <a:lnTo>
                      <a:pt x="57" y="7"/>
                    </a:lnTo>
                    <a:lnTo>
                      <a:pt x="175" y="0"/>
                    </a:lnTo>
                    <a:lnTo>
                      <a:pt x="195" y="100"/>
                    </a:lnTo>
                    <a:lnTo>
                      <a:pt x="171" y="83"/>
                    </a:lnTo>
                    <a:lnTo>
                      <a:pt x="170" y="137"/>
                    </a:lnTo>
                    <a:lnTo>
                      <a:pt x="76" y="131"/>
                    </a:lnTo>
                    <a:lnTo>
                      <a:pt x="92" y="117"/>
                    </a:lnTo>
                    <a:lnTo>
                      <a:pt x="69" y="98"/>
                    </a:lnTo>
                    <a:lnTo>
                      <a:pt x="138" y="69"/>
                    </a:lnTo>
                    <a:lnTo>
                      <a:pt x="0" y="9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2" name="Freeform 264"/>
              <p:cNvSpPr/>
              <p:nvPr/>
            </p:nvSpPr>
            <p:spPr bwMode="auto">
              <a:xfrm>
                <a:off x="1849" y="1929"/>
                <a:ext cx="65" cy="61"/>
              </a:xfrm>
              <a:custGeom>
                <a:avLst/>
                <a:gdLst>
                  <a:gd name="T0" fmla="*/ 0 w 228"/>
                  <a:gd name="T1" fmla="*/ 3 h 214"/>
                  <a:gd name="T2" fmla="*/ 0 w 228"/>
                  <a:gd name="T3" fmla="*/ 2 h 214"/>
                  <a:gd name="T4" fmla="*/ 2 w 228"/>
                  <a:gd name="T5" fmla="*/ 2 h 214"/>
                  <a:gd name="T6" fmla="*/ 2 w 228"/>
                  <a:gd name="T7" fmla="*/ 1 h 214"/>
                  <a:gd name="T8" fmla="*/ 2 w 228"/>
                  <a:gd name="T9" fmla="*/ 1 h 214"/>
                  <a:gd name="T10" fmla="*/ 1 w 228"/>
                  <a:gd name="T11" fmla="*/ 1 h 214"/>
                  <a:gd name="T12" fmla="*/ 2 w 228"/>
                  <a:gd name="T13" fmla="*/ 1 h 214"/>
                  <a:gd name="T14" fmla="*/ 1 w 228"/>
                  <a:gd name="T15" fmla="*/ 0 h 214"/>
                  <a:gd name="T16" fmla="*/ 5 w 228"/>
                  <a:gd name="T17" fmla="*/ 0 h 214"/>
                  <a:gd name="T18" fmla="*/ 5 w 228"/>
                  <a:gd name="T19" fmla="*/ 1 h 214"/>
                  <a:gd name="T20" fmla="*/ 4 w 228"/>
                  <a:gd name="T21" fmla="*/ 2 h 214"/>
                  <a:gd name="T22" fmla="*/ 5 w 228"/>
                  <a:gd name="T23" fmla="*/ 2 h 214"/>
                  <a:gd name="T24" fmla="*/ 5 w 228"/>
                  <a:gd name="T25" fmla="*/ 4 h 214"/>
                  <a:gd name="T26" fmla="*/ 3 w 228"/>
                  <a:gd name="T27" fmla="*/ 5 h 214"/>
                  <a:gd name="T28" fmla="*/ 2 w 228"/>
                  <a:gd name="T29" fmla="*/ 4 h 214"/>
                  <a:gd name="T30" fmla="*/ 0 w 228"/>
                  <a:gd name="T31" fmla="*/ 3 h 2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8"/>
                  <a:gd name="T49" fmla="*/ 0 h 214"/>
                  <a:gd name="T50" fmla="*/ 228 w 228"/>
                  <a:gd name="T51" fmla="*/ 214 h 2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8" h="214">
                    <a:moveTo>
                      <a:pt x="0" y="107"/>
                    </a:moveTo>
                    <a:lnTo>
                      <a:pt x="14" y="80"/>
                    </a:lnTo>
                    <a:lnTo>
                      <a:pt x="87" y="95"/>
                    </a:lnTo>
                    <a:lnTo>
                      <a:pt x="77" y="62"/>
                    </a:lnTo>
                    <a:lnTo>
                      <a:pt x="95" y="64"/>
                    </a:lnTo>
                    <a:lnTo>
                      <a:pt x="45" y="45"/>
                    </a:lnTo>
                    <a:lnTo>
                      <a:pt x="72" y="35"/>
                    </a:lnTo>
                    <a:lnTo>
                      <a:pt x="47" y="18"/>
                    </a:lnTo>
                    <a:lnTo>
                      <a:pt x="196" y="0"/>
                    </a:lnTo>
                    <a:lnTo>
                      <a:pt x="200" y="46"/>
                    </a:lnTo>
                    <a:lnTo>
                      <a:pt x="155" y="84"/>
                    </a:lnTo>
                    <a:lnTo>
                      <a:pt x="219" y="95"/>
                    </a:lnTo>
                    <a:lnTo>
                      <a:pt x="228" y="173"/>
                    </a:lnTo>
                    <a:lnTo>
                      <a:pt x="132" y="214"/>
                    </a:lnTo>
                    <a:lnTo>
                      <a:pt x="87" y="154"/>
                    </a:lnTo>
                    <a:lnTo>
                      <a:pt x="0" y="10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3" name="Freeform 265"/>
              <p:cNvSpPr/>
              <p:nvPr/>
            </p:nvSpPr>
            <p:spPr bwMode="auto">
              <a:xfrm>
                <a:off x="1895" y="1798"/>
                <a:ext cx="39" cy="31"/>
              </a:xfrm>
              <a:custGeom>
                <a:avLst/>
                <a:gdLst>
                  <a:gd name="T0" fmla="*/ 0 w 136"/>
                  <a:gd name="T1" fmla="*/ 0 h 109"/>
                  <a:gd name="T2" fmla="*/ 0 w 136"/>
                  <a:gd name="T3" fmla="*/ 1 h 109"/>
                  <a:gd name="T4" fmla="*/ 1 w 136"/>
                  <a:gd name="T5" fmla="*/ 2 h 109"/>
                  <a:gd name="T6" fmla="*/ 1 w 136"/>
                  <a:gd name="T7" fmla="*/ 2 h 109"/>
                  <a:gd name="T8" fmla="*/ 1 w 136"/>
                  <a:gd name="T9" fmla="*/ 3 h 109"/>
                  <a:gd name="T10" fmla="*/ 3 w 136"/>
                  <a:gd name="T11" fmla="*/ 2 h 109"/>
                  <a:gd name="T12" fmla="*/ 3 w 136"/>
                  <a:gd name="T13" fmla="*/ 1 h 109"/>
                  <a:gd name="T14" fmla="*/ 0 w 136"/>
                  <a:gd name="T15" fmla="*/ 0 h 109"/>
                  <a:gd name="T16" fmla="*/ 0 60000 65536"/>
                  <a:gd name="T17" fmla="*/ 0 60000 65536"/>
                  <a:gd name="T18" fmla="*/ 0 60000 65536"/>
                  <a:gd name="T19" fmla="*/ 0 60000 65536"/>
                  <a:gd name="T20" fmla="*/ 0 60000 65536"/>
                  <a:gd name="T21" fmla="*/ 0 60000 65536"/>
                  <a:gd name="T22" fmla="*/ 0 60000 65536"/>
                  <a:gd name="T23" fmla="*/ 0 60000 65536"/>
                  <a:gd name="T24" fmla="*/ 0 w 136"/>
                  <a:gd name="T25" fmla="*/ 0 h 109"/>
                  <a:gd name="T26" fmla="*/ 136 w 136"/>
                  <a:gd name="T27" fmla="*/ 109 h 1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6" h="109">
                    <a:moveTo>
                      <a:pt x="0" y="0"/>
                    </a:moveTo>
                    <a:lnTo>
                      <a:pt x="18" y="65"/>
                    </a:lnTo>
                    <a:lnTo>
                      <a:pt x="59" y="71"/>
                    </a:lnTo>
                    <a:lnTo>
                      <a:pt x="23" y="79"/>
                    </a:lnTo>
                    <a:lnTo>
                      <a:pt x="42" y="109"/>
                    </a:lnTo>
                    <a:lnTo>
                      <a:pt x="127" y="91"/>
                    </a:lnTo>
                    <a:lnTo>
                      <a:pt x="136" y="54"/>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4" name="Freeform 266"/>
              <p:cNvSpPr/>
              <p:nvPr/>
            </p:nvSpPr>
            <p:spPr bwMode="auto">
              <a:xfrm>
                <a:off x="1909" y="1846"/>
                <a:ext cx="188" cy="69"/>
              </a:xfrm>
              <a:custGeom>
                <a:avLst/>
                <a:gdLst>
                  <a:gd name="T0" fmla="*/ 0 w 659"/>
                  <a:gd name="T1" fmla="*/ 1 h 241"/>
                  <a:gd name="T2" fmla="*/ 1 w 659"/>
                  <a:gd name="T3" fmla="*/ 0 h 241"/>
                  <a:gd name="T4" fmla="*/ 2 w 659"/>
                  <a:gd name="T5" fmla="*/ 0 h 241"/>
                  <a:gd name="T6" fmla="*/ 3 w 659"/>
                  <a:gd name="T7" fmla="*/ 1 h 241"/>
                  <a:gd name="T8" fmla="*/ 3 w 659"/>
                  <a:gd name="T9" fmla="*/ 1 h 241"/>
                  <a:gd name="T10" fmla="*/ 5 w 659"/>
                  <a:gd name="T11" fmla="*/ 1 h 241"/>
                  <a:gd name="T12" fmla="*/ 6 w 659"/>
                  <a:gd name="T13" fmla="*/ 1 h 241"/>
                  <a:gd name="T14" fmla="*/ 5 w 659"/>
                  <a:gd name="T15" fmla="*/ 1 h 241"/>
                  <a:gd name="T16" fmla="*/ 7 w 659"/>
                  <a:gd name="T17" fmla="*/ 2 h 241"/>
                  <a:gd name="T18" fmla="*/ 5 w 659"/>
                  <a:gd name="T19" fmla="*/ 2 h 241"/>
                  <a:gd name="T20" fmla="*/ 6 w 659"/>
                  <a:gd name="T21" fmla="*/ 3 h 241"/>
                  <a:gd name="T22" fmla="*/ 5 w 659"/>
                  <a:gd name="T23" fmla="*/ 3 h 241"/>
                  <a:gd name="T24" fmla="*/ 6 w 659"/>
                  <a:gd name="T25" fmla="*/ 3 h 241"/>
                  <a:gd name="T26" fmla="*/ 7 w 659"/>
                  <a:gd name="T27" fmla="*/ 4 h 241"/>
                  <a:gd name="T28" fmla="*/ 7 w 659"/>
                  <a:gd name="T29" fmla="*/ 3 h 241"/>
                  <a:gd name="T30" fmla="*/ 10 w 659"/>
                  <a:gd name="T31" fmla="*/ 4 h 241"/>
                  <a:gd name="T32" fmla="*/ 13 w 659"/>
                  <a:gd name="T33" fmla="*/ 3 h 241"/>
                  <a:gd name="T34" fmla="*/ 15 w 659"/>
                  <a:gd name="T35" fmla="*/ 4 h 241"/>
                  <a:gd name="T36" fmla="*/ 15 w 659"/>
                  <a:gd name="T37" fmla="*/ 5 h 241"/>
                  <a:gd name="T38" fmla="*/ 15 w 659"/>
                  <a:gd name="T39" fmla="*/ 5 h 241"/>
                  <a:gd name="T40" fmla="*/ 13 w 659"/>
                  <a:gd name="T41" fmla="*/ 6 h 241"/>
                  <a:gd name="T42" fmla="*/ 12 w 659"/>
                  <a:gd name="T43" fmla="*/ 5 h 241"/>
                  <a:gd name="T44" fmla="*/ 12 w 659"/>
                  <a:gd name="T45" fmla="*/ 5 h 241"/>
                  <a:gd name="T46" fmla="*/ 11 w 659"/>
                  <a:gd name="T47" fmla="*/ 5 h 241"/>
                  <a:gd name="T48" fmla="*/ 8 w 659"/>
                  <a:gd name="T49" fmla="*/ 6 h 241"/>
                  <a:gd name="T50" fmla="*/ 7 w 659"/>
                  <a:gd name="T51" fmla="*/ 5 h 241"/>
                  <a:gd name="T52" fmla="*/ 6 w 659"/>
                  <a:gd name="T53" fmla="*/ 5 h 241"/>
                  <a:gd name="T54" fmla="*/ 5 w 659"/>
                  <a:gd name="T55" fmla="*/ 5 h 241"/>
                  <a:gd name="T56" fmla="*/ 5 w 659"/>
                  <a:gd name="T57" fmla="*/ 5 h 241"/>
                  <a:gd name="T58" fmla="*/ 3 w 659"/>
                  <a:gd name="T59" fmla="*/ 2 h 241"/>
                  <a:gd name="T60" fmla="*/ 2 w 659"/>
                  <a:gd name="T61" fmla="*/ 2 h 241"/>
                  <a:gd name="T62" fmla="*/ 0 w 659"/>
                  <a:gd name="T63" fmla="*/ 1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9"/>
                  <a:gd name="T97" fmla="*/ 0 h 241"/>
                  <a:gd name="T98" fmla="*/ 659 w 659"/>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9" h="241">
                    <a:moveTo>
                      <a:pt x="0" y="38"/>
                    </a:moveTo>
                    <a:lnTo>
                      <a:pt x="41" y="0"/>
                    </a:lnTo>
                    <a:lnTo>
                      <a:pt x="97" y="19"/>
                    </a:lnTo>
                    <a:lnTo>
                      <a:pt x="137" y="38"/>
                    </a:lnTo>
                    <a:lnTo>
                      <a:pt x="126" y="65"/>
                    </a:lnTo>
                    <a:lnTo>
                      <a:pt x="200" y="42"/>
                    </a:lnTo>
                    <a:lnTo>
                      <a:pt x="250" y="65"/>
                    </a:lnTo>
                    <a:lnTo>
                      <a:pt x="209" y="65"/>
                    </a:lnTo>
                    <a:lnTo>
                      <a:pt x="293" y="84"/>
                    </a:lnTo>
                    <a:lnTo>
                      <a:pt x="200" y="92"/>
                    </a:lnTo>
                    <a:lnTo>
                      <a:pt x="250" y="108"/>
                    </a:lnTo>
                    <a:lnTo>
                      <a:pt x="214" y="126"/>
                    </a:lnTo>
                    <a:lnTo>
                      <a:pt x="260" y="112"/>
                    </a:lnTo>
                    <a:lnTo>
                      <a:pt x="301" y="158"/>
                    </a:lnTo>
                    <a:lnTo>
                      <a:pt x="310" y="135"/>
                    </a:lnTo>
                    <a:lnTo>
                      <a:pt x="430" y="158"/>
                    </a:lnTo>
                    <a:lnTo>
                      <a:pt x="555" y="114"/>
                    </a:lnTo>
                    <a:lnTo>
                      <a:pt x="659" y="167"/>
                    </a:lnTo>
                    <a:lnTo>
                      <a:pt x="626" y="191"/>
                    </a:lnTo>
                    <a:lnTo>
                      <a:pt x="635" y="231"/>
                    </a:lnTo>
                    <a:lnTo>
                      <a:pt x="576" y="241"/>
                    </a:lnTo>
                    <a:lnTo>
                      <a:pt x="509" y="203"/>
                    </a:lnTo>
                    <a:lnTo>
                      <a:pt x="509" y="231"/>
                    </a:lnTo>
                    <a:lnTo>
                      <a:pt x="473" y="238"/>
                    </a:lnTo>
                    <a:lnTo>
                      <a:pt x="325" y="241"/>
                    </a:lnTo>
                    <a:lnTo>
                      <a:pt x="310" y="207"/>
                    </a:lnTo>
                    <a:lnTo>
                      <a:pt x="274" y="238"/>
                    </a:lnTo>
                    <a:lnTo>
                      <a:pt x="227" y="207"/>
                    </a:lnTo>
                    <a:lnTo>
                      <a:pt x="197" y="229"/>
                    </a:lnTo>
                    <a:lnTo>
                      <a:pt x="141" y="72"/>
                    </a:lnTo>
                    <a:lnTo>
                      <a:pt x="75" y="87"/>
                    </a:lnTo>
                    <a:lnTo>
                      <a:pt x="0" y="3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5" name="Freeform 267"/>
              <p:cNvSpPr/>
              <p:nvPr/>
            </p:nvSpPr>
            <p:spPr bwMode="auto">
              <a:xfrm>
                <a:off x="1917" y="1728"/>
                <a:ext cx="121" cy="92"/>
              </a:xfrm>
              <a:custGeom>
                <a:avLst/>
                <a:gdLst>
                  <a:gd name="T0" fmla="*/ 0 w 428"/>
                  <a:gd name="T1" fmla="*/ 2 h 323"/>
                  <a:gd name="T2" fmla="*/ 2 w 428"/>
                  <a:gd name="T3" fmla="*/ 2 h 323"/>
                  <a:gd name="T4" fmla="*/ 1 w 428"/>
                  <a:gd name="T5" fmla="*/ 1 h 323"/>
                  <a:gd name="T6" fmla="*/ 3 w 428"/>
                  <a:gd name="T7" fmla="*/ 1 h 323"/>
                  <a:gd name="T8" fmla="*/ 1 w 428"/>
                  <a:gd name="T9" fmla="*/ 0 h 323"/>
                  <a:gd name="T10" fmla="*/ 4 w 428"/>
                  <a:gd name="T11" fmla="*/ 1 h 323"/>
                  <a:gd name="T12" fmla="*/ 5 w 428"/>
                  <a:gd name="T13" fmla="*/ 2 h 323"/>
                  <a:gd name="T14" fmla="*/ 6 w 428"/>
                  <a:gd name="T15" fmla="*/ 2 h 323"/>
                  <a:gd name="T16" fmla="*/ 7 w 428"/>
                  <a:gd name="T17" fmla="*/ 3 h 323"/>
                  <a:gd name="T18" fmla="*/ 7 w 428"/>
                  <a:gd name="T19" fmla="*/ 2 h 323"/>
                  <a:gd name="T20" fmla="*/ 8 w 428"/>
                  <a:gd name="T21" fmla="*/ 2 h 323"/>
                  <a:gd name="T22" fmla="*/ 7 w 428"/>
                  <a:gd name="T23" fmla="*/ 3 h 323"/>
                  <a:gd name="T24" fmla="*/ 8 w 428"/>
                  <a:gd name="T25" fmla="*/ 3 h 323"/>
                  <a:gd name="T26" fmla="*/ 8 w 428"/>
                  <a:gd name="T27" fmla="*/ 4 h 323"/>
                  <a:gd name="T28" fmla="*/ 9 w 428"/>
                  <a:gd name="T29" fmla="*/ 4 h 323"/>
                  <a:gd name="T30" fmla="*/ 10 w 428"/>
                  <a:gd name="T31" fmla="*/ 5 h 323"/>
                  <a:gd name="T32" fmla="*/ 8 w 428"/>
                  <a:gd name="T33" fmla="*/ 5 h 323"/>
                  <a:gd name="T34" fmla="*/ 7 w 428"/>
                  <a:gd name="T35" fmla="*/ 6 h 323"/>
                  <a:gd name="T36" fmla="*/ 7 w 428"/>
                  <a:gd name="T37" fmla="*/ 5 h 323"/>
                  <a:gd name="T38" fmla="*/ 7 w 428"/>
                  <a:gd name="T39" fmla="*/ 7 h 323"/>
                  <a:gd name="T40" fmla="*/ 5 w 428"/>
                  <a:gd name="T41" fmla="*/ 6 h 323"/>
                  <a:gd name="T42" fmla="*/ 6 w 428"/>
                  <a:gd name="T43" fmla="*/ 7 h 323"/>
                  <a:gd name="T44" fmla="*/ 4 w 428"/>
                  <a:gd name="T45" fmla="*/ 7 h 323"/>
                  <a:gd name="T46" fmla="*/ 3 w 428"/>
                  <a:gd name="T47" fmla="*/ 7 h 323"/>
                  <a:gd name="T48" fmla="*/ 4 w 428"/>
                  <a:gd name="T49" fmla="*/ 7 h 323"/>
                  <a:gd name="T50" fmla="*/ 3 w 428"/>
                  <a:gd name="T51" fmla="*/ 7 h 323"/>
                  <a:gd name="T52" fmla="*/ 3 w 428"/>
                  <a:gd name="T53" fmla="*/ 6 h 323"/>
                  <a:gd name="T54" fmla="*/ 3 w 428"/>
                  <a:gd name="T55" fmla="*/ 6 h 323"/>
                  <a:gd name="T56" fmla="*/ 2 w 428"/>
                  <a:gd name="T57" fmla="*/ 5 h 323"/>
                  <a:gd name="T58" fmla="*/ 5 w 428"/>
                  <a:gd name="T59" fmla="*/ 5 h 323"/>
                  <a:gd name="T60" fmla="*/ 1 w 428"/>
                  <a:gd name="T61" fmla="*/ 5 h 323"/>
                  <a:gd name="T62" fmla="*/ 1 w 428"/>
                  <a:gd name="T63" fmla="*/ 4 h 323"/>
                  <a:gd name="T64" fmla="*/ 2 w 428"/>
                  <a:gd name="T65" fmla="*/ 4 h 323"/>
                  <a:gd name="T66" fmla="*/ 0 w 428"/>
                  <a:gd name="T67" fmla="*/ 3 h 323"/>
                  <a:gd name="T68" fmla="*/ 1 w 428"/>
                  <a:gd name="T69" fmla="*/ 3 h 323"/>
                  <a:gd name="T70" fmla="*/ 0 w 428"/>
                  <a:gd name="T71" fmla="*/ 3 h 323"/>
                  <a:gd name="T72" fmla="*/ 2 w 428"/>
                  <a:gd name="T73" fmla="*/ 3 h 323"/>
                  <a:gd name="T74" fmla="*/ 0 w 428"/>
                  <a:gd name="T75" fmla="*/ 2 h 32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8"/>
                  <a:gd name="T115" fmla="*/ 0 h 323"/>
                  <a:gd name="T116" fmla="*/ 428 w 428"/>
                  <a:gd name="T117" fmla="*/ 323 h 32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8" h="323">
                    <a:moveTo>
                      <a:pt x="0" y="103"/>
                    </a:moveTo>
                    <a:lnTo>
                      <a:pt x="103" y="84"/>
                    </a:lnTo>
                    <a:lnTo>
                      <a:pt x="52" y="39"/>
                    </a:lnTo>
                    <a:lnTo>
                      <a:pt x="140" y="20"/>
                    </a:lnTo>
                    <a:lnTo>
                      <a:pt x="67" y="0"/>
                    </a:lnTo>
                    <a:lnTo>
                      <a:pt x="184" y="25"/>
                    </a:lnTo>
                    <a:lnTo>
                      <a:pt x="217" y="85"/>
                    </a:lnTo>
                    <a:lnTo>
                      <a:pt x="277" y="87"/>
                    </a:lnTo>
                    <a:lnTo>
                      <a:pt x="299" y="130"/>
                    </a:lnTo>
                    <a:lnTo>
                      <a:pt x="305" y="100"/>
                    </a:lnTo>
                    <a:lnTo>
                      <a:pt x="332" y="103"/>
                    </a:lnTo>
                    <a:lnTo>
                      <a:pt x="320" y="130"/>
                    </a:lnTo>
                    <a:lnTo>
                      <a:pt x="354" y="150"/>
                    </a:lnTo>
                    <a:lnTo>
                      <a:pt x="332" y="177"/>
                    </a:lnTo>
                    <a:lnTo>
                      <a:pt x="401" y="175"/>
                    </a:lnTo>
                    <a:lnTo>
                      <a:pt x="428" y="217"/>
                    </a:lnTo>
                    <a:lnTo>
                      <a:pt x="350" y="230"/>
                    </a:lnTo>
                    <a:lnTo>
                      <a:pt x="327" y="271"/>
                    </a:lnTo>
                    <a:lnTo>
                      <a:pt x="310" y="229"/>
                    </a:lnTo>
                    <a:lnTo>
                      <a:pt x="290" y="322"/>
                    </a:lnTo>
                    <a:lnTo>
                      <a:pt x="237" y="273"/>
                    </a:lnTo>
                    <a:lnTo>
                      <a:pt x="265" y="323"/>
                    </a:lnTo>
                    <a:lnTo>
                      <a:pt x="162" y="317"/>
                    </a:lnTo>
                    <a:lnTo>
                      <a:pt x="133" y="290"/>
                    </a:lnTo>
                    <a:lnTo>
                      <a:pt x="180" y="287"/>
                    </a:lnTo>
                    <a:lnTo>
                      <a:pt x="129" y="277"/>
                    </a:lnTo>
                    <a:lnTo>
                      <a:pt x="113" y="263"/>
                    </a:lnTo>
                    <a:lnTo>
                      <a:pt x="140" y="261"/>
                    </a:lnTo>
                    <a:lnTo>
                      <a:pt x="100" y="240"/>
                    </a:lnTo>
                    <a:lnTo>
                      <a:pt x="235" y="211"/>
                    </a:lnTo>
                    <a:lnTo>
                      <a:pt x="67" y="217"/>
                    </a:lnTo>
                    <a:lnTo>
                      <a:pt x="39" y="184"/>
                    </a:lnTo>
                    <a:lnTo>
                      <a:pt x="100" y="171"/>
                    </a:lnTo>
                    <a:lnTo>
                      <a:pt x="7" y="150"/>
                    </a:lnTo>
                    <a:lnTo>
                      <a:pt x="27" y="148"/>
                    </a:lnTo>
                    <a:lnTo>
                      <a:pt x="3" y="127"/>
                    </a:lnTo>
                    <a:lnTo>
                      <a:pt x="103" y="127"/>
                    </a:lnTo>
                    <a:lnTo>
                      <a:pt x="0" y="10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6" name="Freeform 268"/>
              <p:cNvSpPr/>
              <p:nvPr/>
            </p:nvSpPr>
            <p:spPr bwMode="auto">
              <a:xfrm>
                <a:off x="1917" y="1886"/>
                <a:ext cx="29" cy="24"/>
              </a:xfrm>
              <a:custGeom>
                <a:avLst/>
                <a:gdLst>
                  <a:gd name="T0" fmla="*/ 0 w 103"/>
                  <a:gd name="T1" fmla="*/ 1 h 82"/>
                  <a:gd name="T2" fmla="*/ 0 w 103"/>
                  <a:gd name="T3" fmla="*/ 0 h 82"/>
                  <a:gd name="T4" fmla="*/ 2 w 103"/>
                  <a:gd name="T5" fmla="*/ 0 h 82"/>
                  <a:gd name="T6" fmla="*/ 2 w 103"/>
                  <a:gd name="T7" fmla="*/ 2 h 82"/>
                  <a:gd name="T8" fmla="*/ 0 w 103"/>
                  <a:gd name="T9" fmla="*/ 1 h 82"/>
                  <a:gd name="T10" fmla="*/ 0 60000 65536"/>
                  <a:gd name="T11" fmla="*/ 0 60000 65536"/>
                  <a:gd name="T12" fmla="*/ 0 60000 65536"/>
                  <a:gd name="T13" fmla="*/ 0 60000 65536"/>
                  <a:gd name="T14" fmla="*/ 0 60000 65536"/>
                  <a:gd name="T15" fmla="*/ 0 w 103"/>
                  <a:gd name="T16" fmla="*/ 0 h 82"/>
                  <a:gd name="T17" fmla="*/ 103 w 103"/>
                  <a:gd name="T18" fmla="*/ 82 h 82"/>
                </a:gdLst>
                <a:ahLst/>
                <a:cxnLst>
                  <a:cxn ang="T10">
                    <a:pos x="T0" y="T1"/>
                  </a:cxn>
                  <a:cxn ang="T11">
                    <a:pos x="T2" y="T3"/>
                  </a:cxn>
                  <a:cxn ang="T12">
                    <a:pos x="T4" y="T5"/>
                  </a:cxn>
                  <a:cxn ang="T13">
                    <a:pos x="T6" y="T7"/>
                  </a:cxn>
                  <a:cxn ang="T14">
                    <a:pos x="T8" y="T9"/>
                  </a:cxn>
                </a:cxnLst>
                <a:rect l="T15" t="T16" r="T17" b="T18"/>
                <a:pathLst>
                  <a:path w="103" h="82">
                    <a:moveTo>
                      <a:pt x="0" y="55"/>
                    </a:moveTo>
                    <a:lnTo>
                      <a:pt x="18" y="0"/>
                    </a:lnTo>
                    <a:lnTo>
                      <a:pt x="86" y="16"/>
                    </a:lnTo>
                    <a:lnTo>
                      <a:pt x="103" y="82"/>
                    </a:lnTo>
                    <a:lnTo>
                      <a:pt x="0" y="5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7" name="Freeform 269"/>
              <p:cNvSpPr/>
              <p:nvPr/>
            </p:nvSpPr>
            <p:spPr bwMode="auto">
              <a:xfrm>
                <a:off x="1918" y="1829"/>
                <a:ext cx="32" cy="8"/>
              </a:xfrm>
              <a:custGeom>
                <a:avLst/>
                <a:gdLst>
                  <a:gd name="T0" fmla="*/ 0 w 116"/>
                  <a:gd name="T1" fmla="*/ 0 h 29"/>
                  <a:gd name="T2" fmla="*/ 1 w 116"/>
                  <a:gd name="T3" fmla="*/ 1 h 29"/>
                  <a:gd name="T4" fmla="*/ 2 w 116"/>
                  <a:gd name="T5" fmla="*/ 0 h 29"/>
                  <a:gd name="T6" fmla="*/ 1 w 116"/>
                  <a:gd name="T7" fmla="*/ 0 h 29"/>
                  <a:gd name="T8" fmla="*/ 0 w 116"/>
                  <a:gd name="T9" fmla="*/ 0 h 29"/>
                  <a:gd name="T10" fmla="*/ 0 60000 65536"/>
                  <a:gd name="T11" fmla="*/ 0 60000 65536"/>
                  <a:gd name="T12" fmla="*/ 0 60000 65536"/>
                  <a:gd name="T13" fmla="*/ 0 60000 65536"/>
                  <a:gd name="T14" fmla="*/ 0 60000 65536"/>
                  <a:gd name="T15" fmla="*/ 0 w 116"/>
                  <a:gd name="T16" fmla="*/ 0 h 29"/>
                  <a:gd name="T17" fmla="*/ 116 w 116"/>
                  <a:gd name="T18" fmla="*/ 29 h 29"/>
                </a:gdLst>
                <a:ahLst/>
                <a:cxnLst>
                  <a:cxn ang="T10">
                    <a:pos x="T0" y="T1"/>
                  </a:cxn>
                  <a:cxn ang="T11">
                    <a:pos x="T2" y="T3"/>
                  </a:cxn>
                  <a:cxn ang="T12">
                    <a:pos x="T4" y="T5"/>
                  </a:cxn>
                  <a:cxn ang="T13">
                    <a:pos x="T6" y="T7"/>
                  </a:cxn>
                  <a:cxn ang="T14">
                    <a:pos x="T8" y="T9"/>
                  </a:cxn>
                </a:cxnLst>
                <a:rect l="T15" t="T16" r="T17" b="T18"/>
                <a:pathLst>
                  <a:path w="116" h="29">
                    <a:moveTo>
                      <a:pt x="0" y="12"/>
                    </a:moveTo>
                    <a:lnTo>
                      <a:pt x="26" y="29"/>
                    </a:lnTo>
                    <a:lnTo>
                      <a:pt x="116" y="12"/>
                    </a:lnTo>
                    <a:lnTo>
                      <a:pt x="31" y="0"/>
                    </a:lnTo>
                    <a:lnTo>
                      <a:pt x="0" y="1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8" name="Freeform 270"/>
              <p:cNvSpPr/>
              <p:nvPr/>
            </p:nvSpPr>
            <p:spPr bwMode="auto">
              <a:xfrm>
                <a:off x="1924" y="1925"/>
                <a:ext cx="58" cy="50"/>
              </a:xfrm>
              <a:custGeom>
                <a:avLst/>
                <a:gdLst>
                  <a:gd name="T0" fmla="*/ 0 w 204"/>
                  <a:gd name="T1" fmla="*/ 1 h 172"/>
                  <a:gd name="T2" fmla="*/ 0 w 204"/>
                  <a:gd name="T3" fmla="*/ 3 h 172"/>
                  <a:gd name="T4" fmla="*/ 1 w 204"/>
                  <a:gd name="T5" fmla="*/ 3 h 172"/>
                  <a:gd name="T6" fmla="*/ 1 w 204"/>
                  <a:gd name="T7" fmla="*/ 4 h 172"/>
                  <a:gd name="T8" fmla="*/ 1 w 204"/>
                  <a:gd name="T9" fmla="*/ 4 h 172"/>
                  <a:gd name="T10" fmla="*/ 2 w 204"/>
                  <a:gd name="T11" fmla="*/ 3 h 172"/>
                  <a:gd name="T12" fmla="*/ 1 w 204"/>
                  <a:gd name="T13" fmla="*/ 3 h 172"/>
                  <a:gd name="T14" fmla="*/ 3 w 204"/>
                  <a:gd name="T15" fmla="*/ 3 h 172"/>
                  <a:gd name="T16" fmla="*/ 5 w 204"/>
                  <a:gd name="T17" fmla="*/ 0 h 172"/>
                  <a:gd name="T18" fmla="*/ 0 w 204"/>
                  <a:gd name="T19" fmla="*/ 0 h 172"/>
                  <a:gd name="T20" fmla="*/ 1 w 204"/>
                  <a:gd name="T21" fmla="*/ 1 h 172"/>
                  <a:gd name="T22" fmla="*/ 0 w 204"/>
                  <a:gd name="T23" fmla="*/ 1 h 1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4"/>
                  <a:gd name="T37" fmla="*/ 0 h 172"/>
                  <a:gd name="T38" fmla="*/ 204 w 204"/>
                  <a:gd name="T39" fmla="*/ 172 h 1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4" h="172">
                    <a:moveTo>
                      <a:pt x="0" y="30"/>
                    </a:moveTo>
                    <a:lnTo>
                      <a:pt x="3" y="107"/>
                    </a:lnTo>
                    <a:lnTo>
                      <a:pt x="28" y="123"/>
                    </a:lnTo>
                    <a:lnTo>
                      <a:pt x="21" y="168"/>
                    </a:lnTo>
                    <a:lnTo>
                      <a:pt x="48" y="172"/>
                    </a:lnTo>
                    <a:lnTo>
                      <a:pt x="81" y="134"/>
                    </a:lnTo>
                    <a:lnTo>
                      <a:pt x="48" y="107"/>
                    </a:lnTo>
                    <a:lnTo>
                      <a:pt x="131" y="107"/>
                    </a:lnTo>
                    <a:lnTo>
                      <a:pt x="204" y="12"/>
                    </a:lnTo>
                    <a:lnTo>
                      <a:pt x="15" y="0"/>
                    </a:lnTo>
                    <a:lnTo>
                      <a:pt x="38" y="31"/>
                    </a:lnTo>
                    <a:lnTo>
                      <a:pt x="0" y="3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9" name="Freeform 271"/>
              <p:cNvSpPr/>
              <p:nvPr/>
            </p:nvSpPr>
            <p:spPr bwMode="auto">
              <a:xfrm>
                <a:off x="1963" y="1674"/>
                <a:ext cx="334" cy="198"/>
              </a:xfrm>
              <a:custGeom>
                <a:avLst/>
                <a:gdLst>
                  <a:gd name="T0" fmla="*/ 1 w 1173"/>
                  <a:gd name="T1" fmla="*/ 4 h 695"/>
                  <a:gd name="T2" fmla="*/ 3 w 1173"/>
                  <a:gd name="T3" fmla="*/ 5 h 695"/>
                  <a:gd name="T4" fmla="*/ 7 w 1173"/>
                  <a:gd name="T5" fmla="*/ 5 h 695"/>
                  <a:gd name="T6" fmla="*/ 6 w 1173"/>
                  <a:gd name="T7" fmla="*/ 5 h 695"/>
                  <a:gd name="T8" fmla="*/ 5 w 1173"/>
                  <a:gd name="T9" fmla="*/ 6 h 695"/>
                  <a:gd name="T10" fmla="*/ 7 w 1173"/>
                  <a:gd name="T11" fmla="*/ 6 h 695"/>
                  <a:gd name="T12" fmla="*/ 11 w 1173"/>
                  <a:gd name="T13" fmla="*/ 5 h 695"/>
                  <a:gd name="T14" fmla="*/ 15 w 1173"/>
                  <a:gd name="T15" fmla="*/ 5 h 695"/>
                  <a:gd name="T16" fmla="*/ 11 w 1173"/>
                  <a:gd name="T17" fmla="*/ 8 h 695"/>
                  <a:gd name="T18" fmla="*/ 5 w 1173"/>
                  <a:gd name="T19" fmla="*/ 7 h 695"/>
                  <a:gd name="T20" fmla="*/ 5 w 1173"/>
                  <a:gd name="T21" fmla="*/ 8 h 695"/>
                  <a:gd name="T22" fmla="*/ 9 w 1173"/>
                  <a:gd name="T23" fmla="*/ 10 h 695"/>
                  <a:gd name="T24" fmla="*/ 6 w 1173"/>
                  <a:gd name="T25" fmla="*/ 10 h 695"/>
                  <a:gd name="T26" fmla="*/ 5 w 1173"/>
                  <a:gd name="T27" fmla="*/ 11 h 695"/>
                  <a:gd name="T28" fmla="*/ 7 w 1173"/>
                  <a:gd name="T29" fmla="*/ 11 h 695"/>
                  <a:gd name="T30" fmla="*/ 5 w 1173"/>
                  <a:gd name="T31" fmla="*/ 12 h 695"/>
                  <a:gd name="T32" fmla="*/ 6 w 1173"/>
                  <a:gd name="T33" fmla="*/ 13 h 695"/>
                  <a:gd name="T34" fmla="*/ 7 w 1173"/>
                  <a:gd name="T35" fmla="*/ 14 h 695"/>
                  <a:gd name="T36" fmla="*/ 5 w 1173"/>
                  <a:gd name="T37" fmla="*/ 14 h 695"/>
                  <a:gd name="T38" fmla="*/ 3 w 1173"/>
                  <a:gd name="T39" fmla="*/ 15 h 695"/>
                  <a:gd name="T40" fmla="*/ 6 w 1173"/>
                  <a:gd name="T41" fmla="*/ 16 h 695"/>
                  <a:gd name="T42" fmla="*/ 7 w 1173"/>
                  <a:gd name="T43" fmla="*/ 15 h 695"/>
                  <a:gd name="T44" fmla="*/ 9 w 1173"/>
                  <a:gd name="T45" fmla="*/ 15 h 695"/>
                  <a:gd name="T46" fmla="*/ 10 w 1173"/>
                  <a:gd name="T47" fmla="*/ 16 h 695"/>
                  <a:gd name="T48" fmla="*/ 11 w 1173"/>
                  <a:gd name="T49" fmla="*/ 15 h 695"/>
                  <a:gd name="T50" fmla="*/ 12 w 1173"/>
                  <a:gd name="T51" fmla="*/ 14 h 695"/>
                  <a:gd name="T52" fmla="*/ 14 w 1173"/>
                  <a:gd name="T53" fmla="*/ 12 h 695"/>
                  <a:gd name="T54" fmla="*/ 15 w 1173"/>
                  <a:gd name="T55" fmla="*/ 11 h 695"/>
                  <a:gd name="T56" fmla="*/ 15 w 1173"/>
                  <a:gd name="T57" fmla="*/ 10 h 695"/>
                  <a:gd name="T58" fmla="*/ 13 w 1173"/>
                  <a:gd name="T59" fmla="*/ 10 h 695"/>
                  <a:gd name="T60" fmla="*/ 13 w 1173"/>
                  <a:gd name="T61" fmla="*/ 9 h 695"/>
                  <a:gd name="T62" fmla="*/ 18 w 1173"/>
                  <a:gd name="T63" fmla="*/ 8 h 695"/>
                  <a:gd name="T64" fmla="*/ 19 w 1173"/>
                  <a:gd name="T65" fmla="*/ 7 h 695"/>
                  <a:gd name="T66" fmla="*/ 24 w 1173"/>
                  <a:gd name="T67" fmla="*/ 4 h 695"/>
                  <a:gd name="T68" fmla="*/ 20 w 1173"/>
                  <a:gd name="T69" fmla="*/ 4 h 695"/>
                  <a:gd name="T70" fmla="*/ 27 w 1173"/>
                  <a:gd name="T71" fmla="*/ 3 h 695"/>
                  <a:gd name="T72" fmla="*/ 25 w 1173"/>
                  <a:gd name="T73" fmla="*/ 1 h 695"/>
                  <a:gd name="T74" fmla="*/ 16 w 1173"/>
                  <a:gd name="T75" fmla="*/ 0 h 695"/>
                  <a:gd name="T76" fmla="*/ 15 w 1173"/>
                  <a:gd name="T77" fmla="*/ 0 h 695"/>
                  <a:gd name="T78" fmla="*/ 13 w 1173"/>
                  <a:gd name="T79" fmla="*/ 2 h 695"/>
                  <a:gd name="T80" fmla="*/ 10 w 1173"/>
                  <a:gd name="T81" fmla="*/ 1 h 695"/>
                  <a:gd name="T82" fmla="*/ 8 w 1173"/>
                  <a:gd name="T83" fmla="*/ 1 h 695"/>
                  <a:gd name="T84" fmla="*/ 9 w 1173"/>
                  <a:gd name="T85" fmla="*/ 3 h 695"/>
                  <a:gd name="T86" fmla="*/ 6 w 1173"/>
                  <a:gd name="T87" fmla="*/ 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73"/>
                  <a:gd name="T133" fmla="*/ 0 h 695"/>
                  <a:gd name="T134" fmla="*/ 1173 w 1173"/>
                  <a:gd name="T135" fmla="*/ 695 h 69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73" h="695">
                    <a:moveTo>
                      <a:pt x="0" y="165"/>
                    </a:moveTo>
                    <a:lnTo>
                      <a:pt x="104" y="165"/>
                    </a:lnTo>
                    <a:lnTo>
                      <a:pt x="67" y="189"/>
                    </a:lnTo>
                    <a:lnTo>
                      <a:pt x="211" y="170"/>
                    </a:lnTo>
                    <a:lnTo>
                      <a:pt x="87" y="189"/>
                    </a:lnTo>
                    <a:lnTo>
                      <a:pt x="126" y="201"/>
                    </a:lnTo>
                    <a:lnTo>
                      <a:pt x="84" y="204"/>
                    </a:lnTo>
                    <a:lnTo>
                      <a:pt x="102" y="223"/>
                    </a:lnTo>
                    <a:lnTo>
                      <a:pt x="287" y="195"/>
                    </a:lnTo>
                    <a:lnTo>
                      <a:pt x="104" y="238"/>
                    </a:lnTo>
                    <a:lnTo>
                      <a:pt x="183" y="272"/>
                    </a:lnTo>
                    <a:lnTo>
                      <a:pt x="255" y="222"/>
                    </a:lnTo>
                    <a:lnTo>
                      <a:pt x="379" y="214"/>
                    </a:lnTo>
                    <a:lnTo>
                      <a:pt x="249" y="232"/>
                    </a:lnTo>
                    <a:lnTo>
                      <a:pt x="219" y="272"/>
                    </a:lnTo>
                    <a:lnTo>
                      <a:pt x="294" y="276"/>
                    </a:lnTo>
                    <a:lnTo>
                      <a:pt x="379" y="237"/>
                    </a:lnTo>
                    <a:lnTo>
                      <a:pt x="322" y="273"/>
                    </a:lnTo>
                    <a:lnTo>
                      <a:pt x="379" y="273"/>
                    </a:lnTo>
                    <a:lnTo>
                      <a:pt x="467" y="246"/>
                    </a:lnTo>
                    <a:lnTo>
                      <a:pt x="456" y="205"/>
                    </a:lnTo>
                    <a:lnTo>
                      <a:pt x="551" y="176"/>
                    </a:lnTo>
                    <a:lnTo>
                      <a:pt x="481" y="241"/>
                    </a:lnTo>
                    <a:lnTo>
                      <a:pt x="631" y="228"/>
                    </a:lnTo>
                    <a:lnTo>
                      <a:pt x="328" y="293"/>
                    </a:lnTo>
                    <a:lnTo>
                      <a:pt x="396" y="360"/>
                    </a:lnTo>
                    <a:lnTo>
                      <a:pt x="458" y="360"/>
                    </a:lnTo>
                    <a:lnTo>
                      <a:pt x="427" y="373"/>
                    </a:lnTo>
                    <a:lnTo>
                      <a:pt x="307" y="304"/>
                    </a:lnTo>
                    <a:lnTo>
                      <a:pt x="209" y="293"/>
                    </a:lnTo>
                    <a:lnTo>
                      <a:pt x="207" y="322"/>
                    </a:lnTo>
                    <a:lnTo>
                      <a:pt x="253" y="337"/>
                    </a:lnTo>
                    <a:lnTo>
                      <a:pt x="208" y="346"/>
                    </a:lnTo>
                    <a:lnTo>
                      <a:pt x="328" y="423"/>
                    </a:lnTo>
                    <a:lnTo>
                      <a:pt x="279" y="426"/>
                    </a:lnTo>
                    <a:lnTo>
                      <a:pt x="399" y="431"/>
                    </a:lnTo>
                    <a:lnTo>
                      <a:pt x="332" y="448"/>
                    </a:lnTo>
                    <a:lnTo>
                      <a:pt x="368" y="473"/>
                    </a:lnTo>
                    <a:lnTo>
                      <a:pt x="260" y="434"/>
                    </a:lnTo>
                    <a:lnTo>
                      <a:pt x="198" y="450"/>
                    </a:lnTo>
                    <a:lnTo>
                      <a:pt x="172" y="512"/>
                    </a:lnTo>
                    <a:lnTo>
                      <a:pt x="235" y="491"/>
                    </a:lnTo>
                    <a:lnTo>
                      <a:pt x="222" y="514"/>
                    </a:lnTo>
                    <a:lnTo>
                      <a:pt x="245" y="514"/>
                    </a:lnTo>
                    <a:lnTo>
                      <a:pt x="283" y="466"/>
                    </a:lnTo>
                    <a:lnTo>
                      <a:pt x="269" y="506"/>
                    </a:lnTo>
                    <a:lnTo>
                      <a:pt x="304" y="511"/>
                    </a:lnTo>
                    <a:lnTo>
                      <a:pt x="239" y="530"/>
                    </a:lnTo>
                    <a:lnTo>
                      <a:pt x="279" y="531"/>
                    </a:lnTo>
                    <a:lnTo>
                      <a:pt x="245" y="542"/>
                    </a:lnTo>
                    <a:lnTo>
                      <a:pt x="273" y="568"/>
                    </a:lnTo>
                    <a:lnTo>
                      <a:pt x="322" y="568"/>
                    </a:lnTo>
                    <a:lnTo>
                      <a:pt x="368" y="521"/>
                    </a:lnTo>
                    <a:lnTo>
                      <a:pt x="287" y="590"/>
                    </a:lnTo>
                    <a:lnTo>
                      <a:pt x="208" y="535"/>
                    </a:lnTo>
                    <a:lnTo>
                      <a:pt x="143" y="545"/>
                    </a:lnTo>
                    <a:lnTo>
                      <a:pt x="199" y="602"/>
                    </a:lnTo>
                    <a:lnTo>
                      <a:pt x="102" y="632"/>
                    </a:lnTo>
                    <a:lnTo>
                      <a:pt x="112" y="673"/>
                    </a:lnTo>
                    <a:lnTo>
                      <a:pt x="129" y="637"/>
                    </a:lnTo>
                    <a:lnTo>
                      <a:pt x="134" y="673"/>
                    </a:lnTo>
                    <a:lnTo>
                      <a:pt x="200" y="656"/>
                    </a:lnTo>
                    <a:lnTo>
                      <a:pt x="249" y="690"/>
                    </a:lnTo>
                    <a:lnTo>
                      <a:pt x="284" y="687"/>
                    </a:lnTo>
                    <a:lnTo>
                      <a:pt x="259" y="660"/>
                    </a:lnTo>
                    <a:lnTo>
                      <a:pt x="328" y="668"/>
                    </a:lnTo>
                    <a:lnTo>
                      <a:pt x="322" y="642"/>
                    </a:lnTo>
                    <a:lnTo>
                      <a:pt x="352" y="673"/>
                    </a:lnTo>
                    <a:lnTo>
                      <a:pt x="371" y="667"/>
                    </a:lnTo>
                    <a:lnTo>
                      <a:pt x="360" y="648"/>
                    </a:lnTo>
                    <a:lnTo>
                      <a:pt x="417" y="667"/>
                    </a:lnTo>
                    <a:lnTo>
                      <a:pt x="418" y="695"/>
                    </a:lnTo>
                    <a:lnTo>
                      <a:pt x="517" y="667"/>
                    </a:lnTo>
                    <a:lnTo>
                      <a:pt x="536" y="627"/>
                    </a:lnTo>
                    <a:lnTo>
                      <a:pt x="489" y="637"/>
                    </a:lnTo>
                    <a:lnTo>
                      <a:pt x="489" y="598"/>
                    </a:lnTo>
                    <a:lnTo>
                      <a:pt x="379" y="596"/>
                    </a:lnTo>
                    <a:lnTo>
                      <a:pt x="526" y="588"/>
                    </a:lnTo>
                    <a:lnTo>
                      <a:pt x="549" y="560"/>
                    </a:lnTo>
                    <a:lnTo>
                      <a:pt x="526" y="526"/>
                    </a:lnTo>
                    <a:lnTo>
                      <a:pt x="610" y="530"/>
                    </a:lnTo>
                    <a:lnTo>
                      <a:pt x="628" y="514"/>
                    </a:lnTo>
                    <a:lnTo>
                      <a:pt x="571" y="506"/>
                    </a:lnTo>
                    <a:lnTo>
                      <a:pt x="647" y="500"/>
                    </a:lnTo>
                    <a:lnTo>
                      <a:pt x="597" y="477"/>
                    </a:lnTo>
                    <a:lnTo>
                      <a:pt x="656" y="462"/>
                    </a:lnTo>
                    <a:lnTo>
                      <a:pt x="653" y="444"/>
                    </a:lnTo>
                    <a:lnTo>
                      <a:pt x="543" y="434"/>
                    </a:lnTo>
                    <a:lnTo>
                      <a:pt x="605" y="418"/>
                    </a:lnTo>
                    <a:lnTo>
                      <a:pt x="541" y="414"/>
                    </a:lnTo>
                    <a:lnTo>
                      <a:pt x="656" y="426"/>
                    </a:lnTo>
                    <a:lnTo>
                      <a:pt x="660" y="407"/>
                    </a:lnTo>
                    <a:lnTo>
                      <a:pt x="541" y="400"/>
                    </a:lnTo>
                    <a:lnTo>
                      <a:pt x="700" y="373"/>
                    </a:lnTo>
                    <a:lnTo>
                      <a:pt x="654" y="349"/>
                    </a:lnTo>
                    <a:lnTo>
                      <a:pt x="774" y="360"/>
                    </a:lnTo>
                    <a:lnTo>
                      <a:pt x="808" y="322"/>
                    </a:lnTo>
                    <a:lnTo>
                      <a:pt x="751" y="319"/>
                    </a:lnTo>
                    <a:lnTo>
                      <a:pt x="825" y="316"/>
                    </a:lnTo>
                    <a:lnTo>
                      <a:pt x="817" y="287"/>
                    </a:lnTo>
                    <a:lnTo>
                      <a:pt x="853" y="293"/>
                    </a:lnTo>
                    <a:lnTo>
                      <a:pt x="1050" y="178"/>
                    </a:lnTo>
                    <a:lnTo>
                      <a:pt x="833" y="220"/>
                    </a:lnTo>
                    <a:lnTo>
                      <a:pt x="952" y="170"/>
                    </a:lnTo>
                    <a:lnTo>
                      <a:pt x="879" y="176"/>
                    </a:lnTo>
                    <a:lnTo>
                      <a:pt x="863" y="153"/>
                    </a:lnTo>
                    <a:lnTo>
                      <a:pt x="998" y="165"/>
                    </a:lnTo>
                    <a:lnTo>
                      <a:pt x="1173" y="107"/>
                    </a:lnTo>
                    <a:lnTo>
                      <a:pt x="1171" y="78"/>
                    </a:lnTo>
                    <a:lnTo>
                      <a:pt x="1099" y="78"/>
                    </a:lnTo>
                    <a:lnTo>
                      <a:pt x="1082" y="28"/>
                    </a:lnTo>
                    <a:lnTo>
                      <a:pt x="879" y="51"/>
                    </a:lnTo>
                    <a:lnTo>
                      <a:pt x="964" y="19"/>
                    </a:lnTo>
                    <a:lnTo>
                      <a:pt x="699" y="0"/>
                    </a:lnTo>
                    <a:lnTo>
                      <a:pt x="677" y="24"/>
                    </a:lnTo>
                    <a:lnTo>
                      <a:pt x="698" y="36"/>
                    </a:lnTo>
                    <a:lnTo>
                      <a:pt x="647" y="13"/>
                    </a:lnTo>
                    <a:lnTo>
                      <a:pt x="528" y="15"/>
                    </a:lnTo>
                    <a:lnTo>
                      <a:pt x="613" y="62"/>
                    </a:lnTo>
                    <a:lnTo>
                      <a:pt x="582" y="78"/>
                    </a:lnTo>
                    <a:lnTo>
                      <a:pt x="541" y="27"/>
                    </a:lnTo>
                    <a:lnTo>
                      <a:pt x="430" y="23"/>
                    </a:lnTo>
                    <a:lnTo>
                      <a:pt x="451" y="44"/>
                    </a:lnTo>
                    <a:lnTo>
                      <a:pt x="369" y="36"/>
                    </a:lnTo>
                    <a:lnTo>
                      <a:pt x="411" y="70"/>
                    </a:lnTo>
                    <a:lnTo>
                      <a:pt x="343" y="50"/>
                    </a:lnTo>
                    <a:lnTo>
                      <a:pt x="366" y="70"/>
                    </a:lnTo>
                    <a:lnTo>
                      <a:pt x="326" y="78"/>
                    </a:lnTo>
                    <a:lnTo>
                      <a:pt x="411" y="123"/>
                    </a:lnTo>
                    <a:lnTo>
                      <a:pt x="227" y="72"/>
                    </a:lnTo>
                    <a:lnTo>
                      <a:pt x="182" y="108"/>
                    </a:lnTo>
                    <a:lnTo>
                      <a:pt x="254" y="126"/>
                    </a:lnTo>
                    <a:lnTo>
                      <a:pt x="134" y="112"/>
                    </a:lnTo>
                    <a:lnTo>
                      <a:pt x="0" y="16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0" name="Freeform 272"/>
              <p:cNvSpPr/>
              <p:nvPr/>
            </p:nvSpPr>
            <p:spPr bwMode="auto">
              <a:xfrm>
                <a:off x="1984" y="1930"/>
                <a:ext cx="312" cy="257"/>
              </a:xfrm>
              <a:custGeom>
                <a:avLst/>
                <a:gdLst>
                  <a:gd name="T0" fmla="*/ 0 w 1094"/>
                  <a:gd name="T1" fmla="*/ 2 h 902"/>
                  <a:gd name="T2" fmla="*/ 3 w 1094"/>
                  <a:gd name="T3" fmla="*/ 0 h 902"/>
                  <a:gd name="T4" fmla="*/ 3 w 1094"/>
                  <a:gd name="T5" fmla="*/ 2 h 902"/>
                  <a:gd name="T6" fmla="*/ 4 w 1094"/>
                  <a:gd name="T7" fmla="*/ 5 h 902"/>
                  <a:gd name="T8" fmla="*/ 5 w 1094"/>
                  <a:gd name="T9" fmla="*/ 5 h 902"/>
                  <a:gd name="T10" fmla="*/ 4 w 1094"/>
                  <a:gd name="T11" fmla="*/ 4 h 902"/>
                  <a:gd name="T12" fmla="*/ 4 w 1094"/>
                  <a:gd name="T13" fmla="*/ 2 h 902"/>
                  <a:gd name="T14" fmla="*/ 4 w 1094"/>
                  <a:gd name="T15" fmla="*/ 1 h 902"/>
                  <a:gd name="T16" fmla="*/ 4 w 1094"/>
                  <a:gd name="T17" fmla="*/ 1 h 902"/>
                  <a:gd name="T18" fmla="*/ 7 w 1094"/>
                  <a:gd name="T19" fmla="*/ 0 h 902"/>
                  <a:gd name="T20" fmla="*/ 8 w 1094"/>
                  <a:gd name="T21" fmla="*/ 1 h 902"/>
                  <a:gd name="T22" fmla="*/ 8 w 1094"/>
                  <a:gd name="T23" fmla="*/ 4 h 902"/>
                  <a:gd name="T24" fmla="*/ 10 w 1094"/>
                  <a:gd name="T25" fmla="*/ 3 h 902"/>
                  <a:gd name="T26" fmla="*/ 13 w 1094"/>
                  <a:gd name="T27" fmla="*/ 3 h 902"/>
                  <a:gd name="T28" fmla="*/ 13 w 1094"/>
                  <a:gd name="T29" fmla="*/ 4 h 902"/>
                  <a:gd name="T30" fmla="*/ 14 w 1094"/>
                  <a:gd name="T31" fmla="*/ 5 h 902"/>
                  <a:gd name="T32" fmla="*/ 15 w 1094"/>
                  <a:gd name="T33" fmla="*/ 4 h 902"/>
                  <a:gd name="T34" fmla="*/ 17 w 1094"/>
                  <a:gd name="T35" fmla="*/ 5 h 902"/>
                  <a:gd name="T36" fmla="*/ 17 w 1094"/>
                  <a:gd name="T37" fmla="*/ 5 h 902"/>
                  <a:gd name="T38" fmla="*/ 18 w 1094"/>
                  <a:gd name="T39" fmla="*/ 6 h 902"/>
                  <a:gd name="T40" fmla="*/ 19 w 1094"/>
                  <a:gd name="T41" fmla="*/ 6 h 902"/>
                  <a:gd name="T42" fmla="*/ 19 w 1094"/>
                  <a:gd name="T43" fmla="*/ 7 h 902"/>
                  <a:gd name="T44" fmla="*/ 19 w 1094"/>
                  <a:gd name="T45" fmla="*/ 7 h 902"/>
                  <a:gd name="T46" fmla="*/ 19 w 1094"/>
                  <a:gd name="T47" fmla="*/ 8 h 902"/>
                  <a:gd name="T48" fmla="*/ 19 w 1094"/>
                  <a:gd name="T49" fmla="*/ 9 h 902"/>
                  <a:gd name="T50" fmla="*/ 19 w 1094"/>
                  <a:gd name="T51" fmla="*/ 10 h 902"/>
                  <a:gd name="T52" fmla="*/ 23 w 1094"/>
                  <a:gd name="T53" fmla="*/ 11 h 902"/>
                  <a:gd name="T54" fmla="*/ 24 w 1094"/>
                  <a:gd name="T55" fmla="*/ 12 h 902"/>
                  <a:gd name="T56" fmla="*/ 25 w 1094"/>
                  <a:gd name="T57" fmla="*/ 13 h 902"/>
                  <a:gd name="T58" fmla="*/ 25 w 1094"/>
                  <a:gd name="T59" fmla="*/ 14 h 902"/>
                  <a:gd name="T60" fmla="*/ 25 w 1094"/>
                  <a:gd name="T61" fmla="*/ 15 h 902"/>
                  <a:gd name="T62" fmla="*/ 23 w 1094"/>
                  <a:gd name="T63" fmla="*/ 16 h 902"/>
                  <a:gd name="T64" fmla="*/ 19 w 1094"/>
                  <a:gd name="T65" fmla="*/ 14 h 902"/>
                  <a:gd name="T66" fmla="*/ 20 w 1094"/>
                  <a:gd name="T67" fmla="*/ 15 h 902"/>
                  <a:gd name="T68" fmla="*/ 21 w 1094"/>
                  <a:gd name="T69" fmla="*/ 16 h 902"/>
                  <a:gd name="T70" fmla="*/ 22 w 1094"/>
                  <a:gd name="T71" fmla="*/ 17 h 902"/>
                  <a:gd name="T72" fmla="*/ 23 w 1094"/>
                  <a:gd name="T73" fmla="*/ 20 h 902"/>
                  <a:gd name="T74" fmla="*/ 21 w 1094"/>
                  <a:gd name="T75" fmla="*/ 21 h 902"/>
                  <a:gd name="T76" fmla="*/ 16 w 1094"/>
                  <a:gd name="T77" fmla="*/ 18 h 902"/>
                  <a:gd name="T78" fmla="*/ 15 w 1094"/>
                  <a:gd name="T79" fmla="*/ 18 h 902"/>
                  <a:gd name="T80" fmla="*/ 14 w 1094"/>
                  <a:gd name="T81" fmla="*/ 16 h 902"/>
                  <a:gd name="T82" fmla="*/ 13 w 1094"/>
                  <a:gd name="T83" fmla="*/ 17 h 902"/>
                  <a:gd name="T84" fmla="*/ 11 w 1094"/>
                  <a:gd name="T85" fmla="*/ 17 h 902"/>
                  <a:gd name="T86" fmla="*/ 15 w 1094"/>
                  <a:gd name="T87" fmla="*/ 15 h 902"/>
                  <a:gd name="T88" fmla="*/ 16 w 1094"/>
                  <a:gd name="T89" fmla="*/ 12 h 902"/>
                  <a:gd name="T90" fmla="*/ 13 w 1094"/>
                  <a:gd name="T91" fmla="*/ 9 h 902"/>
                  <a:gd name="T92" fmla="*/ 12 w 1094"/>
                  <a:gd name="T93" fmla="*/ 10 h 902"/>
                  <a:gd name="T94" fmla="*/ 13 w 1094"/>
                  <a:gd name="T95" fmla="*/ 9 h 902"/>
                  <a:gd name="T96" fmla="*/ 11 w 1094"/>
                  <a:gd name="T97" fmla="*/ 7 h 902"/>
                  <a:gd name="T98" fmla="*/ 10 w 1094"/>
                  <a:gd name="T99" fmla="*/ 7 h 902"/>
                  <a:gd name="T100" fmla="*/ 8 w 1094"/>
                  <a:gd name="T101" fmla="*/ 8 h 902"/>
                  <a:gd name="T102" fmla="*/ 1 w 1094"/>
                  <a:gd name="T103" fmla="*/ 5 h 902"/>
                  <a:gd name="T104" fmla="*/ 0 w 1094"/>
                  <a:gd name="T105" fmla="*/ 5 h 9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94"/>
                  <a:gd name="T160" fmla="*/ 0 h 902"/>
                  <a:gd name="T161" fmla="*/ 1094 w 1094"/>
                  <a:gd name="T162" fmla="*/ 902 h 90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94" h="902">
                    <a:moveTo>
                      <a:pt x="0" y="202"/>
                    </a:moveTo>
                    <a:lnTo>
                      <a:pt x="9" y="103"/>
                    </a:lnTo>
                    <a:lnTo>
                      <a:pt x="54" y="31"/>
                    </a:lnTo>
                    <a:lnTo>
                      <a:pt x="130" y="0"/>
                    </a:lnTo>
                    <a:lnTo>
                      <a:pt x="191" y="14"/>
                    </a:lnTo>
                    <a:lnTo>
                      <a:pt x="125" y="103"/>
                    </a:lnTo>
                    <a:lnTo>
                      <a:pt x="144" y="158"/>
                    </a:lnTo>
                    <a:lnTo>
                      <a:pt x="191" y="212"/>
                    </a:lnTo>
                    <a:lnTo>
                      <a:pt x="130" y="231"/>
                    </a:lnTo>
                    <a:lnTo>
                      <a:pt x="195" y="230"/>
                    </a:lnTo>
                    <a:lnTo>
                      <a:pt x="204" y="184"/>
                    </a:lnTo>
                    <a:lnTo>
                      <a:pt x="155" y="156"/>
                    </a:lnTo>
                    <a:lnTo>
                      <a:pt x="195" y="123"/>
                    </a:lnTo>
                    <a:lnTo>
                      <a:pt x="166" y="78"/>
                    </a:lnTo>
                    <a:lnTo>
                      <a:pt x="229" y="89"/>
                    </a:lnTo>
                    <a:lnTo>
                      <a:pt x="170" y="68"/>
                    </a:lnTo>
                    <a:lnTo>
                      <a:pt x="236" y="73"/>
                    </a:lnTo>
                    <a:lnTo>
                      <a:pt x="190" y="42"/>
                    </a:lnTo>
                    <a:lnTo>
                      <a:pt x="242" y="43"/>
                    </a:lnTo>
                    <a:lnTo>
                      <a:pt x="279" y="14"/>
                    </a:lnTo>
                    <a:lnTo>
                      <a:pt x="324" y="11"/>
                    </a:lnTo>
                    <a:lnTo>
                      <a:pt x="326" y="51"/>
                    </a:lnTo>
                    <a:lnTo>
                      <a:pt x="358" y="68"/>
                    </a:lnTo>
                    <a:lnTo>
                      <a:pt x="348" y="158"/>
                    </a:lnTo>
                    <a:lnTo>
                      <a:pt x="392" y="115"/>
                    </a:lnTo>
                    <a:lnTo>
                      <a:pt x="414" y="134"/>
                    </a:lnTo>
                    <a:lnTo>
                      <a:pt x="476" y="91"/>
                    </a:lnTo>
                    <a:lnTo>
                      <a:pt x="564" y="115"/>
                    </a:lnTo>
                    <a:lnTo>
                      <a:pt x="603" y="158"/>
                    </a:lnTo>
                    <a:lnTo>
                      <a:pt x="575" y="184"/>
                    </a:lnTo>
                    <a:lnTo>
                      <a:pt x="630" y="173"/>
                    </a:lnTo>
                    <a:lnTo>
                      <a:pt x="614" y="199"/>
                    </a:lnTo>
                    <a:lnTo>
                      <a:pt x="646" y="212"/>
                    </a:lnTo>
                    <a:lnTo>
                      <a:pt x="671" y="180"/>
                    </a:lnTo>
                    <a:lnTo>
                      <a:pt x="711" y="196"/>
                    </a:lnTo>
                    <a:lnTo>
                      <a:pt x="724" y="222"/>
                    </a:lnTo>
                    <a:lnTo>
                      <a:pt x="690" y="230"/>
                    </a:lnTo>
                    <a:lnTo>
                      <a:pt x="742" y="230"/>
                    </a:lnTo>
                    <a:lnTo>
                      <a:pt x="733" y="265"/>
                    </a:lnTo>
                    <a:lnTo>
                      <a:pt x="772" y="246"/>
                    </a:lnTo>
                    <a:lnTo>
                      <a:pt x="748" y="276"/>
                    </a:lnTo>
                    <a:lnTo>
                      <a:pt x="826" y="268"/>
                    </a:lnTo>
                    <a:lnTo>
                      <a:pt x="782" y="299"/>
                    </a:lnTo>
                    <a:lnTo>
                      <a:pt x="820" y="299"/>
                    </a:lnTo>
                    <a:lnTo>
                      <a:pt x="804" y="321"/>
                    </a:lnTo>
                    <a:lnTo>
                      <a:pt x="838" y="291"/>
                    </a:lnTo>
                    <a:lnTo>
                      <a:pt x="874" y="322"/>
                    </a:lnTo>
                    <a:lnTo>
                      <a:pt x="810" y="348"/>
                    </a:lnTo>
                    <a:lnTo>
                      <a:pt x="900" y="371"/>
                    </a:lnTo>
                    <a:lnTo>
                      <a:pt x="825" y="379"/>
                    </a:lnTo>
                    <a:lnTo>
                      <a:pt x="853" y="391"/>
                    </a:lnTo>
                    <a:lnTo>
                      <a:pt x="829" y="419"/>
                    </a:lnTo>
                    <a:lnTo>
                      <a:pt x="921" y="473"/>
                    </a:lnTo>
                    <a:lnTo>
                      <a:pt x="968" y="464"/>
                    </a:lnTo>
                    <a:lnTo>
                      <a:pt x="986" y="529"/>
                    </a:lnTo>
                    <a:lnTo>
                      <a:pt x="1031" y="523"/>
                    </a:lnTo>
                    <a:lnTo>
                      <a:pt x="1029" y="551"/>
                    </a:lnTo>
                    <a:lnTo>
                      <a:pt x="1094" y="565"/>
                    </a:lnTo>
                    <a:lnTo>
                      <a:pt x="1086" y="599"/>
                    </a:lnTo>
                    <a:lnTo>
                      <a:pt x="1053" y="594"/>
                    </a:lnTo>
                    <a:lnTo>
                      <a:pt x="1068" y="614"/>
                    </a:lnTo>
                    <a:lnTo>
                      <a:pt x="1052" y="647"/>
                    </a:lnTo>
                    <a:lnTo>
                      <a:pt x="1020" y="632"/>
                    </a:lnTo>
                    <a:lnTo>
                      <a:pt x="1013" y="697"/>
                    </a:lnTo>
                    <a:lnTo>
                      <a:pt x="888" y="578"/>
                    </a:lnTo>
                    <a:lnTo>
                      <a:pt x="842" y="588"/>
                    </a:lnTo>
                    <a:lnTo>
                      <a:pt x="874" y="618"/>
                    </a:lnTo>
                    <a:lnTo>
                      <a:pt x="849" y="647"/>
                    </a:lnTo>
                    <a:lnTo>
                      <a:pt x="868" y="645"/>
                    </a:lnTo>
                    <a:lnTo>
                      <a:pt x="895" y="703"/>
                    </a:lnTo>
                    <a:lnTo>
                      <a:pt x="956" y="717"/>
                    </a:lnTo>
                    <a:lnTo>
                      <a:pt x="950" y="751"/>
                    </a:lnTo>
                    <a:lnTo>
                      <a:pt x="983" y="778"/>
                    </a:lnTo>
                    <a:lnTo>
                      <a:pt x="969" y="858"/>
                    </a:lnTo>
                    <a:lnTo>
                      <a:pt x="810" y="775"/>
                    </a:lnTo>
                    <a:lnTo>
                      <a:pt x="916" y="902"/>
                    </a:lnTo>
                    <a:lnTo>
                      <a:pt x="719" y="832"/>
                    </a:lnTo>
                    <a:lnTo>
                      <a:pt x="691" y="789"/>
                    </a:lnTo>
                    <a:lnTo>
                      <a:pt x="718" y="785"/>
                    </a:lnTo>
                    <a:lnTo>
                      <a:pt x="654" y="762"/>
                    </a:lnTo>
                    <a:lnTo>
                      <a:pt x="635" y="713"/>
                    </a:lnTo>
                    <a:lnTo>
                      <a:pt x="584" y="697"/>
                    </a:lnTo>
                    <a:lnTo>
                      <a:pt x="581" y="729"/>
                    </a:lnTo>
                    <a:lnTo>
                      <a:pt x="553" y="713"/>
                    </a:lnTo>
                    <a:lnTo>
                      <a:pt x="512" y="744"/>
                    </a:lnTo>
                    <a:lnTo>
                      <a:pt x="457" y="713"/>
                    </a:lnTo>
                    <a:lnTo>
                      <a:pt x="483" y="657"/>
                    </a:lnTo>
                    <a:lnTo>
                      <a:pt x="630" y="657"/>
                    </a:lnTo>
                    <a:lnTo>
                      <a:pt x="594" y="602"/>
                    </a:lnTo>
                    <a:lnTo>
                      <a:pt x="677" y="523"/>
                    </a:lnTo>
                    <a:lnTo>
                      <a:pt x="619" y="417"/>
                    </a:lnTo>
                    <a:lnTo>
                      <a:pt x="578" y="407"/>
                    </a:lnTo>
                    <a:lnTo>
                      <a:pt x="602" y="391"/>
                    </a:lnTo>
                    <a:lnTo>
                      <a:pt x="513" y="418"/>
                    </a:lnTo>
                    <a:lnTo>
                      <a:pt x="512" y="388"/>
                    </a:lnTo>
                    <a:lnTo>
                      <a:pt x="544" y="371"/>
                    </a:lnTo>
                    <a:lnTo>
                      <a:pt x="477" y="329"/>
                    </a:lnTo>
                    <a:lnTo>
                      <a:pt x="476" y="298"/>
                    </a:lnTo>
                    <a:lnTo>
                      <a:pt x="412" y="280"/>
                    </a:lnTo>
                    <a:lnTo>
                      <a:pt x="428" y="325"/>
                    </a:lnTo>
                    <a:lnTo>
                      <a:pt x="321" y="308"/>
                    </a:lnTo>
                    <a:lnTo>
                      <a:pt x="350" y="334"/>
                    </a:lnTo>
                    <a:lnTo>
                      <a:pt x="71" y="289"/>
                    </a:lnTo>
                    <a:lnTo>
                      <a:pt x="22" y="230"/>
                    </a:lnTo>
                    <a:lnTo>
                      <a:pt x="111" y="233"/>
                    </a:lnTo>
                    <a:lnTo>
                      <a:pt x="0" y="20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1" name="Freeform 273"/>
              <p:cNvSpPr/>
              <p:nvPr/>
            </p:nvSpPr>
            <p:spPr bwMode="auto">
              <a:xfrm>
                <a:off x="2016" y="2107"/>
                <a:ext cx="72" cy="56"/>
              </a:xfrm>
              <a:custGeom>
                <a:avLst/>
                <a:gdLst>
                  <a:gd name="T0" fmla="*/ 0 w 254"/>
                  <a:gd name="T1" fmla="*/ 4 h 197"/>
                  <a:gd name="T2" fmla="*/ 1 w 254"/>
                  <a:gd name="T3" fmla="*/ 3 h 197"/>
                  <a:gd name="T4" fmla="*/ 1 w 254"/>
                  <a:gd name="T5" fmla="*/ 0 h 197"/>
                  <a:gd name="T6" fmla="*/ 2 w 254"/>
                  <a:gd name="T7" fmla="*/ 1 h 197"/>
                  <a:gd name="T8" fmla="*/ 3 w 254"/>
                  <a:gd name="T9" fmla="*/ 1 h 197"/>
                  <a:gd name="T10" fmla="*/ 6 w 254"/>
                  <a:gd name="T11" fmla="*/ 3 h 197"/>
                  <a:gd name="T12" fmla="*/ 5 w 254"/>
                  <a:gd name="T13" fmla="*/ 4 h 197"/>
                  <a:gd name="T14" fmla="*/ 3 w 254"/>
                  <a:gd name="T15" fmla="*/ 3 h 197"/>
                  <a:gd name="T16" fmla="*/ 2 w 254"/>
                  <a:gd name="T17" fmla="*/ 5 h 197"/>
                  <a:gd name="T18" fmla="*/ 1 w 254"/>
                  <a:gd name="T19" fmla="*/ 3 h 197"/>
                  <a:gd name="T20" fmla="*/ 0 w 254"/>
                  <a:gd name="T21" fmla="*/ 4 h 1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4"/>
                  <a:gd name="T34" fmla="*/ 0 h 197"/>
                  <a:gd name="T35" fmla="*/ 254 w 254"/>
                  <a:gd name="T36" fmla="*/ 197 h 1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4" h="197">
                    <a:moveTo>
                      <a:pt x="0" y="161"/>
                    </a:moveTo>
                    <a:lnTo>
                      <a:pt x="36" y="123"/>
                    </a:lnTo>
                    <a:lnTo>
                      <a:pt x="59" y="0"/>
                    </a:lnTo>
                    <a:lnTo>
                      <a:pt x="80" y="45"/>
                    </a:lnTo>
                    <a:lnTo>
                      <a:pt x="140" y="55"/>
                    </a:lnTo>
                    <a:lnTo>
                      <a:pt x="254" y="145"/>
                    </a:lnTo>
                    <a:lnTo>
                      <a:pt x="239" y="176"/>
                    </a:lnTo>
                    <a:lnTo>
                      <a:pt x="136" y="134"/>
                    </a:lnTo>
                    <a:lnTo>
                      <a:pt x="73" y="197"/>
                    </a:lnTo>
                    <a:lnTo>
                      <a:pt x="57" y="145"/>
                    </a:lnTo>
                    <a:lnTo>
                      <a:pt x="0" y="16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2" name="Freeform 274"/>
              <p:cNvSpPr/>
              <p:nvPr/>
            </p:nvSpPr>
            <p:spPr bwMode="auto">
              <a:xfrm>
                <a:off x="2319" y="2371"/>
                <a:ext cx="72" cy="83"/>
              </a:xfrm>
              <a:custGeom>
                <a:avLst/>
                <a:gdLst>
                  <a:gd name="T0" fmla="*/ 0 w 255"/>
                  <a:gd name="T1" fmla="*/ 6 h 286"/>
                  <a:gd name="T2" fmla="*/ 2 w 255"/>
                  <a:gd name="T3" fmla="*/ 0 h 286"/>
                  <a:gd name="T4" fmla="*/ 3 w 255"/>
                  <a:gd name="T5" fmla="*/ 0 h 286"/>
                  <a:gd name="T6" fmla="*/ 2 w 255"/>
                  <a:gd name="T7" fmla="*/ 3 h 286"/>
                  <a:gd name="T8" fmla="*/ 3 w 255"/>
                  <a:gd name="T9" fmla="*/ 2 h 286"/>
                  <a:gd name="T10" fmla="*/ 3 w 255"/>
                  <a:gd name="T11" fmla="*/ 3 h 286"/>
                  <a:gd name="T12" fmla="*/ 5 w 255"/>
                  <a:gd name="T13" fmla="*/ 3 h 286"/>
                  <a:gd name="T14" fmla="*/ 5 w 255"/>
                  <a:gd name="T15" fmla="*/ 4 h 286"/>
                  <a:gd name="T16" fmla="*/ 5 w 255"/>
                  <a:gd name="T17" fmla="*/ 4 h 286"/>
                  <a:gd name="T18" fmla="*/ 5 w 255"/>
                  <a:gd name="T19" fmla="*/ 6 h 286"/>
                  <a:gd name="T20" fmla="*/ 6 w 255"/>
                  <a:gd name="T21" fmla="*/ 5 h 286"/>
                  <a:gd name="T22" fmla="*/ 6 w 255"/>
                  <a:gd name="T23" fmla="*/ 6 h 286"/>
                  <a:gd name="T24" fmla="*/ 5 w 255"/>
                  <a:gd name="T25" fmla="*/ 7 h 286"/>
                  <a:gd name="T26" fmla="*/ 5 w 255"/>
                  <a:gd name="T27" fmla="*/ 6 h 286"/>
                  <a:gd name="T28" fmla="*/ 5 w 255"/>
                  <a:gd name="T29" fmla="*/ 7 h 286"/>
                  <a:gd name="T30" fmla="*/ 5 w 255"/>
                  <a:gd name="T31" fmla="*/ 5 h 286"/>
                  <a:gd name="T32" fmla="*/ 3 w 255"/>
                  <a:gd name="T33" fmla="*/ 7 h 286"/>
                  <a:gd name="T34" fmla="*/ 4 w 255"/>
                  <a:gd name="T35" fmla="*/ 6 h 286"/>
                  <a:gd name="T36" fmla="*/ 3 w 255"/>
                  <a:gd name="T37" fmla="*/ 6 h 286"/>
                  <a:gd name="T38" fmla="*/ 3 w 255"/>
                  <a:gd name="T39" fmla="*/ 5 h 286"/>
                  <a:gd name="T40" fmla="*/ 0 w 255"/>
                  <a:gd name="T41" fmla="*/ 6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5"/>
                  <a:gd name="T64" fmla="*/ 0 h 286"/>
                  <a:gd name="T65" fmla="*/ 255 w 255"/>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5" h="286">
                    <a:moveTo>
                      <a:pt x="0" y="223"/>
                    </a:moveTo>
                    <a:lnTo>
                      <a:pt x="106" y="15"/>
                    </a:lnTo>
                    <a:lnTo>
                      <a:pt x="146" y="0"/>
                    </a:lnTo>
                    <a:lnTo>
                      <a:pt x="97" y="112"/>
                    </a:lnTo>
                    <a:lnTo>
                      <a:pt x="130" y="87"/>
                    </a:lnTo>
                    <a:lnTo>
                      <a:pt x="152" y="135"/>
                    </a:lnTo>
                    <a:lnTo>
                      <a:pt x="219" y="135"/>
                    </a:lnTo>
                    <a:lnTo>
                      <a:pt x="205" y="177"/>
                    </a:lnTo>
                    <a:lnTo>
                      <a:pt x="240" y="173"/>
                    </a:lnTo>
                    <a:lnTo>
                      <a:pt x="214" y="219"/>
                    </a:lnTo>
                    <a:lnTo>
                      <a:pt x="248" y="194"/>
                    </a:lnTo>
                    <a:lnTo>
                      <a:pt x="255" y="237"/>
                    </a:lnTo>
                    <a:lnTo>
                      <a:pt x="222" y="286"/>
                    </a:lnTo>
                    <a:lnTo>
                      <a:pt x="219" y="250"/>
                    </a:lnTo>
                    <a:lnTo>
                      <a:pt x="204" y="269"/>
                    </a:lnTo>
                    <a:lnTo>
                      <a:pt x="204" y="214"/>
                    </a:lnTo>
                    <a:lnTo>
                      <a:pt x="140" y="269"/>
                    </a:lnTo>
                    <a:lnTo>
                      <a:pt x="178" y="233"/>
                    </a:lnTo>
                    <a:lnTo>
                      <a:pt x="123" y="237"/>
                    </a:lnTo>
                    <a:lnTo>
                      <a:pt x="138" y="217"/>
                    </a:lnTo>
                    <a:lnTo>
                      <a:pt x="0" y="22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3" name="Freeform 275"/>
              <p:cNvSpPr/>
              <p:nvPr/>
            </p:nvSpPr>
            <p:spPr bwMode="auto">
              <a:xfrm>
                <a:off x="2143" y="3305"/>
                <a:ext cx="90" cy="527"/>
              </a:xfrm>
              <a:custGeom>
                <a:avLst/>
                <a:gdLst>
                  <a:gd name="T0" fmla="*/ 0 w 317"/>
                  <a:gd name="T1" fmla="*/ 33 h 1850"/>
                  <a:gd name="T2" fmla="*/ 1 w 317"/>
                  <a:gd name="T3" fmla="*/ 32 h 1850"/>
                  <a:gd name="T4" fmla="*/ 1 w 317"/>
                  <a:gd name="T5" fmla="*/ 33 h 1850"/>
                  <a:gd name="T6" fmla="*/ 3 w 317"/>
                  <a:gd name="T7" fmla="*/ 31 h 1850"/>
                  <a:gd name="T8" fmla="*/ 2 w 317"/>
                  <a:gd name="T9" fmla="*/ 30 h 1850"/>
                  <a:gd name="T10" fmla="*/ 3 w 317"/>
                  <a:gd name="T11" fmla="*/ 27 h 1850"/>
                  <a:gd name="T12" fmla="*/ 1 w 317"/>
                  <a:gd name="T13" fmla="*/ 27 h 1850"/>
                  <a:gd name="T14" fmla="*/ 2 w 317"/>
                  <a:gd name="T15" fmla="*/ 22 h 1850"/>
                  <a:gd name="T16" fmla="*/ 3 w 317"/>
                  <a:gd name="T17" fmla="*/ 17 h 1850"/>
                  <a:gd name="T18" fmla="*/ 3 w 317"/>
                  <a:gd name="T19" fmla="*/ 13 h 1850"/>
                  <a:gd name="T20" fmla="*/ 5 w 317"/>
                  <a:gd name="T21" fmla="*/ 4 h 1850"/>
                  <a:gd name="T22" fmla="*/ 4 w 317"/>
                  <a:gd name="T23" fmla="*/ 1 h 1850"/>
                  <a:gd name="T24" fmla="*/ 5 w 317"/>
                  <a:gd name="T25" fmla="*/ 0 h 1850"/>
                  <a:gd name="T26" fmla="*/ 6 w 317"/>
                  <a:gd name="T27" fmla="*/ 2 h 1850"/>
                  <a:gd name="T28" fmla="*/ 7 w 317"/>
                  <a:gd name="T29" fmla="*/ 6 h 1850"/>
                  <a:gd name="T30" fmla="*/ 7 w 317"/>
                  <a:gd name="T31" fmla="*/ 6 h 1850"/>
                  <a:gd name="T32" fmla="*/ 7 w 317"/>
                  <a:gd name="T33" fmla="*/ 7 h 1850"/>
                  <a:gd name="T34" fmla="*/ 6 w 317"/>
                  <a:gd name="T35" fmla="*/ 7 h 1850"/>
                  <a:gd name="T36" fmla="*/ 6 w 317"/>
                  <a:gd name="T37" fmla="*/ 10 h 1850"/>
                  <a:gd name="T38" fmla="*/ 5 w 317"/>
                  <a:gd name="T39" fmla="*/ 11 h 1850"/>
                  <a:gd name="T40" fmla="*/ 5 w 317"/>
                  <a:gd name="T41" fmla="*/ 15 h 1850"/>
                  <a:gd name="T42" fmla="*/ 5 w 317"/>
                  <a:gd name="T43" fmla="*/ 18 h 1850"/>
                  <a:gd name="T44" fmla="*/ 4 w 317"/>
                  <a:gd name="T45" fmla="*/ 21 h 1850"/>
                  <a:gd name="T46" fmla="*/ 3 w 317"/>
                  <a:gd name="T47" fmla="*/ 28 h 1850"/>
                  <a:gd name="T48" fmla="*/ 4 w 317"/>
                  <a:gd name="T49" fmla="*/ 31 h 1850"/>
                  <a:gd name="T50" fmla="*/ 3 w 317"/>
                  <a:gd name="T51" fmla="*/ 31 h 1850"/>
                  <a:gd name="T52" fmla="*/ 3 w 317"/>
                  <a:gd name="T53" fmla="*/ 33 h 1850"/>
                  <a:gd name="T54" fmla="*/ 2 w 317"/>
                  <a:gd name="T55" fmla="*/ 38 h 1850"/>
                  <a:gd name="T56" fmla="*/ 2 w 317"/>
                  <a:gd name="T57" fmla="*/ 39 h 1850"/>
                  <a:gd name="T58" fmla="*/ 3 w 317"/>
                  <a:gd name="T59" fmla="*/ 38 h 1850"/>
                  <a:gd name="T60" fmla="*/ 3 w 317"/>
                  <a:gd name="T61" fmla="*/ 40 h 1850"/>
                  <a:gd name="T62" fmla="*/ 6 w 317"/>
                  <a:gd name="T63" fmla="*/ 41 h 1850"/>
                  <a:gd name="T64" fmla="*/ 4 w 317"/>
                  <a:gd name="T65" fmla="*/ 41 h 1850"/>
                  <a:gd name="T66" fmla="*/ 4 w 317"/>
                  <a:gd name="T67" fmla="*/ 43 h 1850"/>
                  <a:gd name="T68" fmla="*/ 3 w 317"/>
                  <a:gd name="T69" fmla="*/ 42 h 1850"/>
                  <a:gd name="T70" fmla="*/ 4 w 317"/>
                  <a:gd name="T71" fmla="*/ 42 h 1850"/>
                  <a:gd name="T72" fmla="*/ 3 w 317"/>
                  <a:gd name="T73" fmla="*/ 41 h 1850"/>
                  <a:gd name="T74" fmla="*/ 2 w 317"/>
                  <a:gd name="T75" fmla="*/ 40 h 1850"/>
                  <a:gd name="T76" fmla="*/ 2 w 317"/>
                  <a:gd name="T77" fmla="*/ 40 h 1850"/>
                  <a:gd name="T78" fmla="*/ 1 w 317"/>
                  <a:gd name="T79" fmla="*/ 39 h 1850"/>
                  <a:gd name="T80" fmla="*/ 1 w 317"/>
                  <a:gd name="T81" fmla="*/ 38 h 1850"/>
                  <a:gd name="T82" fmla="*/ 1 w 317"/>
                  <a:gd name="T83" fmla="*/ 38 h 1850"/>
                  <a:gd name="T84" fmla="*/ 1 w 317"/>
                  <a:gd name="T85" fmla="*/ 37 h 1850"/>
                  <a:gd name="T86" fmla="*/ 1 w 317"/>
                  <a:gd name="T87" fmla="*/ 35 h 1850"/>
                  <a:gd name="T88" fmla="*/ 2 w 317"/>
                  <a:gd name="T89" fmla="*/ 35 h 1850"/>
                  <a:gd name="T90" fmla="*/ 1 w 317"/>
                  <a:gd name="T91" fmla="*/ 34 h 1850"/>
                  <a:gd name="T92" fmla="*/ 1 w 317"/>
                  <a:gd name="T93" fmla="*/ 33 h 1850"/>
                  <a:gd name="T94" fmla="*/ 0 w 317"/>
                  <a:gd name="T95" fmla="*/ 33 h 1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7"/>
                  <a:gd name="T145" fmla="*/ 0 h 1850"/>
                  <a:gd name="T146" fmla="*/ 317 w 317"/>
                  <a:gd name="T147" fmla="*/ 1850 h 1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7" h="1850">
                    <a:moveTo>
                      <a:pt x="0" y="1447"/>
                    </a:moveTo>
                    <a:lnTo>
                      <a:pt x="22" y="1397"/>
                    </a:lnTo>
                    <a:lnTo>
                      <a:pt x="68" y="1434"/>
                    </a:lnTo>
                    <a:lnTo>
                      <a:pt x="108" y="1339"/>
                    </a:lnTo>
                    <a:lnTo>
                      <a:pt x="91" y="1302"/>
                    </a:lnTo>
                    <a:lnTo>
                      <a:pt x="124" y="1171"/>
                    </a:lnTo>
                    <a:lnTo>
                      <a:pt x="67" y="1160"/>
                    </a:lnTo>
                    <a:lnTo>
                      <a:pt x="74" y="948"/>
                    </a:lnTo>
                    <a:lnTo>
                      <a:pt x="153" y="726"/>
                    </a:lnTo>
                    <a:lnTo>
                      <a:pt x="152" y="541"/>
                    </a:lnTo>
                    <a:lnTo>
                      <a:pt x="207" y="188"/>
                    </a:lnTo>
                    <a:lnTo>
                      <a:pt x="188" y="32"/>
                    </a:lnTo>
                    <a:lnTo>
                      <a:pt x="226" y="0"/>
                    </a:lnTo>
                    <a:lnTo>
                      <a:pt x="266" y="81"/>
                    </a:lnTo>
                    <a:lnTo>
                      <a:pt x="289" y="246"/>
                    </a:lnTo>
                    <a:lnTo>
                      <a:pt x="317" y="249"/>
                    </a:lnTo>
                    <a:lnTo>
                      <a:pt x="312" y="304"/>
                    </a:lnTo>
                    <a:lnTo>
                      <a:pt x="270" y="327"/>
                    </a:lnTo>
                    <a:lnTo>
                      <a:pt x="271" y="435"/>
                    </a:lnTo>
                    <a:lnTo>
                      <a:pt x="226" y="496"/>
                    </a:lnTo>
                    <a:lnTo>
                      <a:pt x="192" y="648"/>
                    </a:lnTo>
                    <a:lnTo>
                      <a:pt x="218" y="791"/>
                    </a:lnTo>
                    <a:lnTo>
                      <a:pt x="168" y="913"/>
                    </a:lnTo>
                    <a:lnTo>
                      <a:pt x="135" y="1218"/>
                    </a:lnTo>
                    <a:lnTo>
                      <a:pt x="162" y="1329"/>
                    </a:lnTo>
                    <a:lnTo>
                      <a:pt x="137" y="1339"/>
                    </a:lnTo>
                    <a:lnTo>
                      <a:pt x="148" y="1438"/>
                    </a:lnTo>
                    <a:lnTo>
                      <a:pt x="83" y="1643"/>
                    </a:lnTo>
                    <a:lnTo>
                      <a:pt x="90" y="1677"/>
                    </a:lnTo>
                    <a:lnTo>
                      <a:pt x="121" y="1664"/>
                    </a:lnTo>
                    <a:lnTo>
                      <a:pt x="135" y="1743"/>
                    </a:lnTo>
                    <a:lnTo>
                      <a:pt x="271" y="1761"/>
                    </a:lnTo>
                    <a:lnTo>
                      <a:pt x="180" y="1792"/>
                    </a:lnTo>
                    <a:lnTo>
                      <a:pt x="168" y="1850"/>
                    </a:lnTo>
                    <a:lnTo>
                      <a:pt x="129" y="1834"/>
                    </a:lnTo>
                    <a:lnTo>
                      <a:pt x="171" y="1797"/>
                    </a:lnTo>
                    <a:lnTo>
                      <a:pt x="107" y="1780"/>
                    </a:lnTo>
                    <a:lnTo>
                      <a:pt x="98" y="1715"/>
                    </a:lnTo>
                    <a:lnTo>
                      <a:pt x="80" y="1746"/>
                    </a:lnTo>
                    <a:lnTo>
                      <a:pt x="56" y="1685"/>
                    </a:lnTo>
                    <a:lnTo>
                      <a:pt x="68" y="1668"/>
                    </a:lnTo>
                    <a:lnTo>
                      <a:pt x="36" y="1638"/>
                    </a:lnTo>
                    <a:lnTo>
                      <a:pt x="67" y="1607"/>
                    </a:lnTo>
                    <a:lnTo>
                      <a:pt x="38" y="1516"/>
                    </a:lnTo>
                    <a:lnTo>
                      <a:pt x="89" y="1526"/>
                    </a:lnTo>
                    <a:lnTo>
                      <a:pt x="38" y="1478"/>
                    </a:lnTo>
                    <a:lnTo>
                      <a:pt x="51" y="1446"/>
                    </a:lnTo>
                    <a:lnTo>
                      <a:pt x="0" y="144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4" name="Freeform 276"/>
              <p:cNvSpPr/>
              <p:nvPr/>
            </p:nvSpPr>
            <p:spPr bwMode="auto">
              <a:xfrm>
                <a:off x="2147" y="3748"/>
                <a:ext cx="7" cy="20"/>
              </a:xfrm>
              <a:custGeom>
                <a:avLst/>
                <a:gdLst>
                  <a:gd name="T0" fmla="*/ 0 w 23"/>
                  <a:gd name="T1" fmla="*/ 1 h 69"/>
                  <a:gd name="T2" fmla="*/ 0 w 23"/>
                  <a:gd name="T3" fmla="*/ 0 h 69"/>
                  <a:gd name="T4" fmla="*/ 1 w 23"/>
                  <a:gd name="T5" fmla="*/ 2 h 69"/>
                  <a:gd name="T6" fmla="*/ 0 w 23"/>
                  <a:gd name="T7" fmla="*/ 1 h 69"/>
                  <a:gd name="T8" fmla="*/ 0 60000 65536"/>
                  <a:gd name="T9" fmla="*/ 0 60000 65536"/>
                  <a:gd name="T10" fmla="*/ 0 60000 65536"/>
                  <a:gd name="T11" fmla="*/ 0 60000 65536"/>
                  <a:gd name="T12" fmla="*/ 0 w 23"/>
                  <a:gd name="T13" fmla="*/ 0 h 69"/>
                  <a:gd name="T14" fmla="*/ 23 w 23"/>
                  <a:gd name="T15" fmla="*/ 69 h 69"/>
                </a:gdLst>
                <a:ahLst/>
                <a:cxnLst>
                  <a:cxn ang="T8">
                    <a:pos x="T0" y="T1"/>
                  </a:cxn>
                  <a:cxn ang="T9">
                    <a:pos x="T2" y="T3"/>
                  </a:cxn>
                  <a:cxn ang="T10">
                    <a:pos x="T4" y="T5"/>
                  </a:cxn>
                  <a:cxn ang="T11">
                    <a:pos x="T6" y="T7"/>
                  </a:cxn>
                </a:cxnLst>
                <a:rect l="T12" t="T13" r="T14" b="T15"/>
                <a:pathLst>
                  <a:path w="23" h="69">
                    <a:moveTo>
                      <a:pt x="0" y="31"/>
                    </a:moveTo>
                    <a:lnTo>
                      <a:pt x="7" y="0"/>
                    </a:lnTo>
                    <a:lnTo>
                      <a:pt x="23" y="69"/>
                    </a:lnTo>
                    <a:lnTo>
                      <a:pt x="0" y="3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5" name="Freeform 277"/>
              <p:cNvSpPr/>
              <p:nvPr/>
            </p:nvSpPr>
            <p:spPr bwMode="auto">
              <a:xfrm>
                <a:off x="2155" y="3641"/>
                <a:ext cx="6" cy="24"/>
              </a:xfrm>
              <a:custGeom>
                <a:avLst/>
                <a:gdLst>
                  <a:gd name="T0" fmla="*/ 0 w 23"/>
                  <a:gd name="T1" fmla="*/ 2 h 85"/>
                  <a:gd name="T2" fmla="*/ 1 w 23"/>
                  <a:gd name="T3" fmla="*/ 0 h 85"/>
                  <a:gd name="T4" fmla="*/ 1 w 23"/>
                  <a:gd name="T5" fmla="*/ 2 h 85"/>
                  <a:gd name="T6" fmla="*/ 0 w 23"/>
                  <a:gd name="T7" fmla="*/ 2 h 85"/>
                  <a:gd name="T8" fmla="*/ 0 60000 65536"/>
                  <a:gd name="T9" fmla="*/ 0 60000 65536"/>
                  <a:gd name="T10" fmla="*/ 0 60000 65536"/>
                  <a:gd name="T11" fmla="*/ 0 60000 65536"/>
                  <a:gd name="T12" fmla="*/ 0 w 23"/>
                  <a:gd name="T13" fmla="*/ 0 h 85"/>
                  <a:gd name="T14" fmla="*/ 23 w 23"/>
                  <a:gd name="T15" fmla="*/ 85 h 85"/>
                </a:gdLst>
                <a:ahLst/>
                <a:cxnLst>
                  <a:cxn ang="T8">
                    <a:pos x="T0" y="T1"/>
                  </a:cxn>
                  <a:cxn ang="T9">
                    <a:pos x="T2" y="T3"/>
                  </a:cxn>
                  <a:cxn ang="T10">
                    <a:pos x="T4" y="T5"/>
                  </a:cxn>
                  <a:cxn ang="T11">
                    <a:pos x="T6" y="T7"/>
                  </a:cxn>
                </a:cxnLst>
                <a:rect l="T12" t="T13" r="T14" b="T15"/>
                <a:pathLst>
                  <a:path w="23" h="85">
                    <a:moveTo>
                      <a:pt x="0" y="75"/>
                    </a:moveTo>
                    <a:lnTo>
                      <a:pt x="23" y="0"/>
                    </a:lnTo>
                    <a:lnTo>
                      <a:pt x="23" y="85"/>
                    </a:lnTo>
                    <a:lnTo>
                      <a:pt x="0" y="7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6" name="Freeform 278"/>
              <p:cNvSpPr/>
              <p:nvPr/>
            </p:nvSpPr>
            <p:spPr bwMode="auto">
              <a:xfrm>
                <a:off x="2162" y="3826"/>
                <a:ext cx="15" cy="11"/>
              </a:xfrm>
              <a:custGeom>
                <a:avLst/>
                <a:gdLst>
                  <a:gd name="T0" fmla="*/ 0 w 51"/>
                  <a:gd name="T1" fmla="*/ 0 h 39"/>
                  <a:gd name="T2" fmla="*/ 1 w 51"/>
                  <a:gd name="T3" fmla="*/ 0 h 39"/>
                  <a:gd name="T4" fmla="*/ 1 w 51"/>
                  <a:gd name="T5" fmla="*/ 1 h 39"/>
                  <a:gd name="T6" fmla="*/ 0 w 51"/>
                  <a:gd name="T7" fmla="*/ 0 h 39"/>
                  <a:gd name="T8" fmla="*/ 0 60000 65536"/>
                  <a:gd name="T9" fmla="*/ 0 60000 65536"/>
                  <a:gd name="T10" fmla="*/ 0 60000 65536"/>
                  <a:gd name="T11" fmla="*/ 0 60000 65536"/>
                  <a:gd name="T12" fmla="*/ 0 w 51"/>
                  <a:gd name="T13" fmla="*/ 0 h 39"/>
                  <a:gd name="T14" fmla="*/ 51 w 51"/>
                  <a:gd name="T15" fmla="*/ 39 h 39"/>
                </a:gdLst>
                <a:ahLst/>
                <a:cxnLst>
                  <a:cxn ang="T8">
                    <a:pos x="T0" y="T1"/>
                  </a:cxn>
                  <a:cxn ang="T9">
                    <a:pos x="T2" y="T3"/>
                  </a:cxn>
                  <a:cxn ang="T10">
                    <a:pos x="T4" y="T5"/>
                  </a:cxn>
                  <a:cxn ang="T11">
                    <a:pos x="T6" y="T7"/>
                  </a:cxn>
                </a:cxnLst>
                <a:rect l="T12" t="T13" r="T14" b="T15"/>
                <a:pathLst>
                  <a:path w="51" h="39">
                    <a:moveTo>
                      <a:pt x="0" y="0"/>
                    </a:moveTo>
                    <a:lnTo>
                      <a:pt x="49" y="9"/>
                    </a:lnTo>
                    <a:lnTo>
                      <a:pt x="51" y="39"/>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7" name="Freeform 279"/>
              <p:cNvSpPr/>
              <p:nvPr/>
            </p:nvSpPr>
            <p:spPr bwMode="auto">
              <a:xfrm>
                <a:off x="2165" y="3802"/>
                <a:ext cx="21" cy="25"/>
              </a:xfrm>
              <a:custGeom>
                <a:avLst/>
                <a:gdLst>
                  <a:gd name="T0" fmla="*/ 0 w 75"/>
                  <a:gd name="T1" fmla="*/ 0 h 88"/>
                  <a:gd name="T2" fmla="*/ 1 w 75"/>
                  <a:gd name="T3" fmla="*/ 0 h 88"/>
                  <a:gd name="T4" fmla="*/ 0 w 75"/>
                  <a:gd name="T5" fmla="*/ 1 h 88"/>
                  <a:gd name="T6" fmla="*/ 2 w 75"/>
                  <a:gd name="T7" fmla="*/ 1 h 88"/>
                  <a:gd name="T8" fmla="*/ 1 w 75"/>
                  <a:gd name="T9" fmla="*/ 2 h 88"/>
                  <a:gd name="T10" fmla="*/ 0 w 75"/>
                  <a:gd name="T11" fmla="*/ 0 h 88"/>
                  <a:gd name="T12" fmla="*/ 0 60000 65536"/>
                  <a:gd name="T13" fmla="*/ 0 60000 65536"/>
                  <a:gd name="T14" fmla="*/ 0 60000 65536"/>
                  <a:gd name="T15" fmla="*/ 0 60000 65536"/>
                  <a:gd name="T16" fmla="*/ 0 60000 65536"/>
                  <a:gd name="T17" fmla="*/ 0 60000 65536"/>
                  <a:gd name="T18" fmla="*/ 0 w 75"/>
                  <a:gd name="T19" fmla="*/ 0 h 88"/>
                  <a:gd name="T20" fmla="*/ 75 w 75"/>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75" h="88">
                    <a:moveTo>
                      <a:pt x="0" y="15"/>
                    </a:moveTo>
                    <a:lnTo>
                      <a:pt x="21" y="0"/>
                    </a:lnTo>
                    <a:lnTo>
                      <a:pt x="19" y="42"/>
                    </a:lnTo>
                    <a:lnTo>
                      <a:pt x="75" y="57"/>
                    </a:lnTo>
                    <a:lnTo>
                      <a:pt x="39" y="88"/>
                    </a:lnTo>
                    <a:lnTo>
                      <a:pt x="0" y="1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8" name="Freeform 280"/>
              <p:cNvSpPr/>
              <p:nvPr/>
            </p:nvSpPr>
            <p:spPr bwMode="auto">
              <a:xfrm>
                <a:off x="2181" y="3834"/>
                <a:ext cx="11" cy="7"/>
              </a:xfrm>
              <a:custGeom>
                <a:avLst/>
                <a:gdLst>
                  <a:gd name="T0" fmla="*/ 0 w 40"/>
                  <a:gd name="T1" fmla="*/ 1 h 23"/>
                  <a:gd name="T2" fmla="*/ 0 w 40"/>
                  <a:gd name="T3" fmla="*/ 0 h 23"/>
                  <a:gd name="T4" fmla="*/ 1 w 40"/>
                  <a:gd name="T5" fmla="*/ 1 h 23"/>
                  <a:gd name="T6" fmla="*/ 0 w 40"/>
                  <a:gd name="T7" fmla="*/ 1 h 23"/>
                  <a:gd name="T8" fmla="*/ 0 60000 65536"/>
                  <a:gd name="T9" fmla="*/ 0 60000 65536"/>
                  <a:gd name="T10" fmla="*/ 0 60000 65536"/>
                  <a:gd name="T11" fmla="*/ 0 60000 65536"/>
                  <a:gd name="T12" fmla="*/ 0 w 40"/>
                  <a:gd name="T13" fmla="*/ 0 h 23"/>
                  <a:gd name="T14" fmla="*/ 40 w 40"/>
                  <a:gd name="T15" fmla="*/ 23 h 23"/>
                </a:gdLst>
                <a:ahLst/>
                <a:cxnLst>
                  <a:cxn ang="T8">
                    <a:pos x="T0" y="T1"/>
                  </a:cxn>
                  <a:cxn ang="T9">
                    <a:pos x="T2" y="T3"/>
                  </a:cxn>
                  <a:cxn ang="T10">
                    <a:pos x="T4" y="T5"/>
                  </a:cxn>
                  <a:cxn ang="T11">
                    <a:pos x="T6" y="T7"/>
                  </a:cxn>
                </a:cxnLst>
                <a:rect l="T12" t="T13" r="T14" b="T15"/>
                <a:pathLst>
                  <a:path w="40" h="23">
                    <a:moveTo>
                      <a:pt x="0" y="17"/>
                    </a:moveTo>
                    <a:lnTo>
                      <a:pt x="11" y="0"/>
                    </a:lnTo>
                    <a:lnTo>
                      <a:pt x="40" y="23"/>
                    </a:lnTo>
                    <a:lnTo>
                      <a:pt x="0" y="1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9" name="Freeform 281"/>
              <p:cNvSpPr/>
              <p:nvPr/>
            </p:nvSpPr>
            <p:spPr bwMode="auto">
              <a:xfrm>
                <a:off x="2189" y="3814"/>
                <a:ext cx="30" cy="37"/>
              </a:xfrm>
              <a:custGeom>
                <a:avLst/>
                <a:gdLst>
                  <a:gd name="T0" fmla="*/ 0 w 104"/>
                  <a:gd name="T1" fmla="*/ 2 h 134"/>
                  <a:gd name="T2" fmla="*/ 0 w 104"/>
                  <a:gd name="T3" fmla="*/ 2 h 134"/>
                  <a:gd name="T4" fmla="*/ 2 w 104"/>
                  <a:gd name="T5" fmla="*/ 2 h 134"/>
                  <a:gd name="T6" fmla="*/ 1 w 104"/>
                  <a:gd name="T7" fmla="*/ 1 h 134"/>
                  <a:gd name="T8" fmla="*/ 2 w 104"/>
                  <a:gd name="T9" fmla="*/ 1 h 134"/>
                  <a:gd name="T10" fmla="*/ 1 w 104"/>
                  <a:gd name="T11" fmla="*/ 1 h 134"/>
                  <a:gd name="T12" fmla="*/ 1 w 104"/>
                  <a:gd name="T13" fmla="*/ 0 h 134"/>
                  <a:gd name="T14" fmla="*/ 2 w 104"/>
                  <a:gd name="T15" fmla="*/ 0 h 134"/>
                  <a:gd name="T16" fmla="*/ 3 w 104"/>
                  <a:gd name="T17" fmla="*/ 3 h 134"/>
                  <a:gd name="T18" fmla="*/ 0 w 104"/>
                  <a:gd name="T19" fmla="*/ 2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4"/>
                  <a:gd name="T31" fmla="*/ 0 h 134"/>
                  <a:gd name="T32" fmla="*/ 104 w 104"/>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4" h="134">
                    <a:moveTo>
                      <a:pt x="0" y="108"/>
                    </a:moveTo>
                    <a:lnTo>
                      <a:pt x="15" y="88"/>
                    </a:lnTo>
                    <a:lnTo>
                      <a:pt x="73" y="100"/>
                    </a:lnTo>
                    <a:lnTo>
                      <a:pt x="47" y="65"/>
                    </a:lnTo>
                    <a:lnTo>
                      <a:pt x="74" y="44"/>
                    </a:lnTo>
                    <a:lnTo>
                      <a:pt x="32" y="40"/>
                    </a:lnTo>
                    <a:lnTo>
                      <a:pt x="32" y="7"/>
                    </a:lnTo>
                    <a:lnTo>
                      <a:pt x="102" y="0"/>
                    </a:lnTo>
                    <a:lnTo>
                      <a:pt x="104" y="134"/>
                    </a:lnTo>
                    <a:lnTo>
                      <a:pt x="0" y="10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0" name="Freeform 282"/>
              <p:cNvSpPr/>
              <p:nvPr/>
            </p:nvSpPr>
            <p:spPr bwMode="auto">
              <a:xfrm>
                <a:off x="2204" y="3857"/>
                <a:ext cx="22" cy="8"/>
              </a:xfrm>
              <a:custGeom>
                <a:avLst/>
                <a:gdLst>
                  <a:gd name="T0" fmla="*/ 0 w 78"/>
                  <a:gd name="T1" fmla="*/ 0 h 28"/>
                  <a:gd name="T2" fmla="*/ 2 w 78"/>
                  <a:gd name="T3" fmla="*/ 0 h 28"/>
                  <a:gd name="T4" fmla="*/ 2 w 78"/>
                  <a:gd name="T5" fmla="*/ 1 h 28"/>
                  <a:gd name="T6" fmla="*/ 0 w 78"/>
                  <a:gd name="T7" fmla="*/ 0 h 28"/>
                  <a:gd name="T8" fmla="*/ 0 60000 65536"/>
                  <a:gd name="T9" fmla="*/ 0 60000 65536"/>
                  <a:gd name="T10" fmla="*/ 0 60000 65536"/>
                  <a:gd name="T11" fmla="*/ 0 60000 65536"/>
                  <a:gd name="T12" fmla="*/ 0 w 78"/>
                  <a:gd name="T13" fmla="*/ 0 h 28"/>
                  <a:gd name="T14" fmla="*/ 78 w 78"/>
                  <a:gd name="T15" fmla="*/ 28 h 28"/>
                </a:gdLst>
                <a:ahLst/>
                <a:cxnLst>
                  <a:cxn ang="T8">
                    <a:pos x="T0" y="T1"/>
                  </a:cxn>
                  <a:cxn ang="T9">
                    <a:pos x="T2" y="T3"/>
                  </a:cxn>
                  <a:cxn ang="T10">
                    <a:pos x="T4" y="T5"/>
                  </a:cxn>
                  <a:cxn ang="T11">
                    <a:pos x="T6" y="T7"/>
                  </a:cxn>
                </a:cxnLst>
                <a:rect l="T12" t="T13" r="T14" b="T15"/>
                <a:pathLst>
                  <a:path w="78" h="28">
                    <a:moveTo>
                      <a:pt x="0" y="0"/>
                    </a:moveTo>
                    <a:lnTo>
                      <a:pt x="71" y="7"/>
                    </a:lnTo>
                    <a:lnTo>
                      <a:pt x="78" y="28"/>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1" name="Freeform 283"/>
              <p:cNvSpPr/>
              <p:nvPr/>
            </p:nvSpPr>
            <p:spPr bwMode="auto">
              <a:xfrm>
                <a:off x="2225" y="3852"/>
                <a:ext cx="11" cy="5"/>
              </a:xfrm>
              <a:custGeom>
                <a:avLst/>
                <a:gdLst>
                  <a:gd name="T0" fmla="*/ 0 w 37"/>
                  <a:gd name="T1" fmla="*/ 0 h 18"/>
                  <a:gd name="T2" fmla="*/ 0 w 37"/>
                  <a:gd name="T3" fmla="*/ 0 h 18"/>
                  <a:gd name="T4" fmla="*/ 1 w 37"/>
                  <a:gd name="T5" fmla="*/ 0 h 18"/>
                  <a:gd name="T6" fmla="*/ 0 w 37"/>
                  <a:gd name="T7" fmla="*/ 0 h 18"/>
                  <a:gd name="T8" fmla="*/ 0 60000 65536"/>
                  <a:gd name="T9" fmla="*/ 0 60000 65536"/>
                  <a:gd name="T10" fmla="*/ 0 60000 65536"/>
                  <a:gd name="T11" fmla="*/ 0 60000 65536"/>
                  <a:gd name="T12" fmla="*/ 0 w 37"/>
                  <a:gd name="T13" fmla="*/ 0 h 18"/>
                  <a:gd name="T14" fmla="*/ 37 w 37"/>
                  <a:gd name="T15" fmla="*/ 18 h 18"/>
                </a:gdLst>
                <a:ahLst/>
                <a:cxnLst>
                  <a:cxn ang="T8">
                    <a:pos x="T0" y="T1"/>
                  </a:cxn>
                  <a:cxn ang="T9">
                    <a:pos x="T2" y="T3"/>
                  </a:cxn>
                  <a:cxn ang="T10">
                    <a:pos x="T4" y="T5"/>
                  </a:cxn>
                  <a:cxn ang="T11">
                    <a:pos x="T6" y="T7"/>
                  </a:cxn>
                </a:cxnLst>
                <a:rect l="T12" t="T13" r="T14" b="T15"/>
                <a:pathLst>
                  <a:path w="37" h="18">
                    <a:moveTo>
                      <a:pt x="0" y="18"/>
                    </a:moveTo>
                    <a:lnTo>
                      <a:pt x="8" y="0"/>
                    </a:lnTo>
                    <a:lnTo>
                      <a:pt x="37" y="18"/>
                    </a:lnTo>
                    <a:lnTo>
                      <a:pt x="0" y="1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2" name="Freeform 284"/>
              <p:cNvSpPr/>
              <p:nvPr/>
            </p:nvSpPr>
            <p:spPr bwMode="auto">
              <a:xfrm>
                <a:off x="2107" y="2928"/>
                <a:ext cx="130" cy="208"/>
              </a:xfrm>
              <a:custGeom>
                <a:avLst/>
                <a:gdLst>
                  <a:gd name="T0" fmla="*/ 0 w 459"/>
                  <a:gd name="T1" fmla="*/ 11 h 730"/>
                  <a:gd name="T2" fmla="*/ 1 w 459"/>
                  <a:gd name="T3" fmla="*/ 13 h 730"/>
                  <a:gd name="T4" fmla="*/ 3 w 459"/>
                  <a:gd name="T5" fmla="*/ 13 h 730"/>
                  <a:gd name="T6" fmla="*/ 5 w 459"/>
                  <a:gd name="T7" fmla="*/ 15 h 730"/>
                  <a:gd name="T8" fmla="*/ 7 w 459"/>
                  <a:gd name="T9" fmla="*/ 15 h 730"/>
                  <a:gd name="T10" fmla="*/ 7 w 459"/>
                  <a:gd name="T11" fmla="*/ 17 h 730"/>
                  <a:gd name="T12" fmla="*/ 8 w 459"/>
                  <a:gd name="T13" fmla="*/ 17 h 730"/>
                  <a:gd name="T14" fmla="*/ 8 w 459"/>
                  <a:gd name="T15" fmla="*/ 14 h 730"/>
                  <a:gd name="T16" fmla="*/ 8 w 459"/>
                  <a:gd name="T17" fmla="*/ 12 h 730"/>
                  <a:gd name="T18" fmla="*/ 8 w 459"/>
                  <a:gd name="T19" fmla="*/ 12 h 730"/>
                  <a:gd name="T20" fmla="*/ 8 w 459"/>
                  <a:gd name="T21" fmla="*/ 11 h 730"/>
                  <a:gd name="T22" fmla="*/ 10 w 459"/>
                  <a:gd name="T23" fmla="*/ 11 h 730"/>
                  <a:gd name="T24" fmla="*/ 10 w 459"/>
                  <a:gd name="T25" fmla="*/ 11 h 730"/>
                  <a:gd name="T26" fmla="*/ 10 w 459"/>
                  <a:gd name="T27" fmla="*/ 10 h 730"/>
                  <a:gd name="T28" fmla="*/ 10 w 459"/>
                  <a:gd name="T29" fmla="*/ 6 h 730"/>
                  <a:gd name="T30" fmla="*/ 8 w 459"/>
                  <a:gd name="T31" fmla="*/ 7 h 730"/>
                  <a:gd name="T32" fmla="*/ 8 w 459"/>
                  <a:gd name="T33" fmla="*/ 6 h 730"/>
                  <a:gd name="T34" fmla="*/ 6 w 459"/>
                  <a:gd name="T35" fmla="*/ 5 h 730"/>
                  <a:gd name="T36" fmla="*/ 5 w 459"/>
                  <a:gd name="T37" fmla="*/ 3 h 730"/>
                  <a:gd name="T38" fmla="*/ 7 w 459"/>
                  <a:gd name="T39" fmla="*/ 1 h 730"/>
                  <a:gd name="T40" fmla="*/ 6 w 459"/>
                  <a:gd name="T41" fmla="*/ 0 h 730"/>
                  <a:gd name="T42" fmla="*/ 3 w 459"/>
                  <a:gd name="T43" fmla="*/ 1 h 730"/>
                  <a:gd name="T44" fmla="*/ 2 w 459"/>
                  <a:gd name="T45" fmla="*/ 5 h 730"/>
                  <a:gd name="T46" fmla="*/ 1 w 459"/>
                  <a:gd name="T47" fmla="*/ 4 h 730"/>
                  <a:gd name="T48" fmla="*/ 1 w 459"/>
                  <a:gd name="T49" fmla="*/ 5 h 730"/>
                  <a:gd name="T50" fmla="*/ 1 w 459"/>
                  <a:gd name="T51" fmla="*/ 9 h 730"/>
                  <a:gd name="T52" fmla="*/ 2 w 459"/>
                  <a:gd name="T53" fmla="*/ 9 h 730"/>
                  <a:gd name="T54" fmla="*/ 0 w 459"/>
                  <a:gd name="T55" fmla="*/ 11 h 7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59"/>
                  <a:gd name="T85" fmla="*/ 0 h 730"/>
                  <a:gd name="T86" fmla="*/ 459 w 459"/>
                  <a:gd name="T87" fmla="*/ 730 h 7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59" h="730">
                    <a:moveTo>
                      <a:pt x="0" y="488"/>
                    </a:moveTo>
                    <a:lnTo>
                      <a:pt x="56" y="540"/>
                    </a:lnTo>
                    <a:lnTo>
                      <a:pt x="138" y="552"/>
                    </a:lnTo>
                    <a:lnTo>
                      <a:pt x="220" y="653"/>
                    </a:lnTo>
                    <a:lnTo>
                      <a:pt x="330" y="663"/>
                    </a:lnTo>
                    <a:lnTo>
                      <a:pt x="314" y="713"/>
                    </a:lnTo>
                    <a:lnTo>
                      <a:pt x="342" y="730"/>
                    </a:lnTo>
                    <a:lnTo>
                      <a:pt x="359" y="604"/>
                    </a:lnTo>
                    <a:lnTo>
                      <a:pt x="338" y="525"/>
                    </a:lnTo>
                    <a:lnTo>
                      <a:pt x="375" y="522"/>
                    </a:lnTo>
                    <a:lnTo>
                      <a:pt x="349" y="477"/>
                    </a:lnTo>
                    <a:lnTo>
                      <a:pt x="437" y="461"/>
                    </a:lnTo>
                    <a:lnTo>
                      <a:pt x="459" y="491"/>
                    </a:lnTo>
                    <a:lnTo>
                      <a:pt x="424" y="427"/>
                    </a:lnTo>
                    <a:lnTo>
                      <a:pt x="436" y="274"/>
                    </a:lnTo>
                    <a:lnTo>
                      <a:pt x="362" y="280"/>
                    </a:lnTo>
                    <a:lnTo>
                      <a:pt x="338" y="242"/>
                    </a:lnTo>
                    <a:lnTo>
                      <a:pt x="264" y="231"/>
                    </a:lnTo>
                    <a:lnTo>
                      <a:pt x="216" y="143"/>
                    </a:lnTo>
                    <a:lnTo>
                      <a:pt x="289" y="27"/>
                    </a:lnTo>
                    <a:lnTo>
                      <a:pt x="279" y="0"/>
                    </a:lnTo>
                    <a:lnTo>
                      <a:pt x="148" y="63"/>
                    </a:lnTo>
                    <a:lnTo>
                      <a:pt x="78" y="195"/>
                    </a:lnTo>
                    <a:lnTo>
                      <a:pt x="54" y="165"/>
                    </a:lnTo>
                    <a:lnTo>
                      <a:pt x="39" y="228"/>
                    </a:lnTo>
                    <a:lnTo>
                      <a:pt x="54" y="373"/>
                    </a:lnTo>
                    <a:lnTo>
                      <a:pt x="71" y="373"/>
                    </a:lnTo>
                    <a:lnTo>
                      <a:pt x="0" y="48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3" name="Freeform 285"/>
              <p:cNvSpPr/>
              <p:nvPr/>
            </p:nvSpPr>
            <p:spPr bwMode="auto">
              <a:xfrm>
                <a:off x="2032" y="2945"/>
                <a:ext cx="34" cy="34"/>
              </a:xfrm>
              <a:custGeom>
                <a:avLst/>
                <a:gdLst>
                  <a:gd name="T0" fmla="*/ 0 w 118"/>
                  <a:gd name="T1" fmla="*/ 0 h 118"/>
                  <a:gd name="T2" fmla="*/ 0 w 118"/>
                  <a:gd name="T3" fmla="*/ 1 h 118"/>
                  <a:gd name="T4" fmla="*/ 1 w 118"/>
                  <a:gd name="T5" fmla="*/ 1 h 118"/>
                  <a:gd name="T6" fmla="*/ 2 w 118"/>
                  <a:gd name="T7" fmla="*/ 3 h 118"/>
                  <a:gd name="T8" fmla="*/ 3 w 118"/>
                  <a:gd name="T9" fmla="*/ 1 h 118"/>
                  <a:gd name="T10" fmla="*/ 2 w 118"/>
                  <a:gd name="T11" fmla="*/ 0 h 118"/>
                  <a:gd name="T12" fmla="*/ 0 w 118"/>
                  <a:gd name="T13" fmla="*/ 0 h 118"/>
                  <a:gd name="T14" fmla="*/ 0 60000 65536"/>
                  <a:gd name="T15" fmla="*/ 0 60000 65536"/>
                  <a:gd name="T16" fmla="*/ 0 60000 65536"/>
                  <a:gd name="T17" fmla="*/ 0 60000 65536"/>
                  <a:gd name="T18" fmla="*/ 0 60000 65536"/>
                  <a:gd name="T19" fmla="*/ 0 60000 65536"/>
                  <a:gd name="T20" fmla="*/ 0 60000 65536"/>
                  <a:gd name="T21" fmla="*/ 0 w 118"/>
                  <a:gd name="T22" fmla="*/ 0 h 118"/>
                  <a:gd name="T23" fmla="*/ 118 w 118"/>
                  <a:gd name="T24" fmla="*/ 118 h 1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118">
                    <a:moveTo>
                      <a:pt x="0" y="0"/>
                    </a:moveTo>
                    <a:lnTo>
                      <a:pt x="1" y="46"/>
                    </a:lnTo>
                    <a:lnTo>
                      <a:pt x="26" y="39"/>
                    </a:lnTo>
                    <a:lnTo>
                      <a:pt x="100" y="118"/>
                    </a:lnTo>
                    <a:lnTo>
                      <a:pt x="118" y="58"/>
                    </a:lnTo>
                    <a:lnTo>
                      <a:pt x="79" y="4"/>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4" name="Freeform 286"/>
              <p:cNvSpPr/>
              <p:nvPr/>
            </p:nvSpPr>
            <p:spPr bwMode="auto">
              <a:xfrm>
                <a:off x="2040" y="2789"/>
                <a:ext cx="117" cy="42"/>
              </a:xfrm>
              <a:custGeom>
                <a:avLst/>
                <a:gdLst>
                  <a:gd name="T0" fmla="*/ 0 w 412"/>
                  <a:gd name="T1" fmla="*/ 1 h 149"/>
                  <a:gd name="T2" fmla="*/ 1 w 412"/>
                  <a:gd name="T3" fmla="*/ 0 h 149"/>
                  <a:gd name="T4" fmla="*/ 4 w 412"/>
                  <a:gd name="T5" fmla="*/ 0 h 149"/>
                  <a:gd name="T6" fmla="*/ 9 w 412"/>
                  <a:gd name="T7" fmla="*/ 3 h 149"/>
                  <a:gd name="T8" fmla="*/ 6 w 412"/>
                  <a:gd name="T9" fmla="*/ 3 h 149"/>
                  <a:gd name="T10" fmla="*/ 7 w 412"/>
                  <a:gd name="T11" fmla="*/ 3 h 149"/>
                  <a:gd name="T12" fmla="*/ 5 w 412"/>
                  <a:gd name="T13" fmla="*/ 2 h 149"/>
                  <a:gd name="T14" fmla="*/ 3 w 412"/>
                  <a:gd name="T15" fmla="*/ 1 h 149"/>
                  <a:gd name="T16" fmla="*/ 3 w 412"/>
                  <a:gd name="T17" fmla="*/ 1 h 149"/>
                  <a:gd name="T18" fmla="*/ 0 w 412"/>
                  <a:gd name="T19" fmla="*/ 1 h 1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2"/>
                  <a:gd name="T31" fmla="*/ 0 h 149"/>
                  <a:gd name="T32" fmla="*/ 412 w 412"/>
                  <a:gd name="T33" fmla="*/ 149 h 1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2" h="149">
                    <a:moveTo>
                      <a:pt x="0" y="58"/>
                    </a:moveTo>
                    <a:lnTo>
                      <a:pt x="56" y="7"/>
                    </a:lnTo>
                    <a:lnTo>
                      <a:pt x="161" y="0"/>
                    </a:lnTo>
                    <a:lnTo>
                      <a:pt x="412" y="127"/>
                    </a:lnTo>
                    <a:lnTo>
                      <a:pt x="279" y="149"/>
                    </a:lnTo>
                    <a:lnTo>
                      <a:pt x="301" y="120"/>
                    </a:lnTo>
                    <a:lnTo>
                      <a:pt x="236" y="72"/>
                    </a:lnTo>
                    <a:lnTo>
                      <a:pt x="115" y="43"/>
                    </a:lnTo>
                    <a:lnTo>
                      <a:pt x="119" y="24"/>
                    </a:lnTo>
                    <a:lnTo>
                      <a:pt x="0" y="5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5" name="Freeform 287"/>
              <p:cNvSpPr/>
              <p:nvPr/>
            </p:nvSpPr>
            <p:spPr bwMode="auto">
              <a:xfrm>
                <a:off x="2184" y="2831"/>
                <a:ext cx="35" cy="23"/>
              </a:xfrm>
              <a:custGeom>
                <a:avLst/>
                <a:gdLst>
                  <a:gd name="T0" fmla="*/ 0 w 127"/>
                  <a:gd name="T1" fmla="*/ 0 h 82"/>
                  <a:gd name="T2" fmla="*/ 0 w 127"/>
                  <a:gd name="T3" fmla="*/ 2 h 82"/>
                  <a:gd name="T4" fmla="*/ 3 w 127"/>
                  <a:gd name="T5" fmla="*/ 1 h 82"/>
                  <a:gd name="T6" fmla="*/ 2 w 127"/>
                  <a:gd name="T7" fmla="*/ 0 h 82"/>
                  <a:gd name="T8" fmla="*/ 0 w 127"/>
                  <a:gd name="T9" fmla="*/ 0 h 82"/>
                  <a:gd name="T10" fmla="*/ 0 60000 65536"/>
                  <a:gd name="T11" fmla="*/ 0 60000 65536"/>
                  <a:gd name="T12" fmla="*/ 0 60000 65536"/>
                  <a:gd name="T13" fmla="*/ 0 60000 65536"/>
                  <a:gd name="T14" fmla="*/ 0 60000 65536"/>
                  <a:gd name="T15" fmla="*/ 0 w 127"/>
                  <a:gd name="T16" fmla="*/ 0 h 82"/>
                  <a:gd name="T17" fmla="*/ 127 w 127"/>
                  <a:gd name="T18" fmla="*/ 82 h 82"/>
                </a:gdLst>
                <a:ahLst/>
                <a:cxnLst>
                  <a:cxn ang="T10">
                    <a:pos x="T0" y="T1"/>
                  </a:cxn>
                  <a:cxn ang="T11">
                    <a:pos x="T2" y="T3"/>
                  </a:cxn>
                  <a:cxn ang="T12">
                    <a:pos x="T4" y="T5"/>
                  </a:cxn>
                  <a:cxn ang="T13">
                    <a:pos x="T6" y="T7"/>
                  </a:cxn>
                  <a:cxn ang="T14">
                    <a:pos x="T8" y="T9"/>
                  </a:cxn>
                </a:cxnLst>
                <a:rect l="T15" t="T16" r="T17" b="T18"/>
                <a:pathLst>
                  <a:path w="127" h="82">
                    <a:moveTo>
                      <a:pt x="0" y="0"/>
                    </a:moveTo>
                    <a:lnTo>
                      <a:pt x="0" y="82"/>
                    </a:lnTo>
                    <a:lnTo>
                      <a:pt x="127" y="58"/>
                    </a:lnTo>
                    <a:lnTo>
                      <a:pt x="72" y="9"/>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6" name="Freeform 288"/>
              <p:cNvSpPr/>
              <p:nvPr/>
            </p:nvSpPr>
            <p:spPr bwMode="auto">
              <a:xfrm>
                <a:off x="2085" y="3066"/>
                <a:ext cx="61" cy="79"/>
              </a:xfrm>
              <a:custGeom>
                <a:avLst/>
                <a:gdLst>
                  <a:gd name="T0" fmla="*/ 0 w 212"/>
                  <a:gd name="T1" fmla="*/ 3 h 275"/>
                  <a:gd name="T2" fmla="*/ 0 w 212"/>
                  <a:gd name="T3" fmla="*/ 4 h 275"/>
                  <a:gd name="T4" fmla="*/ 1 w 212"/>
                  <a:gd name="T5" fmla="*/ 4 h 275"/>
                  <a:gd name="T6" fmla="*/ 0 w 212"/>
                  <a:gd name="T7" fmla="*/ 5 h 275"/>
                  <a:gd name="T8" fmla="*/ 0 w 212"/>
                  <a:gd name="T9" fmla="*/ 6 h 275"/>
                  <a:gd name="T10" fmla="*/ 1 w 212"/>
                  <a:gd name="T11" fmla="*/ 7 h 275"/>
                  <a:gd name="T12" fmla="*/ 3 w 212"/>
                  <a:gd name="T13" fmla="*/ 5 h 275"/>
                  <a:gd name="T14" fmla="*/ 5 w 212"/>
                  <a:gd name="T15" fmla="*/ 3 h 275"/>
                  <a:gd name="T16" fmla="*/ 5 w 212"/>
                  <a:gd name="T17" fmla="*/ 1 h 275"/>
                  <a:gd name="T18" fmla="*/ 3 w 212"/>
                  <a:gd name="T19" fmla="*/ 1 h 275"/>
                  <a:gd name="T20" fmla="*/ 2 w 212"/>
                  <a:gd name="T21" fmla="*/ 0 h 275"/>
                  <a:gd name="T22" fmla="*/ 1 w 212"/>
                  <a:gd name="T23" fmla="*/ 1 h 275"/>
                  <a:gd name="T24" fmla="*/ 0 w 212"/>
                  <a:gd name="T25" fmla="*/ 3 h 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2"/>
                  <a:gd name="T40" fmla="*/ 0 h 275"/>
                  <a:gd name="T41" fmla="*/ 212 w 212"/>
                  <a:gd name="T42" fmla="*/ 275 h 2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2" h="275">
                    <a:moveTo>
                      <a:pt x="0" y="106"/>
                    </a:moveTo>
                    <a:lnTo>
                      <a:pt x="1" y="160"/>
                    </a:lnTo>
                    <a:lnTo>
                      <a:pt x="42" y="175"/>
                    </a:lnTo>
                    <a:lnTo>
                      <a:pt x="18" y="215"/>
                    </a:lnTo>
                    <a:lnTo>
                      <a:pt x="12" y="263"/>
                    </a:lnTo>
                    <a:lnTo>
                      <a:pt x="62" y="275"/>
                    </a:lnTo>
                    <a:lnTo>
                      <a:pt x="107" y="196"/>
                    </a:lnTo>
                    <a:lnTo>
                      <a:pt x="194" y="139"/>
                    </a:lnTo>
                    <a:lnTo>
                      <a:pt x="212" y="64"/>
                    </a:lnTo>
                    <a:lnTo>
                      <a:pt x="130" y="52"/>
                    </a:lnTo>
                    <a:lnTo>
                      <a:pt x="74" y="0"/>
                    </a:lnTo>
                    <a:lnTo>
                      <a:pt x="28" y="26"/>
                    </a:lnTo>
                    <a:lnTo>
                      <a:pt x="0" y="10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7" name="Freeform 289"/>
              <p:cNvSpPr/>
              <p:nvPr/>
            </p:nvSpPr>
            <p:spPr bwMode="auto">
              <a:xfrm>
                <a:off x="1984" y="2901"/>
                <a:ext cx="26" cy="13"/>
              </a:xfrm>
              <a:custGeom>
                <a:avLst/>
                <a:gdLst>
                  <a:gd name="T0" fmla="*/ 0 w 89"/>
                  <a:gd name="T1" fmla="*/ 1 h 44"/>
                  <a:gd name="T2" fmla="*/ 1 w 89"/>
                  <a:gd name="T3" fmla="*/ 0 h 44"/>
                  <a:gd name="T4" fmla="*/ 2 w 89"/>
                  <a:gd name="T5" fmla="*/ 1 h 44"/>
                  <a:gd name="T6" fmla="*/ 0 w 89"/>
                  <a:gd name="T7" fmla="*/ 1 h 44"/>
                  <a:gd name="T8" fmla="*/ 0 60000 65536"/>
                  <a:gd name="T9" fmla="*/ 0 60000 65536"/>
                  <a:gd name="T10" fmla="*/ 0 60000 65536"/>
                  <a:gd name="T11" fmla="*/ 0 60000 65536"/>
                  <a:gd name="T12" fmla="*/ 0 w 89"/>
                  <a:gd name="T13" fmla="*/ 0 h 44"/>
                  <a:gd name="T14" fmla="*/ 89 w 89"/>
                  <a:gd name="T15" fmla="*/ 44 h 44"/>
                </a:gdLst>
                <a:ahLst/>
                <a:cxnLst>
                  <a:cxn ang="T8">
                    <a:pos x="T0" y="T1"/>
                  </a:cxn>
                  <a:cxn ang="T9">
                    <a:pos x="T2" y="T3"/>
                  </a:cxn>
                  <a:cxn ang="T10">
                    <a:pos x="T4" y="T5"/>
                  </a:cxn>
                  <a:cxn ang="T11">
                    <a:pos x="T6" y="T7"/>
                  </a:cxn>
                </a:cxnLst>
                <a:rect l="T12" t="T13" r="T14" b="T15"/>
                <a:pathLst>
                  <a:path w="89" h="44">
                    <a:moveTo>
                      <a:pt x="0" y="32"/>
                    </a:moveTo>
                    <a:lnTo>
                      <a:pt x="27" y="0"/>
                    </a:lnTo>
                    <a:lnTo>
                      <a:pt x="89" y="44"/>
                    </a:lnTo>
                    <a:lnTo>
                      <a:pt x="0" y="3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8" name="Freeform 290"/>
              <p:cNvSpPr/>
              <p:nvPr/>
            </p:nvSpPr>
            <p:spPr bwMode="auto">
              <a:xfrm>
                <a:off x="2302" y="3791"/>
                <a:ext cx="17" cy="12"/>
              </a:xfrm>
              <a:custGeom>
                <a:avLst/>
                <a:gdLst>
                  <a:gd name="T0" fmla="*/ 0 w 59"/>
                  <a:gd name="T1" fmla="*/ 1 h 41"/>
                  <a:gd name="T2" fmla="*/ 1 w 59"/>
                  <a:gd name="T3" fmla="*/ 1 h 41"/>
                  <a:gd name="T4" fmla="*/ 0 w 59"/>
                  <a:gd name="T5" fmla="*/ 0 h 41"/>
                  <a:gd name="T6" fmla="*/ 1 w 59"/>
                  <a:gd name="T7" fmla="*/ 0 h 41"/>
                  <a:gd name="T8" fmla="*/ 0 w 59"/>
                  <a:gd name="T9" fmla="*/ 1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0" y="41"/>
                    </a:moveTo>
                    <a:lnTo>
                      <a:pt x="32" y="19"/>
                    </a:lnTo>
                    <a:lnTo>
                      <a:pt x="19" y="0"/>
                    </a:lnTo>
                    <a:lnTo>
                      <a:pt x="59" y="6"/>
                    </a:lnTo>
                    <a:lnTo>
                      <a:pt x="0" y="4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9" name="Freeform 291"/>
              <p:cNvSpPr/>
              <p:nvPr/>
            </p:nvSpPr>
            <p:spPr bwMode="auto">
              <a:xfrm>
                <a:off x="2315" y="3791"/>
                <a:ext cx="19" cy="12"/>
              </a:xfrm>
              <a:custGeom>
                <a:avLst/>
                <a:gdLst>
                  <a:gd name="T0" fmla="*/ 0 w 68"/>
                  <a:gd name="T1" fmla="*/ 1 h 47"/>
                  <a:gd name="T2" fmla="*/ 1 w 68"/>
                  <a:gd name="T3" fmla="*/ 0 h 47"/>
                  <a:gd name="T4" fmla="*/ 1 w 68"/>
                  <a:gd name="T5" fmla="*/ 0 h 47"/>
                  <a:gd name="T6" fmla="*/ 0 w 68"/>
                  <a:gd name="T7" fmla="*/ 1 h 47"/>
                  <a:gd name="T8" fmla="*/ 0 60000 65536"/>
                  <a:gd name="T9" fmla="*/ 0 60000 65536"/>
                  <a:gd name="T10" fmla="*/ 0 60000 65536"/>
                  <a:gd name="T11" fmla="*/ 0 60000 65536"/>
                  <a:gd name="T12" fmla="*/ 0 w 68"/>
                  <a:gd name="T13" fmla="*/ 0 h 47"/>
                  <a:gd name="T14" fmla="*/ 68 w 68"/>
                  <a:gd name="T15" fmla="*/ 47 h 47"/>
                </a:gdLst>
                <a:ahLst/>
                <a:cxnLst>
                  <a:cxn ang="T8">
                    <a:pos x="T0" y="T1"/>
                  </a:cxn>
                  <a:cxn ang="T9">
                    <a:pos x="T2" y="T3"/>
                  </a:cxn>
                  <a:cxn ang="T10">
                    <a:pos x="T4" y="T5"/>
                  </a:cxn>
                  <a:cxn ang="T11">
                    <a:pos x="T6" y="T7"/>
                  </a:cxn>
                </a:cxnLst>
                <a:rect l="T12" t="T13" r="T14" b="T15"/>
                <a:pathLst>
                  <a:path w="68" h="47">
                    <a:moveTo>
                      <a:pt x="0" y="47"/>
                    </a:moveTo>
                    <a:lnTo>
                      <a:pt x="34" y="0"/>
                    </a:lnTo>
                    <a:lnTo>
                      <a:pt x="68" y="16"/>
                    </a:lnTo>
                    <a:lnTo>
                      <a:pt x="0" y="4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0" name="Freeform 292"/>
              <p:cNvSpPr/>
              <p:nvPr/>
            </p:nvSpPr>
            <p:spPr bwMode="auto">
              <a:xfrm>
                <a:off x="2373" y="3014"/>
                <a:ext cx="31" cy="44"/>
              </a:xfrm>
              <a:custGeom>
                <a:avLst/>
                <a:gdLst>
                  <a:gd name="T0" fmla="*/ 0 w 107"/>
                  <a:gd name="T1" fmla="*/ 3 h 154"/>
                  <a:gd name="T2" fmla="*/ 0 w 107"/>
                  <a:gd name="T3" fmla="*/ 0 h 154"/>
                  <a:gd name="T4" fmla="*/ 3 w 107"/>
                  <a:gd name="T5" fmla="*/ 1 h 154"/>
                  <a:gd name="T6" fmla="*/ 1 w 107"/>
                  <a:gd name="T7" fmla="*/ 4 h 154"/>
                  <a:gd name="T8" fmla="*/ 0 w 107"/>
                  <a:gd name="T9" fmla="*/ 3 h 154"/>
                  <a:gd name="T10" fmla="*/ 0 60000 65536"/>
                  <a:gd name="T11" fmla="*/ 0 60000 65536"/>
                  <a:gd name="T12" fmla="*/ 0 60000 65536"/>
                  <a:gd name="T13" fmla="*/ 0 60000 65536"/>
                  <a:gd name="T14" fmla="*/ 0 60000 65536"/>
                  <a:gd name="T15" fmla="*/ 0 w 107"/>
                  <a:gd name="T16" fmla="*/ 0 h 154"/>
                  <a:gd name="T17" fmla="*/ 107 w 107"/>
                  <a:gd name="T18" fmla="*/ 154 h 154"/>
                </a:gdLst>
                <a:ahLst/>
                <a:cxnLst>
                  <a:cxn ang="T10">
                    <a:pos x="T0" y="T1"/>
                  </a:cxn>
                  <a:cxn ang="T11">
                    <a:pos x="T2" y="T3"/>
                  </a:cxn>
                  <a:cxn ang="T12">
                    <a:pos x="T4" y="T5"/>
                  </a:cxn>
                  <a:cxn ang="T13">
                    <a:pos x="T6" y="T7"/>
                  </a:cxn>
                  <a:cxn ang="T14">
                    <a:pos x="T8" y="T9"/>
                  </a:cxn>
                </a:cxnLst>
                <a:rect l="T15" t="T16" r="T17" b="T18"/>
                <a:pathLst>
                  <a:path w="107" h="154">
                    <a:moveTo>
                      <a:pt x="0" y="149"/>
                    </a:moveTo>
                    <a:lnTo>
                      <a:pt x="13" y="0"/>
                    </a:lnTo>
                    <a:lnTo>
                      <a:pt x="107" y="67"/>
                    </a:lnTo>
                    <a:lnTo>
                      <a:pt x="52" y="154"/>
                    </a:lnTo>
                    <a:lnTo>
                      <a:pt x="0" y="14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1" name="Freeform 293"/>
              <p:cNvSpPr/>
              <p:nvPr/>
            </p:nvSpPr>
            <p:spPr bwMode="auto">
              <a:xfrm>
                <a:off x="2171" y="1661"/>
                <a:ext cx="661" cy="560"/>
              </a:xfrm>
              <a:custGeom>
                <a:avLst/>
                <a:gdLst>
                  <a:gd name="T0" fmla="*/ 6 w 2319"/>
                  <a:gd name="T1" fmla="*/ 11 h 1964"/>
                  <a:gd name="T2" fmla="*/ 7 w 2319"/>
                  <a:gd name="T3" fmla="*/ 9 h 1964"/>
                  <a:gd name="T4" fmla="*/ 5 w 2319"/>
                  <a:gd name="T5" fmla="*/ 8 h 1964"/>
                  <a:gd name="T6" fmla="*/ 10 w 2319"/>
                  <a:gd name="T7" fmla="*/ 4 h 1964"/>
                  <a:gd name="T8" fmla="*/ 15 w 2319"/>
                  <a:gd name="T9" fmla="*/ 3 h 1964"/>
                  <a:gd name="T10" fmla="*/ 20 w 2319"/>
                  <a:gd name="T11" fmla="*/ 5 h 1964"/>
                  <a:gd name="T12" fmla="*/ 19 w 2319"/>
                  <a:gd name="T13" fmla="*/ 3 h 1964"/>
                  <a:gd name="T14" fmla="*/ 25 w 2319"/>
                  <a:gd name="T15" fmla="*/ 4 h 1964"/>
                  <a:gd name="T16" fmla="*/ 29 w 2319"/>
                  <a:gd name="T17" fmla="*/ 3 h 1964"/>
                  <a:gd name="T18" fmla="*/ 24 w 2319"/>
                  <a:gd name="T19" fmla="*/ 1 h 1964"/>
                  <a:gd name="T20" fmla="*/ 29 w 2319"/>
                  <a:gd name="T21" fmla="*/ 2 h 1964"/>
                  <a:gd name="T22" fmla="*/ 29 w 2319"/>
                  <a:gd name="T23" fmla="*/ 0 h 1964"/>
                  <a:gd name="T24" fmla="*/ 40 w 2319"/>
                  <a:gd name="T25" fmla="*/ 1 h 1964"/>
                  <a:gd name="T26" fmla="*/ 41 w 2319"/>
                  <a:gd name="T27" fmla="*/ 1 h 1964"/>
                  <a:gd name="T28" fmla="*/ 45 w 2319"/>
                  <a:gd name="T29" fmla="*/ 3 h 1964"/>
                  <a:gd name="T30" fmla="*/ 34 w 2319"/>
                  <a:gd name="T31" fmla="*/ 4 h 1964"/>
                  <a:gd name="T32" fmla="*/ 40 w 2319"/>
                  <a:gd name="T33" fmla="*/ 5 h 1964"/>
                  <a:gd name="T34" fmla="*/ 46 w 2319"/>
                  <a:gd name="T35" fmla="*/ 5 h 1964"/>
                  <a:gd name="T36" fmla="*/ 51 w 2319"/>
                  <a:gd name="T37" fmla="*/ 4 h 1964"/>
                  <a:gd name="T38" fmla="*/ 46 w 2319"/>
                  <a:gd name="T39" fmla="*/ 7 h 1964"/>
                  <a:gd name="T40" fmla="*/ 49 w 2319"/>
                  <a:gd name="T41" fmla="*/ 9 h 1964"/>
                  <a:gd name="T42" fmla="*/ 46 w 2319"/>
                  <a:gd name="T43" fmla="*/ 11 h 1964"/>
                  <a:gd name="T44" fmla="*/ 46 w 2319"/>
                  <a:gd name="T45" fmla="*/ 14 h 1964"/>
                  <a:gd name="T46" fmla="*/ 45 w 2319"/>
                  <a:gd name="T47" fmla="*/ 15 h 1964"/>
                  <a:gd name="T48" fmla="*/ 47 w 2319"/>
                  <a:gd name="T49" fmla="*/ 17 h 1964"/>
                  <a:gd name="T50" fmla="*/ 45 w 2319"/>
                  <a:gd name="T51" fmla="*/ 19 h 1964"/>
                  <a:gd name="T52" fmla="*/ 46 w 2319"/>
                  <a:gd name="T53" fmla="*/ 20 h 1964"/>
                  <a:gd name="T54" fmla="*/ 46 w 2319"/>
                  <a:gd name="T55" fmla="*/ 22 h 1964"/>
                  <a:gd name="T56" fmla="*/ 41 w 2319"/>
                  <a:gd name="T57" fmla="*/ 23 h 1964"/>
                  <a:gd name="T58" fmla="*/ 42 w 2319"/>
                  <a:gd name="T59" fmla="*/ 25 h 1964"/>
                  <a:gd name="T60" fmla="*/ 45 w 2319"/>
                  <a:gd name="T61" fmla="*/ 26 h 1964"/>
                  <a:gd name="T62" fmla="*/ 44 w 2319"/>
                  <a:gd name="T63" fmla="*/ 28 h 1964"/>
                  <a:gd name="T64" fmla="*/ 40 w 2319"/>
                  <a:gd name="T65" fmla="*/ 26 h 1964"/>
                  <a:gd name="T66" fmla="*/ 41 w 2319"/>
                  <a:gd name="T67" fmla="*/ 29 h 1964"/>
                  <a:gd name="T68" fmla="*/ 41 w 2319"/>
                  <a:gd name="T69" fmla="*/ 32 h 1964"/>
                  <a:gd name="T70" fmla="*/ 36 w 2319"/>
                  <a:gd name="T71" fmla="*/ 33 h 1964"/>
                  <a:gd name="T72" fmla="*/ 32 w 2319"/>
                  <a:gd name="T73" fmla="*/ 36 h 1964"/>
                  <a:gd name="T74" fmla="*/ 31 w 2319"/>
                  <a:gd name="T75" fmla="*/ 36 h 1964"/>
                  <a:gd name="T76" fmla="*/ 28 w 2319"/>
                  <a:gd name="T77" fmla="*/ 38 h 1964"/>
                  <a:gd name="T78" fmla="*/ 28 w 2319"/>
                  <a:gd name="T79" fmla="*/ 40 h 1964"/>
                  <a:gd name="T80" fmla="*/ 28 w 2319"/>
                  <a:gd name="T81" fmla="*/ 41 h 1964"/>
                  <a:gd name="T82" fmla="*/ 26 w 2319"/>
                  <a:gd name="T83" fmla="*/ 45 h 1964"/>
                  <a:gd name="T84" fmla="*/ 22 w 2319"/>
                  <a:gd name="T85" fmla="*/ 44 h 1964"/>
                  <a:gd name="T86" fmla="*/ 21 w 2319"/>
                  <a:gd name="T87" fmla="*/ 43 h 1964"/>
                  <a:gd name="T88" fmla="*/ 19 w 2319"/>
                  <a:gd name="T89" fmla="*/ 39 h 1964"/>
                  <a:gd name="T90" fmla="*/ 19 w 2319"/>
                  <a:gd name="T91" fmla="*/ 37 h 1964"/>
                  <a:gd name="T92" fmla="*/ 18 w 2319"/>
                  <a:gd name="T93" fmla="*/ 33 h 1964"/>
                  <a:gd name="T94" fmla="*/ 18 w 2319"/>
                  <a:gd name="T95" fmla="*/ 32 h 1964"/>
                  <a:gd name="T96" fmla="*/ 18 w 2319"/>
                  <a:gd name="T97" fmla="*/ 29 h 1964"/>
                  <a:gd name="T98" fmla="*/ 20 w 2319"/>
                  <a:gd name="T99" fmla="*/ 28 h 1964"/>
                  <a:gd name="T100" fmla="*/ 19 w 2319"/>
                  <a:gd name="T101" fmla="*/ 27 h 1964"/>
                  <a:gd name="T102" fmla="*/ 17 w 2319"/>
                  <a:gd name="T103" fmla="*/ 27 h 1964"/>
                  <a:gd name="T104" fmla="*/ 15 w 2319"/>
                  <a:gd name="T105" fmla="*/ 25 h 1964"/>
                  <a:gd name="T106" fmla="*/ 14 w 2319"/>
                  <a:gd name="T107" fmla="*/ 21 h 1964"/>
                  <a:gd name="T108" fmla="*/ 11 w 2319"/>
                  <a:gd name="T109" fmla="*/ 17 h 1964"/>
                  <a:gd name="T110" fmla="*/ 6 w 2319"/>
                  <a:gd name="T111" fmla="*/ 18 h 1964"/>
                  <a:gd name="T112" fmla="*/ 1 w 2319"/>
                  <a:gd name="T113" fmla="*/ 15 h 1964"/>
                  <a:gd name="T114" fmla="*/ 6 w 2319"/>
                  <a:gd name="T115" fmla="*/ 14 h 196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19"/>
                  <a:gd name="T175" fmla="*/ 0 h 1964"/>
                  <a:gd name="T176" fmla="*/ 2319 w 2319"/>
                  <a:gd name="T177" fmla="*/ 1964 h 196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19" h="1964">
                    <a:moveTo>
                      <a:pt x="0" y="551"/>
                    </a:moveTo>
                    <a:lnTo>
                      <a:pt x="13" y="521"/>
                    </a:lnTo>
                    <a:lnTo>
                      <a:pt x="162" y="463"/>
                    </a:lnTo>
                    <a:lnTo>
                      <a:pt x="261" y="463"/>
                    </a:lnTo>
                    <a:lnTo>
                      <a:pt x="315" y="418"/>
                    </a:lnTo>
                    <a:lnTo>
                      <a:pt x="296" y="405"/>
                    </a:lnTo>
                    <a:lnTo>
                      <a:pt x="329" y="390"/>
                    </a:lnTo>
                    <a:lnTo>
                      <a:pt x="302" y="380"/>
                    </a:lnTo>
                    <a:lnTo>
                      <a:pt x="354" y="363"/>
                    </a:lnTo>
                    <a:lnTo>
                      <a:pt x="335" y="346"/>
                    </a:lnTo>
                    <a:lnTo>
                      <a:pt x="267" y="376"/>
                    </a:lnTo>
                    <a:lnTo>
                      <a:pt x="200" y="338"/>
                    </a:lnTo>
                    <a:lnTo>
                      <a:pt x="284" y="317"/>
                    </a:lnTo>
                    <a:lnTo>
                      <a:pt x="332" y="254"/>
                    </a:lnTo>
                    <a:lnTo>
                      <a:pt x="437" y="250"/>
                    </a:lnTo>
                    <a:lnTo>
                      <a:pt x="432" y="185"/>
                    </a:lnTo>
                    <a:lnTo>
                      <a:pt x="507" y="184"/>
                    </a:lnTo>
                    <a:lnTo>
                      <a:pt x="586" y="230"/>
                    </a:lnTo>
                    <a:lnTo>
                      <a:pt x="493" y="168"/>
                    </a:lnTo>
                    <a:lnTo>
                      <a:pt x="669" y="126"/>
                    </a:lnTo>
                    <a:lnTo>
                      <a:pt x="713" y="156"/>
                    </a:lnTo>
                    <a:lnTo>
                      <a:pt x="719" y="214"/>
                    </a:lnTo>
                    <a:lnTo>
                      <a:pt x="740" y="165"/>
                    </a:lnTo>
                    <a:lnTo>
                      <a:pt x="854" y="199"/>
                    </a:lnTo>
                    <a:lnTo>
                      <a:pt x="814" y="172"/>
                    </a:lnTo>
                    <a:lnTo>
                      <a:pt x="868" y="176"/>
                    </a:lnTo>
                    <a:lnTo>
                      <a:pt x="821" y="142"/>
                    </a:lnTo>
                    <a:lnTo>
                      <a:pt x="808" y="115"/>
                    </a:lnTo>
                    <a:lnTo>
                      <a:pt x="832" y="108"/>
                    </a:lnTo>
                    <a:lnTo>
                      <a:pt x="1056" y="192"/>
                    </a:lnTo>
                    <a:lnTo>
                      <a:pt x="1039" y="165"/>
                    </a:lnTo>
                    <a:lnTo>
                      <a:pt x="1086" y="161"/>
                    </a:lnTo>
                    <a:lnTo>
                      <a:pt x="1056" y="137"/>
                    </a:lnTo>
                    <a:lnTo>
                      <a:pt x="1132" y="142"/>
                    </a:lnTo>
                    <a:lnTo>
                      <a:pt x="1012" y="81"/>
                    </a:lnTo>
                    <a:lnTo>
                      <a:pt x="1228" y="115"/>
                    </a:lnTo>
                    <a:lnTo>
                      <a:pt x="1181" y="80"/>
                    </a:lnTo>
                    <a:lnTo>
                      <a:pt x="1054" y="73"/>
                    </a:lnTo>
                    <a:lnTo>
                      <a:pt x="1096" y="71"/>
                    </a:lnTo>
                    <a:lnTo>
                      <a:pt x="1017" y="42"/>
                    </a:lnTo>
                    <a:lnTo>
                      <a:pt x="1110" y="48"/>
                    </a:lnTo>
                    <a:lnTo>
                      <a:pt x="1073" y="35"/>
                    </a:lnTo>
                    <a:lnTo>
                      <a:pt x="1112" y="26"/>
                    </a:lnTo>
                    <a:lnTo>
                      <a:pt x="1272" y="81"/>
                    </a:lnTo>
                    <a:lnTo>
                      <a:pt x="1253" y="61"/>
                    </a:lnTo>
                    <a:lnTo>
                      <a:pt x="1326" y="42"/>
                    </a:lnTo>
                    <a:lnTo>
                      <a:pt x="1264" y="35"/>
                    </a:lnTo>
                    <a:lnTo>
                      <a:pt x="1262" y="8"/>
                    </a:lnTo>
                    <a:lnTo>
                      <a:pt x="1303" y="0"/>
                    </a:lnTo>
                    <a:lnTo>
                      <a:pt x="1732" y="10"/>
                    </a:lnTo>
                    <a:lnTo>
                      <a:pt x="1762" y="25"/>
                    </a:lnTo>
                    <a:lnTo>
                      <a:pt x="1746" y="35"/>
                    </a:lnTo>
                    <a:lnTo>
                      <a:pt x="1462" y="38"/>
                    </a:lnTo>
                    <a:lnTo>
                      <a:pt x="1495" y="54"/>
                    </a:lnTo>
                    <a:lnTo>
                      <a:pt x="1384" y="71"/>
                    </a:lnTo>
                    <a:lnTo>
                      <a:pt x="1789" y="42"/>
                    </a:lnTo>
                    <a:lnTo>
                      <a:pt x="1802" y="68"/>
                    </a:lnTo>
                    <a:lnTo>
                      <a:pt x="1746" y="83"/>
                    </a:lnTo>
                    <a:lnTo>
                      <a:pt x="1842" y="72"/>
                    </a:lnTo>
                    <a:lnTo>
                      <a:pt x="1951" y="104"/>
                    </a:lnTo>
                    <a:lnTo>
                      <a:pt x="1789" y="156"/>
                    </a:lnTo>
                    <a:lnTo>
                      <a:pt x="1529" y="152"/>
                    </a:lnTo>
                    <a:lnTo>
                      <a:pt x="1591" y="161"/>
                    </a:lnTo>
                    <a:lnTo>
                      <a:pt x="1482" y="184"/>
                    </a:lnTo>
                    <a:lnTo>
                      <a:pt x="1482" y="207"/>
                    </a:lnTo>
                    <a:lnTo>
                      <a:pt x="1767" y="168"/>
                    </a:lnTo>
                    <a:lnTo>
                      <a:pt x="1790" y="185"/>
                    </a:lnTo>
                    <a:lnTo>
                      <a:pt x="1732" y="223"/>
                    </a:lnTo>
                    <a:lnTo>
                      <a:pt x="1912" y="161"/>
                    </a:lnTo>
                    <a:lnTo>
                      <a:pt x="1923" y="221"/>
                    </a:lnTo>
                    <a:lnTo>
                      <a:pt x="1833" y="328"/>
                    </a:lnTo>
                    <a:lnTo>
                      <a:pt x="2009" y="204"/>
                    </a:lnTo>
                    <a:lnTo>
                      <a:pt x="2006" y="223"/>
                    </a:lnTo>
                    <a:lnTo>
                      <a:pt x="2090" y="222"/>
                    </a:lnTo>
                    <a:lnTo>
                      <a:pt x="2116" y="184"/>
                    </a:lnTo>
                    <a:lnTo>
                      <a:pt x="2206" y="176"/>
                    </a:lnTo>
                    <a:lnTo>
                      <a:pt x="2319" y="211"/>
                    </a:lnTo>
                    <a:lnTo>
                      <a:pt x="2207" y="265"/>
                    </a:lnTo>
                    <a:lnTo>
                      <a:pt x="2214" y="286"/>
                    </a:lnTo>
                    <a:lnTo>
                      <a:pt x="1963" y="317"/>
                    </a:lnTo>
                    <a:lnTo>
                      <a:pt x="2166" y="319"/>
                    </a:lnTo>
                    <a:lnTo>
                      <a:pt x="2002" y="364"/>
                    </a:lnTo>
                    <a:lnTo>
                      <a:pt x="2013" y="394"/>
                    </a:lnTo>
                    <a:lnTo>
                      <a:pt x="2122" y="364"/>
                    </a:lnTo>
                    <a:lnTo>
                      <a:pt x="2043" y="405"/>
                    </a:lnTo>
                    <a:lnTo>
                      <a:pt x="2033" y="459"/>
                    </a:lnTo>
                    <a:lnTo>
                      <a:pt x="2056" y="445"/>
                    </a:lnTo>
                    <a:lnTo>
                      <a:pt x="1981" y="493"/>
                    </a:lnTo>
                    <a:lnTo>
                      <a:pt x="1954" y="593"/>
                    </a:lnTo>
                    <a:lnTo>
                      <a:pt x="1996" y="571"/>
                    </a:lnTo>
                    <a:lnTo>
                      <a:pt x="2050" y="593"/>
                    </a:lnTo>
                    <a:lnTo>
                      <a:pt x="1998" y="593"/>
                    </a:lnTo>
                    <a:lnTo>
                      <a:pt x="1998" y="622"/>
                    </a:lnTo>
                    <a:lnTo>
                      <a:pt x="2088" y="635"/>
                    </a:lnTo>
                    <a:lnTo>
                      <a:pt x="2090" y="672"/>
                    </a:lnTo>
                    <a:lnTo>
                      <a:pt x="1959" y="664"/>
                    </a:lnTo>
                    <a:lnTo>
                      <a:pt x="1996" y="682"/>
                    </a:lnTo>
                    <a:lnTo>
                      <a:pt x="1919" y="693"/>
                    </a:lnTo>
                    <a:lnTo>
                      <a:pt x="1959" y="732"/>
                    </a:lnTo>
                    <a:lnTo>
                      <a:pt x="2027" y="735"/>
                    </a:lnTo>
                    <a:lnTo>
                      <a:pt x="1986" y="758"/>
                    </a:lnTo>
                    <a:lnTo>
                      <a:pt x="2039" y="779"/>
                    </a:lnTo>
                    <a:lnTo>
                      <a:pt x="2037" y="829"/>
                    </a:lnTo>
                    <a:lnTo>
                      <a:pt x="1941" y="800"/>
                    </a:lnTo>
                    <a:lnTo>
                      <a:pt x="1997" y="827"/>
                    </a:lnTo>
                    <a:lnTo>
                      <a:pt x="1961" y="844"/>
                    </a:lnTo>
                    <a:lnTo>
                      <a:pt x="1996" y="842"/>
                    </a:lnTo>
                    <a:lnTo>
                      <a:pt x="1986" y="874"/>
                    </a:lnTo>
                    <a:lnTo>
                      <a:pt x="2054" y="890"/>
                    </a:lnTo>
                    <a:lnTo>
                      <a:pt x="1947" y="881"/>
                    </a:lnTo>
                    <a:lnTo>
                      <a:pt x="1923" y="900"/>
                    </a:lnTo>
                    <a:lnTo>
                      <a:pt x="2009" y="942"/>
                    </a:lnTo>
                    <a:lnTo>
                      <a:pt x="1997" y="974"/>
                    </a:lnTo>
                    <a:lnTo>
                      <a:pt x="1926" y="994"/>
                    </a:lnTo>
                    <a:lnTo>
                      <a:pt x="1861" y="947"/>
                    </a:lnTo>
                    <a:lnTo>
                      <a:pt x="1758" y="986"/>
                    </a:lnTo>
                    <a:lnTo>
                      <a:pt x="1830" y="1013"/>
                    </a:lnTo>
                    <a:lnTo>
                      <a:pt x="1762" y="1038"/>
                    </a:lnTo>
                    <a:lnTo>
                      <a:pt x="1837" y="1040"/>
                    </a:lnTo>
                    <a:lnTo>
                      <a:pt x="1813" y="1090"/>
                    </a:lnTo>
                    <a:lnTo>
                      <a:pt x="1842" y="1061"/>
                    </a:lnTo>
                    <a:lnTo>
                      <a:pt x="1923" y="1101"/>
                    </a:lnTo>
                    <a:lnTo>
                      <a:pt x="1897" y="1135"/>
                    </a:lnTo>
                    <a:lnTo>
                      <a:pt x="1947" y="1122"/>
                    </a:lnTo>
                    <a:lnTo>
                      <a:pt x="1923" y="1155"/>
                    </a:lnTo>
                    <a:lnTo>
                      <a:pt x="1957" y="1139"/>
                    </a:lnTo>
                    <a:lnTo>
                      <a:pt x="1961" y="1223"/>
                    </a:lnTo>
                    <a:lnTo>
                      <a:pt x="1923" y="1192"/>
                    </a:lnTo>
                    <a:lnTo>
                      <a:pt x="1923" y="1223"/>
                    </a:lnTo>
                    <a:lnTo>
                      <a:pt x="1889" y="1220"/>
                    </a:lnTo>
                    <a:lnTo>
                      <a:pt x="1842" y="1151"/>
                    </a:lnTo>
                    <a:lnTo>
                      <a:pt x="1732" y="1113"/>
                    </a:lnTo>
                    <a:lnTo>
                      <a:pt x="1808" y="1158"/>
                    </a:lnTo>
                    <a:lnTo>
                      <a:pt x="1706" y="1182"/>
                    </a:lnTo>
                    <a:lnTo>
                      <a:pt x="1678" y="1223"/>
                    </a:lnTo>
                    <a:lnTo>
                      <a:pt x="1774" y="1232"/>
                    </a:lnTo>
                    <a:lnTo>
                      <a:pt x="1692" y="1255"/>
                    </a:lnTo>
                    <a:lnTo>
                      <a:pt x="1814" y="1227"/>
                    </a:lnTo>
                    <a:lnTo>
                      <a:pt x="1932" y="1264"/>
                    </a:lnTo>
                    <a:lnTo>
                      <a:pt x="1779" y="1360"/>
                    </a:lnTo>
                    <a:lnTo>
                      <a:pt x="1631" y="1402"/>
                    </a:lnTo>
                    <a:lnTo>
                      <a:pt x="1579" y="1406"/>
                    </a:lnTo>
                    <a:lnTo>
                      <a:pt x="1543" y="1361"/>
                    </a:lnTo>
                    <a:lnTo>
                      <a:pt x="1559" y="1406"/>
                    </a:lnTo>
                    <a:lnTo>
                      <a:pt x="1516" y="1431"/>
                    </a:lnTo>
                    <a:lnTo>
                      <a:pt x="1462" y="1535"/>
                    </a:lnTo>
                    <a:lnTo>
                      <a:pt x="1417" y="1531"/>
                    </a:lnTo>
                    <a:lnTo>
                      <a:pt x="1407" y="1564"/>
                    </a:lnTo>
                    <a:lnTo>
                      <a:pt x="1365" y="1571"/>
                    </a:lnTo>
                    <a:lnTo>
                      <a:pt x="1339" y="1557"/>
                    </a:lnTo>
                    <a:lnTo>
                      <a:pt x="1372" y="1537"/>
                    </a:lnTo>
                    <a:lnTo>
                      <a:pt x="1338" y="1531"/>
                    </a:lnTo>
                    <a:lnTo>
                      <a:pt x="1324" y="1587"/>
                    </a:lnTo>
                    <a:lnTo>
                      <a:pt x="1251" y="1591"/>
                    </a:lnTo>
                    <a:lnTo>
                      <a:pt x="1253" y="1634"/>
                    </a:lnTo>
                    <a:lnTo>
                      <a:pt x="1213" y="1637"/>
                    </a:lnTo>
                    <a:lnTo>
                      <a:pt x="1247" y="1672"/>
                    </a:lnTo>
                    <a:lnTo>
                      <a:pt x="1199" y="1680"/>
                    </a:lnTo>
                    <a:lnTo>
                      <a:pt x="1236" y="1717"/>
                    </a:lnTo>
                    <a:lnTo>
                      <a:pt x="1204" y="1717"/>
                    </a:lnTo>
                    <a:lnTo>
                      <a:pt x="1230" y="1726"/>
                    </a:lnTo>
                    <a:lnTo>
                      <a:pt x="1204" y="1768"/>
                    </a:lnTo>
                    <a:lnTo>
                      <a:pt x="1181" y="1761"/>
                    </a:lnTo>
                    <a:lnTo>
                      <a:pt x="1199" y="1779"/>
                    </a:lnTo>
                    <a:lnTo>
                      <a:pt x="1152" y="1797"/>
                    </a:lnTo>
                    <a:lnTo>
                      <a:pt x="1181" y="1856"/>
                    </a:lnTo>
                    <a:lnTo>
                      <a:pt x="1152" y="1935"/>
                    </a:lnTo>
                    <a:lnTo>
                      <a:pt x="1118" y="1936"/>
                    </a:lnTo>
                    <a:lnTo>
                      <a:pt x="1143" y="1964"/>
                    </a:lnTo>
                    <a:lnTo>
                      <a:pt x="1065" y="1964"/>
                    </a:lnTo>
                    <a:lnTo>
                      <a:pt x="1056" y="1910"/>
                    </a:lnTo>
                    <a:lnTo>
                      <a:pt x="945" y="1918"/>
                    </a:lnTo>
                    <a:lnTo>
                      <a:pt x="973" y="1903"/>
                    </a:lnTo>
                    <a:lnTo>
                      <a:pt x="917" y="1883"/>
                    </a:lnTo>
                    <a:lnTo>
                      <a:pt x="941" y="1874"/>
                    </a:lnTo>
                    <a:lnTo>
                      <a:pt x="901" y="1874"/>
                    </a:lnTo>
                    <a:lnTo>
                      <a:pt x="918" y="1832"/>
                    </a:lnTo>
                    <a:lnTo>
                      <a:pt x="892" y="1840"/>
                    </a:lnTo>
                    <a:lnTo>
                      <a:pt x="821" y="1726"/>
                    </a:lnTo>
                    <a:lnTo>
                      <a:pt x="821" y="1694"/>
                    </a:lnTo>
                    <a:lnTo>
                      <a:pt x="877" y="1656"/>
                    </a:lnTo>
                    <a:lnTo>
                      <a:pt x="854" y="1645"/>
                    </a:lnTo>
                    <a:lnTo>
                      <a:pt x="798" y="1687"/>
                    </a:lnTo>
                    <a:lnTo>
                      <a:pt x="798" y="1602"/>
                    </a:lnTo>
                    <a:lnTo>
                      <a:pt x="747" y="1557"/>
                    </a:lnTo>
                    <a:lnTo>
                      <a:pt x="763" y="1492"/>
                    </a:lnTo>
                    <a:lnTo>
                      <a:pt x="729" y="1466"/>
                    </a:lnTo>
                    <a:lnTo>
                      <a:pt x="774" y="1410"/>
                    </a:lnTo>
                    <a:lnTo>
                      <a:pt x="747" y="1402"/>
                    </a:lnTo>
                    <a:lnTo>
                      <a:pt x="839" y="1402"/>
                    </a:lnTo>
                    <a:lnTo>
                      <a:pt x="830" y="1379"/>
                    </a:lnTo>
                    <a:lnTo>
                      <a:pt x="769" y="1381"/>
                    </a:lnTo>
                    <a:lnTo>
                      <a:pt x="861" y="1331"/>
                    </a:lnTo>
                    <a:lnTo>
                      <a:pt x="839" y="1314"/>
                    </a:lnTo>
                    <a:lnTo>
                      <a:pt x="861" y="1255"/>
                    </a:lnTo>
                    <a:lnTo>
                      <a:pt x="785" y="1254"/>
                    </a:lnTo>
                    <a:lnTo>
                      <a:pt x="703" y="1207"/>
                    </a:lnTo>
                    <a:lnTo>
                      <a:pt x="854" y="1232"/>
                    </a:lnTo>
                    <a:lnTo>
                      <a:pt x="828" y="1211"/>
                    </a:lnTo>
                    <a:lnTo>
                      <a:pt x="854" y="1203"/>
                    </a:lnTo>
                    <a:lnTo>
                      <a:pt x="793" y="1168"/>
                    </a:lnTo>
                    <a:lnTo>
                      <a:pt x="814" y="1151"/>
                    </a:lnTo>
                    <a:lnTo>
                      <a:pt x="782" y="1163"/>
                    </a:lnTo>
                    <a:lnTo>
                      <a:pt x="804" y="1142"/>
                    </a:lnTo>
                    <a:lnTo>
                      <a:pt x="765" y="1145"/>
                    </a:lnTo>
                    <a:lnTo>
                      <a:pt x="808" y="1126"/>
                    </a:lnTo>
                    <a:lnTo>
                      <a:pt x="740" y="1099"/>
                    </a:lnTo>
                    <a:lnTo>
                      <a:pt x="726" y="1142"/>
                    </a:lnTo>
                    <a:lnTo>
                      <a:pt x="669" y="1145"/>
                    </a:lnTo>
                    <a:lnTo>
                      <a:pt x="659" y="1126"/>
                    </a:lnTo>
                    <a:lnTo>
                      <a:pt x="698" y="1099"/>
                    </a:lnTo>
                    <a:lnTo>
                      <a:pt x="667" y="1099"/>
                    </a:lnTo>
                    <a:lnTo>
                      <a:pt x="703" y="1023"/>
                    </a:lnTo>
                    <a:lnTo>
                      <a:pt x="661" y="1011"/>
                    </a:lnTo>
                    <a:lnTo>
                      <a:pt x="680" y="978"/>
                    </a:lnTo>
                    <a:lnTo>
                      <a:pt x="618" y="889"/>
                    </a:lnTo>
                    <a:lnTo>
                      <a:pt x="637" y="888"/>
                    </a:lnTo>
                    <a:lnTo>
                      <a:pt x="554" y="808"/>
                    </a:lnTo>
                    <a:lnTo>
                      <a:pt x="554" y="779"/>
                    </a:lnTo>
                    <a:lnTo>
                      <a:pt x="461" y="741"/>
                    </a:lnTo>
                    <a:lnTo>
                      <a:pt x="376" y="720"/>
                    </a:lnTo>
                    <a:lnTo>
                      <a:pt x="293" y="756"/>
                    </a:lnTo>
                    <a:lnTo>
                      <a:pt x="230" y="732"/>
                    </a:lnTo>
                    <a:lnTo>
                      <a:pt x="254" y="762"/>
                    </a:lnTo>
                    <a:lnTo>
                      <a:pt x="188" y="748"/>
                    </a:lnTo>
                    <a:lnTo>
                      <a:pt x="128" y="718"/>
                    </a:lnTo>
                    <a:lnTo>
                      <a:pt x="188" y="693"/>
                    </a:lnTo>
                    <a:lnTo>
                      <a:pt x="57" y="664"/>
                    </a:lnTo>
                    <a:lnTo>
                      <a:pt x="105" y="639"/>
                    </a:lnTo>
                    <a:lnTo>
                      <a:pt x="261" y="647"/>
                    </a:lnTo>
                    <a:lnTo>
                      <a:pt x="275" y="637"/>
                    </a:lnTo>
                    <a:lnTo>
                      <a:pt x="251" y="620"/>
                    </a:lnTo>
                    <a:lnTo>
                      <a:pt x="274" y="605"/>
                    </a:lnTo>
                    <a:lnTo>
                      <a:pt x="138" y="616"/>
                    </a:lnTo>
                    <a:lnTo>
                      <a:pt x="0" y="55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2" name="Freeform 294"/>
              <p:cNvSpPr/>
              <p:nvPr/>
            </p:nvSpPr>
            <p:spPr bwMode="auto">
              <a:xfrm>
                <a:off x="1960" y="2856"/>
                <a:ext cx="43" cy="55"/>
              </a:xfrm>
              <a:custGeom>
                <a:avLst/>
                <a:gdLst>
                  <a:gd name="T0" fmla="*/ 0 w 154"/>
                  <a:gd name="T1" fmla="*/ 4 h 190"/>
                  <a:gd name="T2" fmla="*/ 1 w 154"/>
                  <a:gd name="T3" fmla="*/ 2 h 190"/>
                  <a:gd name="T4" fmla="*/ 2 w 154"/>
                  <a:gd name="T5" fmla="*/ 2 h 190"/>
                  <a:gd name="T6" fmla="*/ 1 w 154"/>
                  <a:gd name="T7" fmla="*/ 1 h 190"/>
                  <a:gd name="T8" fmla="*/ 3 w 154"/>
                  <a:gd name="T9" fmla="*/ 0 h 190"/>
                  <a:gd name="T10" fmla="*/ 3 w 154"/>
                  <a:gd name="T11" fmla="*/ 2 h 190"/>
                  <a:gd name="T12" fmla="*/ 3 w 154"/>
                  <a:gd name="T13" fmla="*/ 2 h 190"/>
                  <a:gd name="T14" fmla="*/ 3 w 154"/>
                  <a:gd name="T15" fmla="*/ 4 h 190"/>
                  <a:gd name="T16" fmla="*/ 2 w 154"/>
                  <a:gd name="T17" fmla="*/ 5 h 190"/>
                  <a:gd name="T18" fmla="*/ 0 w 154"/>
                  <a:gd name="T19" fmla="*/ 4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4"/>
                  <a:gd name="T31" fmla="*/ 0 h 190"/>
                  <a:gd name="T32" fmla="*/ 154 w 154"/>
                  <a:gd name="T33" fmla="*/ 190 h 1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4" h="190">
                    <a:moveTo>
                      <a:pt x="0" y="154"/>
                    </a:moveTo>
                    <a:lnTo>
                      <a:pt x="35" y="83"/>
                    </a:lnTo>
                    <a:lnTo>
                      <a:pt x="74" y="82"/>
                    </a:lnTo>
                    <a:lnTo>
                      <a:pt x="33" y="24"/>
                    </a:lnTo>
                    <a:lnTo>
                      <a:pt x="123" y="0"/>
                    </a:lnTo>
                    <a:lnTo>
                      <a:pt x="134" y="90"/>
                    </a:lnTo>
                    <a:lnTo>
                      <a:pt x="154" y="98"/>
                    </a:lnTo>
                    <a:lnTo>
                      <a:pt x="114" y="158"/>
                    </a:lnTo>
                    <a:lnTo>
                      <a:pt x="87" y="190"/>
                    </a:lnTo>
                    <a:lnTo>
                      <a:pt x="0" y="15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3" name="Freeform 295"/>
              <p:cNvSpPr/>
              <p:nvPr/>
            </p:nvSpPr>
            <p:spPr bwMode="auto">
              <a:xfrm>
                <a:off x="2298" y="2979"/>
                <a:ext cx="51" cy="86"/>
              </a:xfrm>
              <a:custGeom>
                <a:avLst/>
                <a:gdLst>
                  <a:gd name="T0" fmla="*/ 0 w 181"/>
                  <a:gd name="T1" fmla="*/ 2 h 301"/>
                  <a:gd name="T2" fmla="*/ 1 w 181"/>
                  <a:gd name="T3" fmla="*/ 3 h 301"/>
                  <a:gd name="T4" fmla="*/ 1 w 181"/>
                  <a:gd name="T5" fmla="*/ 4 h 301"/>
                  <a:gd name="T6" fmla="*/ 1 w 181"/>
                  <a:gd name="T7" fmla="*/ 6 h 301"/>
                  <a:gd name="T8" fmla="*/ 2 w 181"/>
                  <a:gd name="T9" fmla="*/ 7 h 301"/>
                  <a:gd name="T10" fmla="*/ 4 w 181"/>
                  <a:gd name="T11" fmla="*/ 7 h 301"/>
                  <a:gd name="T12" fmla="*/ 3 w 181"/>
                  <a:gd name="T13" fmla="*/ 4 h 301"/>
                  <a:gd name="T14" fmla="*/ 4 w 181"/>
                  <a:gd name="T15" fmla="*/ 3 h 301"/>
                  <a:gd name="T16" fmla="*/ 1 w 181"/>
                  <a:gd name="T17" fmla="*/ 0 h 301"/>
                  <a:gd name="T18" fmla="*/ 1 w 181"/>
                  <a:gd name="T19" fmla="*/ 1 h 301"/>
                  <a:gd name="T20" fmla="*/ 1 w 181"/>
                  <a:gd name="T21" fmla="*/ 1 h 301"/>
                  <a:gd name="T22" fmla="*/ 0 w 181"/>
                  <a:gd name="T23" fmla="*/ 2 h 30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1"/>
                  <a:gd name="T37" fmla="*/ 0 h 301"/>
                  <a:gd name="T38" fmla="*/ 181 w 181"/>
                  <a:gd name="T39" fmla="*/ 301 h 30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1" h="301">
                    <a:moveTo>
                      <a:pt x="0" y="100"/>
                    </a:moveTo>
                    <a:lnTo>
                      <a:pt x="30" y="140"/>
                    </a:lnTo>
                    <a:lnTo>
                      <a:pt x="59" y="171"/>
                    </a:lnTo>
                    <a:lnTo>
                      <a:pt x="52" y="255"/>
                    </a:lnTo>
                    <a:lnTo>
                      <a:pt x="75" y="301"/>
                    </a:lnTo>
                    <a:lnTo>
                      <a:pt x="181" y="284"/>
                    </a:lnTo>
                    <a:lnTo>
                      <a:pt x="119" y="190"/>
                    </a:lnTo>
                    <a:lnTo>
                      <a:pt x="163" y="111"/>
                    </a:lnTo>
                    <a:lnTo>
                      <a:pt x="53" y="0"/>
                    </a:lnTo>
                    <a:lnTo>
                      <a:pt x="20" y="32"/>
                    </a:lnTo>
                    <a:lnTo>
                      <a:pt x="34" y="61"/>
                    </a:lnTo>
                    <a:lnTo>
                      <a:pt x="0" y="10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4" name="Freeform 296"/>
              <p:cNvSpPr/>
              <p:nvPr/>
            </p:nvSpPr>
            <p:spPr bwMode="auto">
              <a:xfrm>
                <a:off x="2155" y="2831"/>
                <a:ext cx="29" cy="23"/>
              </a:xfrm>
              <a:custGeom>
                <a:avLst/>
                <a:gdLst>
                  <a:gd name="T0" fmla="*/ 0 w 99"/>
                  <a:gd name="T1" fmla="*/ 1 h 82"/>
                  <a:gd name="T2" fmla="*/ 2 w 99"/>
                  <a:gd name="T3" fmla="*/ 1 h 82"/>
                  <a:gd name="T4" fmla="*/ 1 w 99"/>
                  <a:gd name="T5" fmla="*/ 0 h 82"/>
                  <a:gd name="T6" fmla="*/ 2 w 99"/>
                  <a:gd name="T7" fmla="*/ 0 h 82"/>
                  <a:gd name="T8" fmla="*/ 2 w 99"/>
                  <a:gd name="T9" fmla="*/ 2 h 82"/>
                  <a:gd name="T10" fmla="*/ 0 w 99"/>
                  <a:gd name="T11" fmla="*/ 1 h 82"/>
                  <a:gd name="T12" fmla="*/ 0 60000 65536"/>
                  <a:gd name="T13" fmla="*/ 0 60000 65536"/>
                  <a:gd name="T14" fmla="*/ 0 60000 65536"/>
                  <a:gd name="T15" fmla="*/ 0 60000 65536"/>
                  <a:gd name="T16" fmla="*/ 0 60000 65536"/>
                  <a:gd name="T17" fmla="*/ 0 60000 65536"/>
                  <a:gd name="T18" fmla="*/ 0 w 99"/>
                  <a:gd name="T19" fmla="*/ 0 h 82"/>
                  <a:gd name="T20" fmla="*/ 99 w 99"/>
                  <a:gd name="T21" fmla="*/ 82 h 82"/>
                </a:gdLst>
                <a:ahLst/>
                <a:cxnLst>
                  <a:cxn ang="T12">
                    <a:pos x="T0" y="T1"/>
                  </a:cxn>
                  <a:cxn ang="T13">
                    <a:pos x="T2" y="T3"/>
                  </a:cxn>
                  <a:cxn ang="T14">
                    <a:pos x="T4" y="T5"/>
                  </a:cxn>
                  <a:cxn ang="T15">
                    <a:pos x="T6" y="T7"/>
                  </a:cxn>
                  <a:cxn ang="T16">
                    <a:pos x="T8" y="T9"/>
                  </a:cxn>
                  <a:cxn ang="T17">
                    <a:pos x="T10" y="T11"/>
                  </a:cxn>
                </a:cxnLst>
                <a:rect l="T18" t="T19" r="T20" b="T21"/>
                <a:pathLst>
                  <a:path w="99" h="82">
                    <a:moveTo>
                      <a:pt x="0" y="63"/>
                    </a:moveTo>
                    <a:lnTo>
                      <a:pt x="74" y="60"/>
                    </a:lnTo>
                    <a:lnTo>
                      <a:pt x="37" y="6"/>
                    </a:lnTo>
                    <a:lnTo>
                      <a:pt x="99" y="0"/>
                    </a:lnTo>
                    <a:lnTo>
                      <a:pt x="99" y="82"/>
                    </a:lnTo>
                    <a:lnTo>
                      <a:pt x="0" y="6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5" name="Freeform 297"/>
              <p:cNvSpPr/>
              <p:nvPr/>
            </p:nvSpPr>
            <p:spPr bwMode="auto">
              <a:xfrm>
                <a:off x="1992" y="2882"/>
                <a:ext cx="66" cy="38"/>
              </a:xfrm>
              <a:custGeom>
                <a:avLst/>
                <a:gdLst>
                  <a:gd name="T0" fmla="*/ 0 w 231"/>
                  <a:gd name="T1" fmla="*/ 1 h 133"/>
                  <a:gd name="T2" fmla="*/ 1 w 231"/>
                  <a:gd name="T3" fmla="*/ 0 h 133"/>
                  <a:gd name="T4" fmla="*/ 4 w 231"/>
                  <a:gd name="T5" fmla="*/ 0 h 133"/>
                  <a:gd name="T6" fmla="*/ 5 w 231"/>
                  <a:gd name="T7" fmla="*/ 1 h 133"/>
                  <a:gd name="T8" fmla="*/ 4 w 231"/>
                  <a:gd name="T9" fmla="*/ 1 h 133"/>
                  <a:gd name="T10" fmla="*/ 2 w 231"/>
                  <a:gd name="T11" fmla="*/ 3 h 133"/>
                  <a:gd name="T12" fmla="*/ 1 w 231"/>
                  <a:gd name="T13" fmla="*/ 3 h 133"/>
                  <a:gd name="T14" fmla="*/ 0 w 231"/>
                  <a:gd name="T15" fmla="*/ 1 h 133"/>
                  <a:gd name="T16" fmla="*/ 0 60000 65536"/>
                  <a:gd name="T17" fmla="*/ 0 60000 65536"/>
                  <a:gd name="T18" fmla="*/ 0 60000 65536"/>
                  <a:gd name="T19" fmla="*/ 0 60000 65536"/>
                  <a:gd name="T20" fmla="*/ 0 60000 65536"/>
                  <a:gd name="T21" fmla="*/ 0 60000 65536"/>
                  <a:gd name="T22" fmla="*/ 0 60000 65536"/>
                  <a:gd name="T23" fmla="*/ 0 60000 65536"/>
                  <a:gd name="T24" fmla="*/ 0 w 231"/>
                  <a:gd name="T25" fmla="*/ 0 h 133"/>
                  <a:gd name="T26" fmla="*/ 231 w 231"/>
                  <a:gd name="T27" fmla="*/ 133 h 1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1" h="133">
                    <a:moveTo>
                      <a:pt x="0" y="68"/>
                    </a:moveTo>
                    <a:lnTo>
                      <a:pt x="40" y="8"/>
                    </a:lnTo>
                    <a:lnTo>
                      <a:pt x="163" y="0"/>
                    </a:lnTo>
                    <a:lnTo>
                      <a:pt x="231" y="42"/>
                    </a:lnTo>
                    <a:lnTo>
                      <a:pt x="176" y="52"/>
                    </a:lnTo>
                    <a:lnTo>
                      <a:pt x="79" y="133"/>
                    </a:lnTo>
                    <a:lnTo>
                      <a:pt x="62" y="112"/>
                    </a:lnTo>
                    <a:lnTo>
                      <a:pt x="0" y="6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6" name="Freeform 298"/>
              <p:cNvSpPr/>
              <p:nvPr/>
            </p:nvSpPr>
            <p:spPr bwMode="auto">
              <a:xfrm>
                <a:off x="2697" y="2094"/>
                <a:ext cx="120" cy="65"/>
              </a:xfrm>
              <a:custGeom>
                <a:avLst/>
                <a:gdLst>
                  <a:gd name="T0" fmla="*/ 0 w 420"/>
                  <a:gd name="T1" fmla="*/ 2 h 223"/>
                  <a:gd name="T2" fmla="*/ 1 w 420"/>
                  <a:gd name="T3" fmla="*/ 2 h 223"/>
                  <a:gd name="T4" fmla="*/ 0 w 420"/>
                  <a:gd name="T5" fmla="*/ 1 h 223"/>
                  <a:gd name="T6" fmla="*/ 1 w 420"/>
                  <a:gd name="T7" fmla="*/ 1 h 223"/>
                  <a:gd name="T8" fmla="*/ 1 w 420"/>
                  <a:gd name="T9" fmla="*/ 1 h 223"/>
                  <a:gd name="T10" fmla="*/ 2 w 420"/>
                  <a:gd name="T11" fmla="*/ 1 h 223"/>
                  <a:gd name="T12" fmla="*/ 1 w 420"/>
                  <a:gd name="T13" fmla="*/ 0 h 223"/>
                  <a:gd name="T14" fmla="*/ 3 w 420"/>
                  <a:gd name="T15" fmla="*/ 1 h 223"/>
                  <a:gd name="T16" fmla="*/ 3 w 420"/>
                  <a:gd name="T17" fmla="*/ 2 h 223"/>
                  <a:gd name="T18" fmla="*/ 4 w 420"/>
                  <a:gd name="T19" fmla="*/ 1 h 223"/>
                  <a:gd name="T20" fmla="*/ 5 w 420"/>
                  <a:gd name="T21" fmla="*/ 1 h 223"/>
                  <a:gd name="T22" fmla="*/ 5 w 420"/>
                  <a:gd name="T23" fmla="*/ 1 h 223"/>
                  <a:gd name="T24" fmla="*/ 6 w 420"/>
                  <a:gd name="T25" fmla="*/ 1 h 223"/>
                  <a:gd name="T26" fmla="*/ 5 w 420"/>
                  <a:gd name="T27" fmla="*/ 1 h 223"/>
                  <a:gd name="T28" fmla="*/ 7 w 420"/>
                  <a:gd name="T29" fmla="*/ 1 h 223"/>
                  <a:gd name="T30" fmla="*/ 7 w 420"/>
                  <a:gd name="T31" fmla="*/ 0 h 223"/>
                  <a:gd name="T32" fmla="*/ 8 w 420"/>
                  <a:gd name="T33" fmla="*/ 1 h 223"/>
                  <a:gd name="T34" fmla="*/ 9 w 420"/>
                  <a:gd name="T35" fmla="*/ 0 h 223"/>
                  <a:gd name="T36" fmla="*/ 8 w 420"/>
                  <a:gd name="T37" fmla="*/ 1 h 223"/>
                  <a:gd name="T38" fmla="*/ 10 w 420"/>
                  <a:gd name="T39" fmla="*/ 3 h 223"/>
                  <a:gd name="T40" fmla="*/ 9 w 420"/>
                  <a:gd name="T41" fmla="*/ 4 h 223"/>
                  <a:gd name="T42" fmla="*/ 5 w 420"/>
                  <a:gd name="T43" fmla="*/ 6 h 223"/>
                  <a:gd name="T44" fmla="*/ 2 w 420"/>
                  <a:gd name="T45" fmla="*/ 5 h 223"/>
                  <a:gd name="T46" fmla="*/ 3 w 420"/>
                  <a:gd name="T47" fmla="*/ 3 h 223"/>
                  <a:gd name="T48" fmla="*/ 1 w 420"/>
                  <a:gd name="T49" fmla="*/ 3 h 223"/>
                  <a:gd name="T50" fmla="*/ 3 w 420"/>
                  <a:gd name="T51" fmla="*/ 3 h 223"/>
                  <a:gd name="T52" fmla="*/ 2 w 420"/>
                  <a:gd name="T53" fmla="*/ 2 h 223"/>
                  <a:gd name="T54" fmla="*/ 3 w 420"/>
                  <a:gd name="T55" fmla="*/ 2 h 223"/>
                  <a:gd name="T56" fmla="*/ 0 w 420"/>
                  <a:gd name="T57" fmla="*/ 2 h 2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20"/>
                  <a:gd name="T88" fmla="*/ 0 h 223"/>
                  <a:gd name="T89" fmla="*/ 420 w 420"/>
                  <a:gd name="T90" fmla="*/ 223 h 2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20" h="223">
                    <a:moveTo>
                      <a:pt x="0" y="79"/>
                    </a:moveTo>
                    <a:lnTo>
                      <a:pt x="29" y="69"/>
                    </a:lnTo>
                    <a:lnTo>
                      <a:pt x="12" y="50"/>
                    </a:lnTo>
                    <a:lnTo>
                      <a:pt x="47" y="62"/>
                    </a:lnTo>
                    <a:lnTo>
                      <a:pt x="31" y="24"/>
                    </a:lnTo>
                    <a:lnTo>
                      <a:pt x="73" y="46"/>
                    </a:lnTo>
                    <a:lnTo>
                      <a:pt x="52" y="2"/>
                    </a:lnTo>
                    <a:lnTo>
                      <a:pt x="116" y="36"/>
                    </a:lnTo>
                    <a:lnTo>
                      <a:pt x="124" y="94"/>
                    </a:lnTo>
                    <a:lnTo>
                      <a:pt x="159" y="31"/>
                    </a:lnTo>
                    <a:lnTo>
                      <a:pt x="193" y="54"/>
                    </a:lnTo>
                    <a:lnTo>
                      <a:pt x="220" y="23"/>
                    </a:lnTo>
                    <a:lnTo>
                      <a:pt x="245" y="63"/>
                    </a:lnTo>
                    <a:lnTo>
                      <a:pt x="238" y="24"/>
                    </a:lnTo>
                    <a:lnTo>
                      <a:pt x="305" y="24"/>
                    </a:lnTo>
                    <a:lnTo>
                      <a:pt x="316" y="0"/>
                    </a:lnTo>
                    <a:lnTo>
                      <a:pt x="346" y="23"/>
                    </a:lnTo>
                    <a:lnTo>
                      <a:pt x="383" y="14"/>
                    </a:lnTo>
                    <a:lnTo>
                      <a:pt x="356" y="31"/>
                    </a:lnTo>
                    <a:lnTo>
                      <a:pt x="420" y="102"/>
                    </a:lnTo>
                    <a:lnTo>
                      <a:pt x="364" y="165"/>
                    </a:lnTo>
                    <a:lnTo>
                      <a:pt x="209" y="223"/>
                    </a:lnTo>
                    <a:lnTo>
                      <a:pt x="70" y="196"/>
                    </a:lnTo>
                    <a:lnTo>
                      <a:pt x="107" y="139"/>
                    </a:lnTo>
                    <a:lnTo>
                      <a:pt x="23" y="119"/>
                    </a:lnTo>
                    <a:lnTo>
                      <a:pt x="104" y="113"/>
                    </a:lnTo>
                    <a:lnTo>
                      <a:pt x="73" y="97"/>
                    </a:lnTo>
                    <a:lnTo>
                      <a:pt x="105" y="79"/>
                    </a:lnTo>
                    <a:lnTo>
                      <a:pt x="0" y="7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7" name="Freeform 299"/>
              <p:cNvSpPr/>
              <p:nvPr/>
            </p:nvSpPr>
            <p:spPr bwMode="auto">
              <a:xfrm>
                <a:off x="1691" y="2659"/>
                <a:ext cx="328" cy="242"/>
              </a:xfrm>
              <a:custGeom>
                <a:avLst/>
                <a:gdLst>
                  <a:gd name="T0" fmla="*/ 0 w 1151"/>
                  <a:gd name="T1" fmla="*/ 0 h 847"/>
                  <a:gd name="T2" fmla="*/ 1 w 1151"/>
                  <a:gd name="T3" fmla="*/ 3 h 847"/>
                  <a:gd name="T4" fmla="*/ 3 w 1151"/>
                  <a:gd name="T5" fmla="*/ 5 h 847"/>
                  <a:gd name="T6" fmla="*/ 3 w 1151"/>
                  <a:gd name="T7" fmla="*/ 5 h 847"/>
                  <a:gd name="T8" fmla="*/ 2 w 1151"/>
                  <a:gd name="T9" fmla="*/ 6 h 847"/>
                  <a:gd name="T10" fmla="*/ 3 w 1151"/>
                  <a:gd name="T11" fmla="*/ 7 h 847"/>
                  <a:gd name="T12" fmla="*/ 4 w 1151"/>
                  <a:gd name="T13" fmla="*/ 8 h 847"/>
                  <a:gd name="T14" fmla="*/ 4 w 1151"/>
                  <a:gd name="T15" fmla="*/ 9 h 847"/>
                  <a:gd name="T16" fmla="*/ 6 w 1151"/>
                  <a:gd name="T17" fmla="*/ 11 h 847"/>
                  <a:gd name="T18" fmla="*/ 7 w 1151"/>
                  <a:gd name="T19" fmla="*/ 10 h 847"/>
                  <a:gd name="T20" fmla="*/ 2 w 1151"/>
                  <a:gd name="T21" fmla="*/ 3 h 847"/>
                  <a:gd name="T22" fmla="*/ 2 w 1151"/>
                  <a:gd name="T23" fmla="*/ 1 h 847"/>
                  <a:gd name="T24" fmla="*/ 3 w 1151"/>
                  <a:gd name="T25" fmla="*/ 1 h 847"/>
                  <a:gd name="T26" fmla="*/ 5 w 1151"/>
                  <a:gd name="T27" fmla="*/ 5 h 847"/>
                  <a:gd name="T28" fmla="*/ 7 w 1151"/>
                  <a:gd name="T29" fmla="*/ 7 h 847"/>
                  <a:gd name="T30" fmla="*/ 7 w 1151"/>
                  <a:gd name="T31" fmla="*/ 8 h 847"/>
                  <a:gd name="T32" fmla="*/ 10 w 1151"/>
                  <a:gd name="T33" fmla="*/ 11 h 847"/>
                  <a:gd name="T34" fmla="*/ 11 w 1151"/>
                  <a:gd name="T35" fmla="*/ 13 h 847"/>
                  <a:gd name="T36" fmla="*/ 10 w 1151"/>
                  <a:gd name="T37" fmla="*/ 14 h 847"/>
                  <a:gd name="T38" fmla="*/ 11 w 1151"/>
                  <a:gd name="T39" fmla="*/ 15 h 847"/>
                  <a:gd name="T40" fmla="*/ 17 w 1151"/>
                  <a:gd name="T41" fmla="*/ 18 h 847"/>
                  <a:gd name="T42" fmla="*/ 20 w 1151"/>
                  <a:gd name="T43" fmla="*/ 18 h 847"/>
                  <a:gd name="T44" fmla="*/ 22 w 1151"/>
                  <a:gd name="T45" fmla="*/ 20 h 847"/>
                  <a:gd name="T46" fmla="*/ 23 w 1151"/>
                  <a:gd name="T47" fmla="*/ 18 h 847"/>
                  <a:gd name="T48" fmla="*/ 23 w 1151"/>
                  <a:gd name="T49" fmla="*/ 18 h 847"/>
                  <a:gd name="T50" fmla="*/ 23 w 1151"/>
                  <a:gd name="T51" fmla="*/ 17 h 847"/>
                  <a:gd name="T52" fmla="*/ 25 w 1151"/>
                  <a:gd name="T53" fmla="*/ 16 h 847"/>
                  <a:gd name="T54" fmla="*/ 25 w 1151"/>
                  <a:gd name="T55" fmla="*/ 16 h 847"/>
                  <a:gd name="T56" fmla="*/ 25 w 1151"/>
                  <a:gd name="T57" fmla="*/ 15 h 847"/>
                  <a:gd name="T58" fmla="*/ 26 w 1151"/>
                  <a:gd name="T59" fmla="*/ 16 h 847"/>
                  <a:gd name="T60" fmla="*/ 27 w 1151"/>
                  <a:gd name="T61" fmla="*/ 13 h 847"/>
                  <a:gd name="T62" fmla="*/ 25 w 1151"/>
                  <a:gd name="T63" fmla="*/ 12 h 847"/>
                  <a:gd name="T64" fmla="*/ 24 w 1151"/>
                  <a:gd name="T65" fmla="*/ 13 h 847"/>
                  <a:gd name="T66" fmla="*/ 23 w 1151"/>
                  <a:gd name="T67" fmla="*/ 16 h 847"/>
                  <a:gd name="T68" fmla="*/ 20 w 1151"/>
                  <a:gd name="T69" fmla="*/ 16 h 847"/>
                  <a:gd name="T70" fmla="*/ 19 w 1151"/>
                  <a:gd name="T71" fmla="*/ 15 h 847"/>
                  <a:gd name="T72" fmla="*/ 17 w 1151"/>
                  <a:gd name="T73" fmla="*/ 12 h 847"/>
                  <a:gd name="T74" fmla="*/ 17 w 1151"/>
                  <a:gd name="T75" fmla="*/ 9 h 847"/>
                  <a:gd name="T76" fmla="*/ 18 w 1151"/>
                  <a:gd name="T77" fmla="*/ 8 h 847"/>
                  <a:gd name="T78" fmla="*/ 16 w 1151"/>
                  <a:gd name="T79" fmla="*/ 7 h 847"/>
                  <a:gd name="T80" fmla="*/ 14 w 1151"/>
                  <a:gd name="T81" fmla="*/ 3 h 847"/>
                  <a:gd name="T82" fmla="*/ 12 w 1151"/>
                  <a:gd name="T83" fmla="*/ 4 h 847"/>
                  <a:gd name="T84" fmla="*/ 9 w 1151"/>
                  <a:gd name="T85" fmla="*/ 1 h 847"/>
                  <a:gd name="T86" fmla="*/ 5 w 1151"/>
                  <a:gd name="T87" fmla="*/ 2 h 847"/>
                  <a:gd name="T88" fmla="*/ 2 w 1151"/>
                  <a:gd name="T89" fmla="*/ 0 h 847"/>
                  <a:gd name="T90" fmla="*/ 0 w 1151"/>
                  <a:gd name="T91" fmla="*/ 0 h 84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51"/>
                  <a:gd name="T139" fmla="*/ 0 h 847"/>
                  <a:gd name="T140" fmla="*/ 1151 w 1151"/>
                  <a:gd name="T141" fmla="*/ 847 h 84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51" h="847">
                    <a:moveTo>
                      <a:pt x="0" y="9"/>
                    </a:moveTo>
                    <a:lnTo>
                      <a:pt x="55" y="141"/>
                    </a:lnTo>
                    <a:lnTo>
                      <a:pt x="118" y="202"/>
                    </a:lnTo>
                    <a:lnTo>
                      <a:pt x="112" y="238"/>
                    </a:lnTo>
                    <a:lnTo>
                      <a:pt x="80" y="246"/>
                    </a:lnTo>
                    <a:lnTo>
                      <a:pt x="152" y="275"/>
                    </a:lnTo>
                    <a:lnTo>
                      <a:pt x="191" y="334"/>
                    </a:lnTo>
                    <a:lnTo>
                      <a:pt x="190" y="384"/>
                    </a:lnTo>
                    <a:lnTo>
                      <a:pt x="272" y="468"/>
                    </a:lnTo>
                    <a:lnTo>
                      <a:pt x="289" y="438"/>
                    </a:lnTo>
                    <a:lnTo>
                      <a:pt x="97" y="120"/>
                    </a:lnTo>
                    <a:lnTo>
                      <a:pt x="85" y="35"/>
                    </a:lnTo>
                    <a:lnTo>
                      <a:pt x="128" y="58"/>
                    </a:lnTo>
                    <a:lnTo>
                      <a:pt x="196" y="196"/>
                    </a:lnTo>
                    <a:lnTo>
                      <a:pt x="299" y="300"/>
                    </a:lnTo>
                    <a:lnTo>
                      <a:pt x="297" y="339"/>
                    </a:lnTo>
                    <a:lnTo>
                      <a:pt x="439" y="483"/>
                    </a:lnTo>
                    <a:lnTo>
                      <a:pt x="456" y="542"/>
                    </a:lnTo>
                    <a:lnTo>
                      <a:pt x="439" y="583"/>
                    </a:lnTo>
                    <a:lnTo>
                      <a:pt x="473" y="638"/>
                    </a:lnTo>
                    <a:lnTo>
                      <a:pt x="746" y="785"/>
                    </a:lnTo>
                    <a:lnTo>
                      <a:pt x="863" y="775"/>
                    </a:lnTo>
                    <a:lnTo>
                      <a:pt x="941" y="847"/>
                    </a:lnTo>
                    <a:lnTo>
                      <a:pt x="976" y="776"/>
                    </a:lnTo>
                    <a:lnTo>
                      <a:pt x="1015" y="775"/>
                    </a:lnTo>
                    <a:lnTo>
                      <a:pt x="974" y="717"/>
                    </a:lnTo>
                    <a:lnTo>
                      <a:pt x="1064" y="693"/>
                    </a:lnTo>
                    <a:lnTo>
                      <a:pt x="1095" y="668"/>
                    </a:lnTo>
                    <a:lnTo>
                      <a:pt x="1103" y="653"/>
                    </a:lnTo>
                    <a:lnTo>
                      <a:pt x="1112" y="684"/>
                    </a:lnTo>
                    <a:lnTo>
                      <a:pt x="1151" y="544"/>
                    </a:lnTo>
                    <a:lnTo>
                      <a:pt x="1101" y="522"/>
                    </a:lnTo>
                    <a:lnTo>
                      <a:pt x="1016" y="544"/>
                    </a:lnTo>
                    <a:lnTo>
                      <a:pt x="971" y="668"/>
                    </a:lnTo>
                    <a:lnTo>
                      <a:pt x="857" y="678"/>
                    </a:lnTo>
                    <a:lnTo>
                      <a:pt x="814" y="649"/>
                    </a:lnTo>
                    <a:lnTo>
                      <a:pt x="738" y="498"/>
                    </a:lnTo>
                    <a:lnTo>
                      <a:pt x="737" y="384"/>
                    </a:lnTo>
                    <a:lnTo>
                      <a:pt x="762" y="327"/>
                    </a:lnTo>
                    <a:lnTo>
                      <a:pt x="687" y="300"/>
                    </a:lnTo>
                    <a:lnTo>
                      <a:pt x="588" y="139"/>
                    </a:lnTo>
                    <a:lnTo>
                      <a:pt x="509" y="174"/>
                    </a:lnTo>
                    <a:lnTo>
                      <a:pt x="407" y="43"/>
                    </a:lnTo>
                    <a:lnTo>
                      <a:pt x="233" y="70"/>
                    </a:lnTo>
                    <a:lnTo>
                      <a:pt x="87" y="0"/>
                    </a:lnTo>
                    <a:lnTo>
                      <a:pt x="0" y="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8" name="Freeform 300"/>
              <p:cNvSpPr/>
              <p:nvPr/>
            </p:nvSpPr>
            <p:spPr bwMode="auto">
              <a:xfrm>
                <a:off x="2014" y="2894"/>
                <a:ext cx="44" cy="53"/>
              </a:xfrm>
              <a:custGeom>
                <a:avLst/>
                <a:gdLst>
                  <a:gd name="T0" fmla="*/ 0 w 152"/>
                  <a:gd name="T1" fmla="*/ 2 h 184"/>
                  <a:gd name="T2" fmla="*/ 1 w 152"/>
                  <a:gd name="T3" fmla="*/ 4 h 184"/>
                  <a:gd name="T4" fmla="*/ 3 w 152"/>
                  <a:gd name="T5" fmla="*/ 4 h 184"/>
                  <a:gd name="T6" fmla="*/ 4 w 152"/>
                  <a:gd name="T7" fmla="*/ 0 h 184"/>
                  <a:gd name="T8" fmla="*/ 2 w 152"/>
                  <a:gd name="T9" fmla="*/ 0 h 184"/>
                  <a:gd name="T10" fmla="*/ 0 w 152"/>
                  <a:gd name="T11" fmla="*/ 2 h 184"/>
                  <a:gd name="T12" fmla="*/ 0 60000 65536"/>
                  <a:gd name="T13" fmla="*/ 0 60000 65536"/>
                  <a:gd name="T14" fmla="*/ 0 60000 65536"/>
                  <a:gd name="T15" fmla="*/ 0 60000 65536"/>
                  <a:gd name="T16" fmla="*/ 0 60000 65536"/>
                  <a:gd name="T17" fmla="*/ 0 60000 65536"/>
                  <a:gd name="T18" fmla="*/ 0 w 152"/>
                  <a:gd name="T19" fmla="*/ 0 h 184"/>
                  <a:gd name="T20" fmla="*/ 152 w 152"/>
                  <a:gd name="T21" fmla="*/ 184 h 184"/>
                </a:gdLst>
                <a:ahLst/>
                <a:cxnLst>
                  <a:cxn ang="T12">
                    <a:pos x="T0" y="T1"/>
                  </a:cxn>
                  <a:cxn ang="T13">
                    <a:pos x="T2" y="T3"/>
                  </a:cxn>
                  <a:cxn ang="T14">
                    <a:pos x="T4" y="T5"/>
                  </a:cxn>
                  <a:cxn ang="T15">
                    <a:pos x="T6" y="T7"/>
                  </a:cxn>
                  <a:cxn ang="T16">
                    <a:pos x="T8" y="T9"/>
                  </a:cxn>
                  <a:cxn ang="T17">
                    <a:pos x="T10" y="T11"/>
                  </a:cxn>
                </a:cxnLst>
                <a:rect l="T18" t="T19" r="T20" b="T21"/>
                <a:pathLst>
                  <a:path w="152" h="184">
                    <a:moveTo>
                      <a:pt x="0" y="91"/>
                    </a:moveTo>
                    <a:lnTo>
                      <a:pt x="61" y="180"/>
                    </a:lnTo>
                    <a:lnTo>
                      <a:pt x="140" y="184"/>
                    </a:lnTo>
                    <a:lnTo>
                      <a:pt x="152" y="0"/>
                    </a:lnTo>
                    <a:lnTo>
                      <a:pt x="97" y="10"/>
                    </a:lnTo>
                    <a:lnTo>
                      <a:pt x="0" y="9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9" name="Freeform 301"/>
              <p:cNvSpPr/>
              <p:nvPr/>
            </p:nvSpPr>
            <p:spPr bwMode="auto">
              <a:xfrm>
                <a:off x="2060" y="2962"/>
                <a:ext cx="62" cy="32"/>
              </a:xfrm>
              <a:custGeom>
                <a:avLst/>
                <a:gdLst>
                  <a:gd name="T0" fmla="*/ 0 w 215"/>
                  <a:gd name="T1" fmla="*/ 1 h 111"/>
                  <a:gd name="T2" fmla="*/ 0 w 215"/>
                  <a:gd name="T3" fmla="*/ 0 h 111"/>
                  <a:gd name="T4" fmla="*/ 1 w 215"/>
                  <a:gd name="T5" fmla="*/ 1 h 111"/>
                  <a:gd name="T6" fmla="*/ 3 w 215"/>
                  <a:gd name="T7" fmla="*/ 0 h 111"/>
                  <a:gd name="T8" fmla="*/ 5 w 215"/>
                  <a:gd name="T9" fmla="*/ 1 h 111"/>
                  <a:gd name="T10" fmla="*/ 5 w 215"/>
                  <a:gd name="T11" fmla="*/ 3 h 111"/>
                  <a:gd name="T12" fmla="*/ 5 w 215"/>
                  <a:gd name="T13" fmla="*/ 1 h 111"/>
                  <a:gd name="T14" fmla="*/ 3 w 215"/>
                  <a:gd name="T15" fmla="*/ 1 h 111"/>
                  <a:gd name="T16" fmla="*/ 3 w 215"/>
                  <a:gd name="T17" fmla="*/ 1 h 111"/>
                  <a:gd name="T18" fmla="*/ 3 w 215"/>
                  <a:gd name="T19" fmla="*/ 2 h 111"/>
                  <a:gd name="T20" fmla="*/ 2 w 215"/>
                  <a:gd name="T21" fmla="*/ 3 h 111"/>
                  <a:gd name="T22" fmla="*/ 0 w 215"/>
                  <a:gd name="T23" fmla="*/ 1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5"/>
                  <a:gd name="T37" fmla="*/ 0 h 111"/>
                  <a:gd name="T38" fmla="*/ 215 w 215"/>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5" h="111">
                    <a:moveTo>
                      <a:pt x="0" y="60"/>
                    </a:moveTo>
                    <a:lnTo>
                      <a:pt x="18" y="0"/>
                    </a:lnTo>
                    <a:lnTo>
                      <a:pt x="65" y="37"/>
                    </a:lnTo>
                    <a:lnTo>
                      <a:pt x="146" y="2"/>
                    </a:lnTo>
                    <a:lnTo>
                      <a:pt x="215" y="45"/>
                    </a:lnTo>
                    <a:lnTo>
                      <a:pt x="200" y="108"/>
                    </a:lnTo>
                    <a:lnTo>
                      <a:pt x="193" y="54"/>
                    </a:lnTo>
                    <a:lnTo>
                      <a:pt x="146" y="35"/>
                    </a:lnTo>
                    <a:lnTo>
                      <a:pt x="103" y="66"/>
                    </a:lnTo>
                    <a:lnTo>
                      <a:pt x="115" y="98"/>
                    </a:lnTo>
                    <a:lnTo>
                      <a:pt x="96" y="111"/>
                    </a:lnTo>
                    <a:lnTo>
                      <a:pt x="0" y="6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0" name="Freeform 302"/>
              <p:cNvSpPr/>
              <p:nvPr/>
            </p:nvSpPr>
            <p:spPr bwMode="auto">
              <a:xfrm>
                <a:off x="2284" y="3328"/>
                <a:ext cx="89" cy="107"/>
              </a:xfrm>
              <a:custGeom>
                <a:avLst/>
                <a:gdLst>
                  <a:gd name="T0" fmla="*/ 0 w 311"/>
                  <a:gd name="T1" fmla="*/ 3 h 377"/>
                  <a:gd name="T2" fmla="*/ 1 w 311"/>
                  <a:gd name="T3" fmla="*/ 1 h 377"/>
                  <a:gd name="T4" fmla="*/ 3 w 311"/>
                  <a:gd name="T5" fmla="*/ 0 h 377"/>
                  <a:gd name="T6" fmla="*/ 4 w 311"/>
                  <a:gd name="T7" fmla="*/ 1 h 377"/>
                  <a:gd name="T8" fmla="*/ 4 w 311"/>
                  <a:gd name="T9" fmla="*/ 3 h 377"/>
                  <a:gd name="T10" fmla="*/ 6 w 311"/>
                  <a:gd name="T11" fmla="*/ 3 h 377"/>
                  <a:gd name="T12" fmla="*/ 6 w 311"/>
                  <a:gd name="T13" fmla="*/ 5 h 377"/>
                  <a:gd name="T14" fmla="*/ 7 w 311"/>
                  <a:gd name="T15" fmla="*/ 5 h 377"/>
                  <a:gd name="T16" fmla="*/ 7 w 311"/>
                  <a:gd name="T17" fmla="*/ 7 h 377"/>
                  <a:gd name="T18" fmla="*/ 6 w 311"/>
                  <a:gd name="T19" fmla="*/ 9 h 377"/>
                  <a:gd name="T20" fmla="*/ 4 w 311"/>
                  <a:gd name="T21" fmla="*/ 9 h 377"/>
                  <a:gd name="T22" fmla="*/ 4 w 311"/>
                  <a:gd name="T23" fmla="*/ 7 h 377"/>
                  <a:gd name="T24" fmla="*/ 0 w 311"/>
                  <a:gd name="T25" fmla="*/ 3 h 3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1"/>
                  <a:gd name="T40" fmla="*/ 0 h 377"/>
                  <a:gd name="T41" fmla="*/ 311 w 311"/>
                  <a:gd name="T42" fmla="*/ 377 h 37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1" h="377">
                    <a:moveTo>
                      <a:pt x="0" y="141"/>
                    </a:moveTo>
                    <a:lnTo>
                      <a:pt x="21" y="23"/>
                    </a:lnTo>
                    <a:lnTo>
                      <a:pt x="134" y="0"/>
                    </a:lnTo>
                    <a:lnTo>
                      <a:pt x="169" y="39"/>
                    </a:lnTo>
                    <a:lnTo>
                      <a:pt x="177" y="130"/>
                    </a:lnTo>
                    <a:lnTo>
                      <a:pt x="260" y="143"/>
                    </a:lnTo>
                    <a:lnTo>
                      <a:pt x="270" y="205"/>
                    </a:lnTo>
                    <a:lnTo>
                      <a:pt x="311" y="218"/>
                    </a:lnTo>
                    <a:lnTo>
                      <a:pt x="305" y="295"/>
                    </a:lnTo>
                    <a:lnTo>
                      <a:pt x="263" y="377"/>
                    </a:lnTo>
                    <a:lnTo>
                      <a:pt x="159" y="371"/>
                    </a:lnTo>
                    <a:lnTo>
                      <a:pt x="180" y="281"/>
                    </a:lnTo>
                    <a:lnTo>
                      <a:pt x="0" y="14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1" name="Freeform 303"/>
              <p:cNvSpPr/>
              <p:nvPr/>
            </p:nvSpPr>
            <p:spPr bwMode="auto">
              <a:xfrm>
                <a:off x="2080" y="3085"/>
                <a:ext cx="135" cy="229"/>
              </a:xfrm>
              <a:custGeom>
                <a:avLst/>
                <a:gdLst>
                  <a:gd name="T0" fmla="*/ 0 w 476"/>
                  <a:gd name="T1" fmla="*/ 4 h 803"/>
                  <a:gd name="T2" fmla="*/ 0 w 476"/>
                  <a:gd name="T3" fmla="*/ 6 h 803"/>
                  <a:gd name="T4" fmla="*/ 2 w 476"/>
                  <a:gd name="T5" fmla="*/ 9 h 803"/>
                  <a:gd name="T6" fmla="*/ 4 w 476"/>
                  <a:gd name="T7" fmla="*/ 15 h 803"/>
                  <a:gd name="T8" fmla="*/ 9 w 476"/>
                  <a:gd name="T9" fmla="*/ 19 h 803"/>
                  <a:gd name="T10" fmla="*/ 10 w 476"/>
                  <a:gd name="T11" fmla="*/ 18 h 803"/>
                  <a:gd name="T12" fmla="*/ 11 w 476"/>
                  <a:gd name="T13" fmla="*/ 17 h 803"/>
                  <a:gd name="T14" fmla="*/ 10 w 476"/>
                  <a:gd name="T15" fmla="*/ 16 h 803"/>
                  <a:gd name="T16" fmla="*/ 10 w 476"/>
                  <a:gd name="T17" fmla="*/ 16 h 803"/>
                  <a:gd name="T18" fmla="*/ 11 w 476"/>
                  <a:gd name="T19" fmla="*/ 13 h 803"/>
                  <a:gd name="T20" fmla="*/ 10 w 476"/>
                  <a:gd name="T21" fmla="*/ 11 h 803"/>
                  <a:gd name="T22" fmla="*/ 9 w 476"/>
                  <a:gd name="T23" fmla="*/ 11 h 803"/>
                  <a:gd name="T24" fmla="*/ 9 w 476"/>
                  <a:gd name="T25" fmla="*/ 9 h 803"/>
                  <a:gd name="T26" fmla="*/ 9 w 476"/>
                  <a:gd name="T27" fmla="*/ 10 h 803"/>
                  <a:gd name="T28" fmla="*/ 7 w 476"/>
                  <a:gd name="T29" fmla="*/ 9 h 803"/>
                  <a:gd name="T30" fmla="*/ 7 w 476"/>
                  <a:gd name="T31" fmla="*/ 8 h 803"/>
                  <a:gd name="T32" fmla="*/ 8 w 476"/>
                  <a:gd name="T33" fmla="*/ 5 h 803"/>
                  <a:gd name="T34" fmla="*/ 10 w 476"/>
                  <a:gd name="T35" fmla="*/ 4 h 803"/>
                  <a:gd name="T36" fmla="*/ 9 w 476"/>
                  <a:gd name="T37" fmla="*/ 4 h 803"/>
                  <a:gd name="T38" fmla="*/ 10 w 476"/>
                  <a:gd name="T39" fmla="*/ 3 h 803"/>
                  <a:gd name="T40" fmla="*/ 7 w 476"/>
                  <a:gd name="T41" fmla="*/ 2 h 803"/>
                  <a:gd name="T42" fmla="*/ 5 w 476"/>
                  <a:gd name="T43" fmla="*/ 0 h 803"/>
                  <a:gd name="T44" fmla="*/ 5 w 476"/>
                  <a:gd name="T45" fmla="*/ 2 h 803"/>
                  <a:gd name="T46" fmla="*/ 3 w 476"/>
                  <a:gd name="T47" fmla="*/ 3 h 803"/>
                  <a:gd name="T48" fmla="*/ 2 w 476"/>
                  <a:gd name="T49" fmla="*/ 5 h 803"/>
                  <a:gd name="T50" fmla="*/ 1 w 476"/>
                  <a:gd name="T51" fmla="*/ 5 h 803"/>
                  <a:gd name="T52" fmla="*/ 1 w 476"/>
                  <a:gd name="T53" fmla="*/ 3 h 803"/>
                  <a:gd name="T54" fmla="*/ 0 w 476"/>
                  <a:gd name="T55" fmla="*/ 4 h 8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76"/>
                  <a:gd name="T85" fmla="*/ 0 h 803"/>
                  <a:gd name="T86" fmla="*/ 476 w 476"/>
                  <a:gd name="T87" fmla="*/ 803 h 80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76" h="803">
                    <a:moveTo>
                      <a:pt x="0" y="188"/>
                    </a:moveTo>
                    <a:lnTo>
                      <a:pt x="8" y="254"/>
                    </a:lnTo>
                    <a:lnTo>
                      <a:pt x="93" y="364"/>
                    </a:lnTo>
                    <a:lnTo>
                      <a:pt x="188" y="627"/>
                    </a:lnTo>
                    <a:lnTo>
                      <a:pt x="408" y="803"/>
                    </a:lnTo>
                    <a:lnTo>
                      <a:pt x="446" y="771"/>
                    </a:lnTo>
                    <a:lnTo>
                      <a:pt x="468" y="714"/>
                    </a:lnTo>
                    <a:lnTo>
                      <a:pt x="435" y="696"/>
                    </a:lnTo>
                    <a:lnTo>
                      <a:pt x="455" y="681"/>
                    </a:lnTo>
                    <a:lnTo>
                      <a:pt x="476" y="542"/>
                    </a:lnTo>
                    <a:lnTo>
                      <a:pt x="444" y="480"/>
                    </a:lnTo>
                    <a:lnTo>
                      <a:pt x="412" y="480"/>
                    </a:lnTo>
                    <a:lnTo>
                      <a:pt x="412" y="405"/>
                    </a:lnTo>
                    <a:lnTo>
                      <a:pt x="369" y="438"/>
                    </a:lnTo>
                    <a:lnTo>
                      <a:pt x="318" y="410"/>
                    </a:lnTo>
                    <a:lnTo>
                      <a:pt x="287" y="327"/>
                    </a:lnTo>
                    <a:lnTo>
                      <a:pt x="338" y="226"/>
                    </a:lnTo>
                    <a:lnTo>
                      <a:pt x="435" y="178"/>
                    </a:lnTo>
                    <a:lnTo>
                      <a:pt x="407" y="161"/>
                    </a:lnTo>
                    <a:lnTo>
                      <a:pt x="423" y="111"/>
                    </a:lnTo>
                    <a:lnTo>
                      <a:pt x="313" y="101"/>
                    </a:lnTo>
                    <a:lnTo>
                      <a:pt x="231" y="0"/>
                    </a:lnTo>
                    <a:lnTo>
                      <a:pt x="213" y="75"/>
                    </a:lnTo>
                    <a:lnTo>
                      <a:pt x="126" y="132"/>
                    </a:lnTo>
                    <a:lnTo>
                      <a:pt x="81" y="211"/>
                    </a:lnTo>
                    <a:lnTo>
                      <a:pt x="31" y="199"/>
                    </a:lnTo>
                    <a:lnTo>
                      <a:pt x="37" y="151"/>
                    </a:lnTo>
                    <a:lnTo>
                      <a:pt x="0" y="18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2" name="Freeform 304"/>
              <p:cNvSpPr/>
              <p:nvPr/>
            </p:nvSpPr>
            <p:spPr bwMode="auto">
              <a:xfrm>
                <a:off x="2332" y="3011"/>
                <a:ext cx="46" cy="49"/>
              </a:xfrm>
              <a:custGeom>
                <a:avLst/>
                <a:gdLst>
                  <a:gd name="T0" fmla="*/ 0 w 159"/>
                  <a:gd name="T1" fmla="*/ 2 h 173"/>
                  <a:gd name="T2" fmla="*/ 1 w 159"/>
                  <a:gd name="T3" fmla="*/ 0 h 173"/>
                  <a:gd name="T4" fmla="*/ 4 w 159"/>
                  <a:gd name="T5" fmla="*/ 0 h 173"/>
                  <a:gd name="T6" fmla="*/ 3 w 159"/>
                  <a:gd name="T7" fmla="*/ 4 h 173"/>
                  <a:gd name="T8" fmla="*/ 1 w 159"/>
                  <a:gd name="T9" fmla="*/ 4 h 173"/>
                  <a:gd name="T10" fmla="*/ 0 w 159"/>
                  <a:gd name="T11" fmla="*/ 2 h 173"/>
                  <a:gd name="T12" fmla="*/ 0 60000 65536"/>
                  <a:gd name="T13" fmla="*/ 0 60000 65536"/>
                  <a:gd name="T14" fmla="*/ 0 60000 65536"/>
                  <a:gd name="T15" fmla="*/ 0 60000 65536"/>
                  <a:gd name="T16" fmla="*/ 0 60000 65536"/>
                  <a:gd name="T17" fmla="*/ 0 60000 65536"/>
                  <a:gd name="T18" fmla="*/ 0 w 159"/>
                  <a:gd name="T19" fmla="*/ 0 h 173"/>
                  <a:gd name="T20" fmla="*/ 159 w 159"/>
                  <a:gd name="T21" fmla="*/ 173 h 173"/>
                </a:gdLst>
                <a:ahLst/>
                <a:cxnLst>
                  <a:cxn ang="T12">
                    <a:pos x="T0" y="T1"/>
                  </a:cxn>
                  <a:cxn ang="T13">
                    <a:pos x="T2" y="T3"/>
                  </a:cxn>
                  <a:cxn ang="T14">
                    <a:pos x="T4" y="T5"/>
                  </a:cxn>
                  <a:cxn ang="T15">
                    <a:pos x="T6" y="T7"/>
                  </a:cxn>
                  <a:cxn ang="T16">
                    <a:pos x="T8" y="T9"/>
                  </a:cxn>
                  <a:cxn ang="T17">
                    <a:pos x="T10" y="T11"/>
                  </a:cxn>
                </a:cxnLst>
                <a:rect l="T18" t="T19" r="T20" b="T21"/>
                <a:pathLst>
                  <a:path w="159" h="173">
                    <a:moveTo>
                      <a:pt x="0" y="79"/>
                    </a:moveTo>
                    <a:lnTo>
                      <a:pt x="44" y="0"/>
                    </a:lnTo>
                    <a:lnTo>
                      <a:pt x="159" y="12"/>
                    </a:lnTo>
                    <a:lnTo>
                      <a:pt x="146" y="161"/>
                    </a:lnTo>
                    <a:lnTo>
                      <a:pt x="62" y="173"/>
                    </a:lnTo>
                    <a:lnTo>
                      <a:pt x="0" y="7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3" name="Freeform 305"/>
              <p:cNvSpPr/>
              <p:nvPr/>
            </p:nvSpPr>
            <p:spPr bwMode="auto">
              <a:xfrm>
                <a:off x="2290" y="2949"/>
                <a:ext cx="11" cy="9"/>
              </a:xfrm>
              <a:custGeom>
                <a:avLst/>
                <a:gdLst>
                  <a:gd name="T0" fmla="*/ 0 w 39"/>
                  <a:gd name="T1" fmla="*/ 1 h 32"/>
                  <a:gd name="T2" fmla="*/ 1 w 39"/>
                  <a:gd name="T3" fmla="*/ 1 h 32"/>
                  <a:gd name="T4" fmla="*/ 1 w 39"/>
                  <a:gd name="T5" fmla="*/ 0 h 32"/>
                  <a:gd name="T6" fmla="*/ 0 w 39"/>
                  <a:gd name="T7" fmla="*/ 1 h 32"/>
                  <a:gd name="T8" fmla="*/ 0 60000 65536"/>
                  <a:gd name="T9" fmla="*/ 0 60000 65536"/>
                  <a:gd name="T10" fmla="*/ 0 60000 65536"/>
                  <a:gd name="T11" fmla="*/ 0 60000 65536"/>
                  <a:gd name="T12" fmla="*/ 0 w 39"/>
                  <a:gd name="T13" fmla="*/ 0 h 32"/>
                  <a:gd name="T14" fmla="*/ 39 w 39"/>
                  <a:gd name="T15" fmla="*/ 32 h 32"/>
                </a:gdLst>
                <a:ahLst/>
                <a:cxnLst>
                  <a:cxn ang="T8">
                    <a:pos x="T0" y="T1"/>
                  </a:cxn>
                  <a:cxn ang="T9">
                    <a:pos x="T2" y="T3"/>
                  </a:cxn>
                  <a:cxn ang="T10">
                    <a:pos x="T4" y="T5"/>
                  </a:cxn>
                  <a:cxn ang="T11">
                    <a:pos x="T6" y="T7"/>
                  </a:cxn>
                </a:cxnLst>
                <a:rect l="T12" t="T13" r="T14" b="T15"/>
                <a:pathLst>
                  <a:path w="39" h="32">
                    <a:moveTo>
                      <a:pt x="0" y="32"/>
                    </a:moveTo>
                    <a:lnTo>
                      <a:pt x="36" y="26"/>
                    </a:lnTo>
                    <a:lnTo>
                      <a:pt x="39" y="0"/>
                    </a:lnTo>
                    <a:lnTo>
                      <a:pt x="0" y="3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4" name="Freeform 306"/>
              <p:cNvSpPr/>
              <p:nvPr/>
            </p:nvSpPr>
            <p:spPr bwMode="auto">
              <a:xfrm>
                <a:off x="1136" y="1988"/>
                <a:ext cx="324" cy="328"/>
              </a:xfrm>
              <a:custGeom>
                <a:avLst/>
                <a:gdLst>
                  <a:gd name="T0" fmla="*/ 2 w 1139"/>
                  <a:gd name="T1" fmla="*/ 11 h 1152"/>
                  <a:gd name="T2" fmla="*/ 2 w 1139"/>
                  <a:gd name="T3" fmla="*/ 12 h 1152"/>
                  <a:gd name="T4" fmla="*/ 5 w 1139"/>
                  <a:gd name="T5" fmla="*/ 13 h 1152"/>
                  <a:gd name="T6" fmla="*/ 6 w 1139"/>
                  <a:gd name="T7" fmla="*/ 12 h 1152"/>
                  <a:gd name="T8" fmla="*/ 3 w 1139"/>
                  <a:gd name="T9" fmla="*/ 15 h 1152"/>
                  <a:gd name="T10" fmla="*/ 3 w 1139"/>
                  <a:gd name="T11" fmla="*/ 17 h 1152"/>
                  <a:gd name="T12" fmla="*/ 3 w 1139"/>
                  <a:gd name="T13" fmla="*/ 18 h 1152"/>
                  <a:gd name="T14" fmla="*/ 3 w 1139"/>
                  <a:gd name="T15" fmla="*/ 19 h 1152"/>
                  <a:gd name="T16" fmla="*/ 4 w 1139"/>
                  <a:gd name="T17" fmla="*/ 20 h 1152"/>
                  <a:gd name="T18" fmla="*/ 5 w 1139"/>
                  <a:gd name="T19" fmla="*/ 19 h 1152"/>
                  <a:gd name="T20" fmla="*/ 5 w 1139"/>
                  <a:gd name="T21" fmla="*/ 21 h 1152"/>
                  <a:gd name="T22" fmla="*/ 8 w 1139"/>
                  <a:gd name="T23" fmla="*/ 21 h 1152"/>
                  <a:gd name="T24" fmla="*/ 9 w 1139"/>
                  <a:gd name="T25" fmla="*/ 21 h 1152"/>
                  <a:gd name="T26" fmla="*/ 8 w 1139"/>
                  <a:gd name="T27" fmla="*/ 24 h 1152"/>
                  <a:gd name="T28" fmla="*/ 7 w 1139"/>
                  <a:gd name="T29" fmla="*/ 25 h 1152"/>
                  <a:gd name="T30" fmla="*/ 4 w 1139"/>
                  <a:gd name="T31" fmla="*/ 26 h 1152"/>
                  <a:gd name="T32" fmla="*/ 7 w 1139"/>
                  <a:gd name="T33" fmla="*/ 26 h 1152"/>
                  <a:gd name="T34" fmla="*/ 8 w 1139"/>
                  <a:gd name="T35" fmla="*/ 24 h 1152"/>
                  <a:gd name="T36" fmla="*/ 12 w 1139"/>
                  <a:gd name="T37" fmla="*/ 22 h 1152"/>
                  <a:gd name="T38" fmla="*/ 12 w 1139"/>
                  <a:gd name="T39" fmla="*/ 20 h 1152"/>
                  <a:gd name="T40" fmla="*/ 16 w 1139"/>
                  <a:gd name="T41" fmla="*/ 16 h 1152"/>
                  <a:gd name="T42" fmla="*/ 16 w 1139"/>
                  <a:gd name="T43" fmla="*/ 17 h 1152"/>
                  <a:gd name="T44" fmla="*/ 17 w 1139"/>
                  <a:gd name="T45" fmla="*/ 18 h 1152"/>
                  <a:gd name="T46" fmla="*/ 14 w 1139"/>
                  <a:gd name="T47" fmla="*/ 19 h 1152"/>
                  <a:gd name="T48" fmla="*/ 14 w 1139"/>
                  <a:gd name="T49" fmla="*/ 20 h 1152"/>
                  <a:gd name="T50" fmla="*/ 17 w 1139"/>
                  <a:gd name="T51" fmla="*/ 18 h 1152"/>
                  <a:gd name="T52" fmla="*/ 18 w 1139"/>
                  <a:gd name="T53" fmla="*/ 17 h 1152"/>
                  <a:gd name="T54" fmla="*/ 19 w 1139"/>
                  <a:gd name="T55" fmla="*/ 17 h 1152"/>
                  <a:gd name="T56" fmla="*/ 21 w 1139"/>
                  <a:gd name="T57" fmla="*/ 19 h 1152"/>
                  <a:gd name="T58" fmla="*/ 25 w 1139"/>
                  <a:gd name="T59" fmla="*/ 19 h 1152"/>
                  <a:gd name="T60" fmla="*/ 25 w 1139"/>
                  <a:gd name="T61" fmla="*/ 20 h 1152"/>
                  <a:gd name="T62" fmla="*/ 26 w 1139"/>
                  <a:gd name="T63" fmla="*/ 20 h 1152"/>
                  <a:gd name="T64" fmla="*/ 24 w 1139"/>
                  <a:gd name="T65" fmla="*/ 19 h 1152"/>
                  <a:gd name="T66" fmla="*/ 14 w 1139"/>
                  <a:gd name="T67" fmla="*/ 2 h 1152"/>
                  <a:gd name="T68" fmla="*/ 11 w 1139"/>
                  <a:gd name="T69" fmla="*/ 1 h 1152"/>
                  <a:gd name="T70" fmla="*/ 10 w 1139"/>
                  <a:gd name="T71" fmla="*/ 1 h 1152"/>
                  <a:gd name="T72" fmla="*/ 10 w 1139"/>
                  <a:gd name="T73" fmla="*/ 0 h 1152"/>
                  <a:gd name="T74" fmla="*/ 7 w 1139"/>
                  <a:gd name="T75" fmla="*/ 1 h 1152"/>
                  <a:gd name="T76" fmla="*/ 7 w 1139"/>
                  <a:gd name="T77" fmla="*/ 1 h 1152"/>
                  <a:gd name="T78" fmla="*/ 6 w 1139"/>
                  <a:gd name="T79" fmla="*/ 3 h 1152"/>
                  <a:gd name="T80" fmla="*/ 4 w 1139"/>
                  <a:gd name="T81" fmla="*/ 4 h 1152"/>
                  <a:gd name="T82" fmla="*/ 2 w 1139"/>
                  <a:gd name="T83" fmla="*/ 5 h 1152"/>
                  <a:gd name="T84" fmla="*/ 4 w 1139"/>
                  <a:gd name="T85" fmla="*/ 8 h 1152"/>
                  <a:gd name="T86" fmla="*/ 5 w 1139"/>
                  <a:gd name="T87" fmla="*/ 9 h 1152"/>
                  <a:gd name="T88" fmla="*/ 6 w 1139"/>
                  <a:gd name="T89" fmla="*/ 9 h 1152"/>
                  <a:gd name="T90" fmla="*/ 4 w 1139"/>
                  <a:gd name="T91" fmla="*/ 9 h 1152"/>
                  <a:gd name="T92" fmla="*/ 3 w 1139"/>
                  <a:gd name="T93" fmla="*/ 9 h 115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39"/>
                  <a:gd name="T142" fmla="*/ 0 h 1152"/>
                  <a:gd name="T143" fmla="*/ 1139 w 1139"/>
                  <a:gd name="T144" fmla="*/ 1152 h 115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39" h="1152">
                    <a:moveTo>
                      <a:pt x="0" y="441"/>
                    </a:moveTo>
                    <a:lnTo>
                      <a:pt x="74" y="463"/>
                    </a:lnTo>
                    <a:lnTo>
                      <a:pt x="45" y="472"/>
                    </a:lnTo>
                    <a:lnTo>
                      <a:pt x="75" y="514"/>
                    </a:lnTo>
                    <a:lnTo>
                      <a:pt x="190" y="510"/>
                    </a:lnTo>
                    <a:lnTo>
                      <a:pt x="205" y="538"/>
                    </a:lnTo>
                    <a:lnTo>
                      <a:pt x="278" y="503"/>
                    </a:lnTo>
                    <a:lnTo>
                      <a:pt x="253" y="517"/>
                    </a:lnTo>
                    <a:lnTo>
                      <a:pt x="267" y="587"/>
                    </a:lnTo>
                    <a:lnTo>
                      <a:pt x="111" y="655"/>
                    </a:lnTo>
                    <a:lnTo>
                      <a:pt x="72" y="729"/>
                    </a:lnTo>
                    <a:lnTo>
                      <a:pt x="107" y="718"/>
                    </a:lnTo>
                    <a:lnTo>
                      <a:pt x="79" y="737"/>
                    </a:lnTo>
                    <a:lnTo>
                      <a:pt x="107" y="761"/>
                    </a:lnTo>
                    <a:lnTo>
                      <a:pt x="165" y="771"/>
                    </a:lnTo>
                    <a:lnTo>
                      <a:pt x="134" y="809"/>
                    </a:lnTo>
                    <a:lnTo>
                      <a:pt x="159" y="847"/>
                    </a:lnTo>
                    <a:lnTo>
                      <a:pt x="190" y="852"/>
                    </a:lnTo>
                    <a:lnTo>
                      <a:pt x="250" y="771"/>
                    </a:lnTo>
                    <a:lnTo>
                      <a:pt x="213" y="809"/>
                    </a:lnTo>
                    <a:lnTo>
                      <a:pt x="244" y="887"/>
                    </a:lnTo>
                    <a:lnTo>
                      <a:pt x="228" y="917"/>
                    </a:lnTo>
                    <a:lnTo>
                      <a:pt x="298" y="872"/>
                    </a:lnTo>
                    <a:lnTo>
                      <a:pt x="346" y="928"/>
                    </a:lnTo>
                    <a:lnTo>
                      <a:pt x="363" y="895"/>
                    </a:lnTo>
                    <a:lnTo>
                      <a:pt x="378" y="917"/>
                    </a:lnTo>
                    <a:lnTo>
                      <a:pt x="431" y="889"/>
                    </a:lnTo>
                    <a:lnTo>
                      <a:pt x="360" y="1032"/>
                    </a:lnTo>
                    <a:lnTo>
                      <a:pt x="299" y="1060"/>
                    </a:lnTo>
                    <a:lnTo>
                      <a:pt x="298" y="1093"/>
                    </a:lnTo>
                    <a:lnTo>
                      <a:pt x="228" y="1094"/>
                    </a:lnTo>
                    <a:lnTo>
                      <a:pt x="176" y="1152"/>
                    </a:lnTo>
                    <a:lnTo>
                      <a:pt x="244" y="1109"/>
                    </a:lnTo>
                    <a:lnTo>
                      <a:pt x="317" y="1110"/>
                    </a:lnTo>
                    <a:lnTo>
                      <a:pt x="360" y="1075"/>
                    </a:lnTo>
                    <a:lnTo>
                      <a:pt x="339" y="1047"/>
                    </a:lnTo>
                    <a:lnTo>
                      <a:pt x="386" y="1051"/>
                    </a:lnTo>
                    <a:lnTo>
                      <a:pt x="528" y="943"/>
                    </a:lnTo>
                    <a:lnTo>
                      <a:pt x="559" y="904"/>
                    </a:lnTo>
                    <a:lnTo>
                      <a:pt x="532" y="871"/>
                    </a:lnTo>
                    <a:lnTo>
                      <a:pt x="660" y="740"/>
                    </a:lnTo>
                    <a:lnTo>
                      <a:pt x="676" y="675"/>
                    </a:lnTo>
                    <a:lnTo>
                      <a:pt x="661" y="740"/>
                    </a:lnTo>
                    <a:lnTo>
                      <a:pt x="715" y="728"/>
                    </a:lnTo>
                    <a:lnTo>
                      <a:pt x="684" y="755"/>
                    </a:lnTo>
                    <a:lnTo>
                      <a:pt x="727" y="767"/>
                    </a:lnTo>
                    <a:lnTo>
                      <a:pt x="635" y="776"/>
                    </a:lnTo>
                    <a:lnTo>
                      <a:pt x="615" y="841"/>
                    </a:lnTo>
                    <a:lnTo>
                      <a:pt x="650" y="837"/>
                    </a:lnTo>
                    <a:lnTo>
                      <a:pt x="618" y="882"/>
                    </a:lnTo>
                    <a:lnTo>
                      <a:pt x="740" y="825"/>
                    </a:lnTo>
                    <a:lnTo>
                      <a:pt x="760" y="790"/>
                    </a:lnTo>
                    <a:lnTo>
                      <a:pt x="739" y="774"/>
                    </a:lnTo>
                    <a:lnTo>
                      <a:pt x="767" y="743"/>
                    </a:lnTo>
                    <a:lnTo>
                      <a:pt x="763" y="767"/>
                    </a:lnTo>
                    <a:lnTo>
                      <a:pt x="823" y="753"/>
                    </a:lnTo>
                    <a:lnTo>
                      <a:pt x="813" y="779"/>
                    </a:lnTo>
                    <a:lnTo>
                      <a:pt x="911" y="825"/>
                    </a:lnTo>
                    <a:lnTo>
                      <a:pt x="1059" y="847"/>
                    </a:lnTo>
                    <a:lnTo>
                      <a:pt x="1083" y="821"/>
                    </a:lnTo>
                    <a:lnTo>
                      <a:pt x="1105" y="835"/>
                    </a:lnTo>
                    <a:lnTo>
                      <a:pt x="1076" y="860"/>
                    </a:lnTo>
                    <a:lnTo>
                      <a:pt x="1120" y="887"/>
                    </a:lnTo>
                    <a:lnTo>
                      <a:pt x="1139" y="866"/>
                    </a:lnTo>
                    <a:lnTo>
                      <a:pt x="1104" y="809"/>
                    </a:lnTo>
                    <a:lnTo>
                      <a:pt x="1032" y="809"/>
                    </a:lnTo>
                    <a:lnTo>
                      <a:pt x="1032" y="132"/>
                    </a:lnTo>
                    <a:lnTo>
                      <a:pt x="621" y="77"/>
                    </a:lnTo>
                    <a:lnTo>
                      <a:pt x="607" y="43"/>
                    </a:lnTo>
                    <a:lnTo>
                      <a:pt x="495" y="22"/>
                    </a:lnTo>
                    <a:lnTo>
                      <a:pt x="481" y="50"/>
                    </a:lnTo>
                    <a:lnTo>
                      <a:pt x="449" y="42"/>
                    </a:lnTo>
                    <a:lnTo>
                      <a:pt x="480" y="17"/>
                    </a:lnTo>
                    <a:lnTo>
                      <a:pt x="433" y="0"/>
                    </a:lnTo>
                    <a:lnTo>
                      <a:pt x="388" y="43"/>
                    </a:lnTo>
                    <a:lnTo>
                      <a:pt x="314" y="50"/>
                    </a:lnTo>
                    <a:lnTo>
                      <a:pt x="307" y="89"/>
                    </a:lnTo>
                    <a:lnTo>
                      <a:pt x="301" y="65"/>
                    </a:lnTo>
                    <a:lnTo>
                      <a:pt x="233" y="88"/>
                    </a:lnTo>
                    <a:lnTo>
                      <a:pt x="244" y="119"/>
                    </a:lnTo>
                    <a:lnTo>
                      <a:pt x="213" y="109"/>
                    </a:lnTo>
                    <a:lnTo>
                      <a:pt x="168" y="176"/>
                    </a:lnTo>
                    <a:lnTo>
                      <a:pt x="72" y="197"/>
                    </a:lnTo>
                    <a:lnTo>
                      <a:pt x="75" y="229"/>
                    </a:lnTo>
                    <a:lnTo>
                      <a:pt x="48" y="235"/>
                    </a:lnTo>
                    <a:lnTo>
                      <a:pt x="165" y="331"/>
                    </a:lnTo>
                    <a:lnTo>
                      <a:pt x="328" y="377"/>
                    </a:lnTo>
                    <a:lnTo>
                      <a:pt x="228" y="364"/>
                    </a:lnTo>
                    <a:lnTo>
                      <a:pt x="233" y="391"/>
                    </a:lnTo>
                    <a:lnTo>
                      <a:pt x="273" y="392"/>
                    </a:lnTo>
                    <a:lnTo>
                      <a:pt x="239" y="411"/>
                    </a:lnTo>
                    <a:lnTo>
                      <a:pt x="165" y="407"/>
                    </a:lnTo>
                    <a:lnTo>
                      <a:pt x="165" y="368"/>
                    </a:lnTo>
                    <a:lnTo>
                      <a:pt x="129" y="372"/>
                    </a:lnTo>
                    <a:lnTo>
                      <a:pt x="0" y="44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5" name="Freeform 307"/>
              <p:cNvSpPr/>
              <p:nvPr/>
            </p:nvSpPr>
            <p:spPr bwMode="auto">
              <a:xfrm>
                <a:off x="1268" y="2829"/>
                <a:ext cx="13" cy="17"/>
              </a:xfrm>
              <a:custGeom>
                <a:avLst/>
                <a:gdLst>
                  <a:gd name="T0" fmla="*/ 0 w 45"/>
                  <a:gd name="T1" fmla="*/ 1 h 62"/>
                  <a:gd name="T2" fmla="*/ 0 w 45"/>
                  <a:gd name="T3" fmla="*/ 0 h 62"/>
                  <a:gd name="T4" fmla="*/ 1 w 45"/>
                  <a:gd name="T5" fmla="*/ 1 h 62"/>
                  <a:gd name="T6" fmla="*/ 0 w 45"/>
                  <a:gd name="T7" fmla="*/ 1 h 62"/>
                  <a:gd name="T8" fmla="*/ 0 w 45"/>
                  <a:gd name="T9" fmla="*/ 1 h 62"/>
                  <a:gd name="T10" fmla="*/ 0 60000 65536"/>
                  <a:gd name="T11" fmla="*/ 0 60000 65536"/>
                  <a:gd name="T12" fmla="*/ 0 60000 65536"/>
                  <a:gd name="T13" fmla="*/ 0 60000 65536"/>
                  <a:gd name="T14" fmla="*/ 0 60000 65536"/>
                  <a:gd name="T15" fmla="*/ 0 w 45"/>
                  <a:gd name="T16" fmla="*/ 0 h 62"/>
                  <a:gd name="T17" fmla="*/ 45 w 45"/>
                  <a:gd name="T18" fmla="*/ 62 h 62"/>
                </a:gdLst>
                <a:ahLst/>
                <a:cxnLst>
                  <a:cxn ang="T10">
                    <a:pos x="T0" y="T1"/>
                  </a:cxn>
                  <a:cxn ang="T11">
                    <a:pos x="T2" y="T3"/>
                  </a:cxn>
                  <a:cxn ang="T12">
                    <a:pos x="T4" y="T5"/>
                  </a:cxn>
                  <a:cxn ang="T13">
                    <a:pos x="T6" y="T7"/>
                  </a:cxn>
                  <a:cxn ang="T14">
                    <a:pos x="T8" y="T9"/>
                  </a:cxn>
                </a:cxnLst>
                <a:rect l="T15" t="T16" r="T17" b="T18"/>
                <a:pathLst>
                  <a:path w="45" h="62">
                    <a:moveTo>
                      <a:pt x="0" y="23"/>
                    </a:moveTo>
                    <a:lnTo>
                      <a:pt x="4" y="0"/>
                    </a:lnTo>
                    <a:lnTo>
                      <a:pt x="45" y="38"/>
                    </a:lnTo>
                    <a:lnTo>
                      <a:pt x="14" y="62"/>
                    </a:lnTo>
                    <a:lnTo>
                      <a:pt x="0" y="2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6" name="Freeform 308"/>
              <p:cNvSpPr/>
              <p:nvPr/>
            </p:nvSpPr>
            <p:spPr bwMode="auto">
              <a:xfrm>
                <a:off x="1280" y="2264"/>
                <a:ext cx="28" cy="19"/>
              </a:xfrm>
              <a:custGeom>
                <a:avLst/>
                <a:gdLst>
                  <a:gd name="T0" fmla="*/ 0 w 100"/>
                  <a:gd name="T1" fmla="*/ 1 h 69"/>
                  <a:gd name="T2" fmla="*/ 1 w 100"/>
                  <a:gd name="T3" fmla="*/ 1 h 69"/>
                  <a:gd name="T4" fmla="*/ 2 w 100"/>
                  <a:gd name="T5" fmla="*/ 0 h 69"/>
                  <a:gd name="T6" fmla="*/ 1 w 100"/>
                  <a:gd name="T7" fmla="*/ 0 h 69"/>
                  <a:gd name="T8" fmla="*/ 1 w 100"/>
                  <a:gd name="T9" fmla="*/ 1 h 69"/>
                  <a:gd name="T10" fmla="*/ 0 w 100"/>
                  <a:gd name="T11" fmla="*/ 1 h 69"/>
                  <a:gd name="T12" fmla="*/ 0 60000 65536"/>
                  <a:gd name="T13" fmla="*/ 0 60000 65536"/>
                  <a:gd name="T14" fmla="*/ 0 60000 65536"/>
                  <a:gd name="T15" fmla="*/ 0 60000 65536"/>
                  <a:gd name="T16" fmla="*/ 0 60000 65536"/>
                  <a:gd name="T17" fmla="*/ 0 60000 65536"/>
                  <a:gd name="T18" fmla="*/ 0 w 100"/>
                  <a:gd name="T19" fmla="*/ 0 h 69"/>
                  <a:gd name="T20" fmla="*/ 100 w 100"/>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100" h="69">
                    <a:moveTo>
                      <a:pt x="0" y="28"/>
                    </a:moveTo>
                    <a:lnTo>
                      <a:pt x="28" y="69"/>
                    </a:lnTo>
                    <a:lnTo>
                      <a:pt x="100" y="11"/>
                    </a:lnTo>
                    <a:lnTo>
                      <a:pt x="32" y="0"/>
                    </a:lnTo>
                    <a:lnTo>
                      <a:pt x="41" y="27"/>
                    </a:lnTo>
                    <a:lnTo>
                      <a:pt x="0" y="2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7" name="Freeform 309"/>
              <p:cNvSpPr/>
              <p:nvPr/>
            </p:nvSpPr>
            <p:spPr bwMode="auto">
              <a:xfrm>
                <a:off x="1462" y="2228"/>
                <a:ext cx="87" cy="90"/>
              </a:xfrm>
              <a:custGeom>
                <a:avLst/>
                <a:gdLst>
                  <a:gd name="T0" fmla="*/ 0 w 306"/>
                  <a:gd name="T1" fmla="*/ 1 h 315"/>
                  <a:gd name="T2" fmla="*/ 0 w 306"/>
                  <a:gd name="T3" fmla="*/ 2 h 315"/>
                  <a:gd name="T4" fmla="*/ 1 w 306"/>
                  <a:gd name="T5" fmla="*/ 2 h 315"/>
                  <a:gd name="T6" fmla="*/ 2 w 306"/>
                  <a:gd name="T7" fmla="*/ 2 h 315"/>
                  <a:gd name="T8" fmla="*/ 1 w 306"/>
                  <a:gd name="T9" fmla="*/ 1 h 315"/>
                  <a:gd name="T10" fmla="*/ 2 w 306"/>
                  <a:gd name="T11" fmla="*/ 1 h 315"/>
                  <a:gd name="T12" fmla="*/ 3 w 306"/>
                  <a:gd name="T13" fmla="*/ 2 h 315"/>
                  <a:gd name="T14" fmla="*/ 2 w 306"/>
                  <a:gd name="T15" fmla="*/ 1 h 315"/>
                  <a:gd name="T16" fmla="*/ 3 w 306"/>
                  <a:gd name="T17" fmla="*/ 2 h 315"/>
                  <a:gd name="T18" fmla="*/ 4 w 306"/>
                  <a:gd name="T19" fmla="*/ 3 h 315"/>
                  <a:gd name="T20" fmla="*/ 4 w 306"/>
                  <a:gd name="T21" fmla="*/ 4 h 315"/>
                  <a:gd name="T22" fmla="*/ 6 w 306"/>
                  <a:gd name="T23" fmla="*/ 5 h 315"/>
                  <a:gd name="T24" fmla="*/ 5 w 306"/>
                  <a:gd name="T25" fmla="*/ 6 h 315"/>
                  <a:gd name="T26" fmla="*/ 6 w 306"/>
                  <a:gd name="T27" fmla="*/ 5 h 315"/>
                  <a:gd name="T28" fmla="*/ 6 w 306"/>
                  <a:gd name="T29" fmla="*/ 7 h 315"/>
                  <a:gd name="T30" fmla="*/ 7 w 306"/>
                  <a:gd name="T31" fmla="*/ 7 h 315"/>
                  <a:gd name="T32" fmla="*/ 7 w 306"/>
                  <a:gd name="T33" fmla="*/ 6 h 315"/>
                  <a:gd name="T34" fmla="*/ 5 w 306"/>
                  <a:gd name="T35" fmla="*/ 5 h 315"/>
                  <a:gd name="T36" fmla="*/ 2 w 306"/>
                  <a:gd name="T37" fmla="*/ 0 h 315"/>
                  <a:gd name="T38" fmla="*/ 1 w 306"/>
                  <a:gd name="T39" fmla="*/ 1 h 315"/>
                  <a:gd name="T40" fmla="*/ 0 w 306"/>
                  <a:gd name="T41" fmla="*/ 1 h 3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6"/>
                  <a:gd name="T64" fmla="*/ 0 h 315"/>
                  <a:gd name="T65" fmla="*/ 306 w 306"/>
                  <a:gd name="T66" fmla="*/ 315 h 3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6" h="315">
                    <a:moveTo>
                      <a:pt x="0" y="30"/>
                    </a:moveTo>
                    <a:lnTo>
                      <a:pt x="15" y="77"/>
                    </a:lnTo>
                    <a:lnTo>
                      <a:pt x="56" y="98"/>
                    </a:lnTo>
                    <a:lnTo>
                      <a:pt x="77" y="83"/>
                    </a:lnTo>
                    <a:lnTo>
                      <a:pt x="38" y="58"/>
                    </a:lnTo>
                    <a:lnTo>
                      <a:pt x="77" y="58"/>
                    </a:lnTo>
                    <a:lnTo>
                      <a:pt x="107" y="99"/>
                    </a:lnTo>
                    <a:lnTo>
                      <a:pt x="96" y="27"/>
                    </a:lnTo>
                    <a:lnTo>
                      <a:pt x="120" y="90"/>
                    </a:lnTo>
                    <a:lnTo>
                      <a:pt x="186" y="125"/>
                    </a:lnTo>
                    <a:lnTo>
                      <a:pt x="174" y="169"/>
                    </a:lnTo>
                    <a:lnTo>
                      <a:pt x="249" y="225"/>
                    </a:lnTo>
                    <a:lnTo>
                      <a:pt x="227" y="269"/>
                    </a:lnTo>
                    <a:lnTo>
                      <a:pt x="265" y="233"/>
                    </a:lnTo>
                    <a:lnTo>
                      <a:pt x="275" y="315"/>
                    </a:lnTo>
                    <a:lnTo>
                      <a:pt x="303" y="302"/>
                    </a:lnTo>
                    <a:lnTo>
                      <a:pt x="306" y="240"/>
                    </a:lnTo>
                    <a:lnTo>
                      <a:pt x="235" y="205"/>
                    </a:lnTo>
                    <a:lnTo>
                      <a:pt x="98" y="0"/>
                    </a:lnTo>
                    <a:lnTo>
                      <a:pt x="23" y="58"/>
                    </a:lnTo>
                    <a:lnTo>
                      <a:pt x="0" y="3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8" name="Freeform 310"/>
              <p:cNvSpPr/>
              <p:nvPr/>
            </p:nvSpPr>
            <p:spPr bwMode="auto">
              <a:xfrm>
                <a:off x="1481" y="2257"/>
                <a:ext cx="14" cy="14"/>
              </a:xfrm>
              <a:custGeom>
                <a:avLst/>
                <a:gdLst>
                  <a:gd name="T0" fmla="*/ 0 w 50"/>
                  <a:gd name="T1" fmla="*/ 0 h 51"/>
                  <a:gd name="T2" fmla="*/ 0 w 50"/>
                  <a:gd name="T3" fmla="*/ 1 h 51"/>
                  <a:gd name="T4" fmla="*/ 0 w 50"/>
                  <a:gd name="T5" fmla="*/ 1 h 51"/>
                  <a:gd name="T6" fmla="*/ 1 w 50"/>
                  <a:gd name="T7" fmla="*/ 1 h 51"/>
                  <a:gd name="T8" fmla="*/ 1 w 50"/>
                  <a:gd name="T9" fmla="*/ 1 h 51"/>
                  <a:gd name="T10" fmla="*/ 1 w 50"/>
                  <a:gd name="T11" fmla="*/ 0 h 51"/>
                  <a:gd name="T12" fmla="*/ 0 w 50"/>
                  <a:gd name="T13" fmla="*/ 0 h 51"/>
                  <a:gd name="T14" fmla="*/ 0 60000 65536"/>
                  <a:gd name="T15" fmla="*/ 0 60000 65536"/>
                  <a:gd name="T16" fmla="*/ 0 60000 65536"/>
                  <a:gd name="T17" fmla="*/ 0 60000 65536"/>
                  <a:gd name="T18" fmla="*/ 0 60000 65536"/>
                  <a:gd name="T19" fmla="*/ 0 60000 65536"/>
                  <a:gd name="T20" fmla="*/ 0 60000 65536"/>
                  <a:gd name="T21" fmla="*/ 0 w 50"/>
                  <a:gd name="T22" fmla="*/ 0 h 51"/>
                  <a:gd name="T23" fmla="*/ 50 w 50"/>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51">
                    <a:moveTo>
                      <a:pt x="0" y="0"/>
                    </a:moveTo>
                    <a:lnTo>
                      <a:pt x="13" y="51"/>
                    </a:lnTo>
                    <a:lnTo>
                      <a:pt x="18" y="24"/>
                    </a:lnTo>
                    <a:lnTo>
                      <a:pt x="50" y="46"/>
                    </a:lnTo>
                    <a:lnTo>
                      <a:pt x="21" y="24"/>
                    </a:lnTo>
                    <a:lnTo>
                      <a:pt x="49" y="8"/>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9" name="Freeform 311"/>
              <p:cNvSpPr/>
              <p:nvPr/>
            </p:nvSpPr>
            <p:spPr bwMode="auto">
              <a:xfrm>
                <a:off x="1487" y="2269"/>
                <a:ext cx="9" cy="23"/>
              </a:xfrm>
              <a:custGeom>
                <a:avLst/>
                <a:gdLst>
                  <a:gd name="T0" fmla="*/ 0 w 29"/>
                  <a:gd name="T1" fmla="*/ 0 h 80"/>
                  <a:gd name="T2" fmla="*/ 1 w 29"/>
                  <a:gd name="T3" fmla="*/ 0 h 80"/>
                  <a:gd name="T4" fmla="*/ 1 w 29"/>
                  <a:gd name="T5" fmla="*/ 2 h 80"/>
                  <a:gd name="T6" fmla="*/ 0 w 29"/>
                  <a:gd name="T7" fmla="*/ 0 h 80"/>
                  <a:gd name="T8" fmla="*/ 0 60000 65536"/>
                  <a:gd name="T9" fmla="*/ 0 60000 65536"/>
                  <a:gd name="T10" fmla="*/ 0 60000 65536"/>
                  <a:gd name="T11" fmla="*/ 0 60000 65536"/>
                  <a:gd name="T12" fmla="*/ 0 w 29"/>
                  <a:gd name="T13" fmla="*/ 0 h 80"/>
                  <a:gd name="T14" fmla="*/ 29 w 29"/>
                  <a:gd name="T15" fmla="*/ 80 h 80"/>
                </a:gdLst>
                <a:ahLst/>
                <a:cxnLst>
                  <a:cxn ang="T8">
                    <a:pos x="T0" y="T1"/>
                  </a:cxn>
                  <a:cxn ang="T9">
                    <a:pos x="T2" y="T3"/>
                  </a:cxn>
                  <a:cxn ang="T10">
                    <a:pos x="T4" y="T5"/>
                  </a:cxn>
                  <a:cxn ang="T11">
                    <a:pos x="T6" y="T7"/>
                  </a:cxn>
                </a:cxnLst>
                <a:rect l="T12" t="T13" r="T14" b="T15"/>
                <a:pathLst>
                  <a:path w="29" h="80">
                    <a:moveTo>
                      <a:pt x="0" y="0"/>
                    </a:moveTo>
                    <a:lnTo>
                      <a:pt x="28" y="15"/>
                    </a:lnTo>
                    <a:lnTo>
                      <a:pt x="29" y="80"/>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50" name="Freeform 312"/>
              <p:cNvSpPr/>
              <p:nvPr/>
            </p:nvSpPr>
            <p:spPr bwMode="auto">
              <a:xfrm>
                <a:off x="1497" y="2258"/>
                <a:ext cx="11" cy="13"/>
              </a:xfrm>
              <a:custGeom>
                <a:avLst/>
                <a:gdLst>
                  <a:gd name="T0" fmla="*/ 0 w 39"/>
                  <a:gd name="T1" fmla="*/ 0 h 47"/>
                  <a:gd name="T2" fmla="*/ 0 w 39"/>
                  <a:gd name="T3" fmla="*/ 1 h 47"/>
                  <a:gd name="T4" fmla="*/ 1 w 39"/>
                  <a:gd name="T5" fmla="*/ 1 h 47"/>
                  <a:gd name="T6" fmla="*/ 1 w 39"/>
                  <a:gd name="T7" fmla="*/ 0 h 47"/>
                  <a:gd name="T8" fmla="*/ 1 w 39"/>
                  <a:gd name="T9" fmla="*/ 1 h 47"/>
                  <a:gd name="T10" fmla="*/ 1 w 39"/>
                  <a:gd name="T11" fmla="*/ 0 h 47"/>
                  <a:gd name="T12" fmla="*/ 0 w 39"/>
                  <a:gd name="T13" fmla="*/ 0 h 47"/>
                  <a:gd name="T14" fmla="*/ 0 60000 65536"/>
                  <a:gd name="T15" fmla="*/ 0 60000 65536"/>
                  <a:gd name="T16" fmla="*/ 0 60000 65536"/>
                  <a:gd name="T17" fmla="*/ 0 60000 65536"/>
                  <a:gd name="T18" fmla="*/ 0 60000 65536"/>
                  <a:gd name="T19" fmla="*/ 0 60000 65536"/>
                  <a:gd name="T20" fmla="*/ 0 60000 65536"/>
                  <a:gd name="T21" fmla="*/ 0 w 39"/>
                  <a:gd name="T22" fmla="*/ 0 h 47"/>
                  <a:gd name="T23" fmla="*/ 39 w 39"/>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7">
                    <a:moveTo>
                      <a:pt x="0" y="0"/>
                    </a:moveTo>
                    <a:lnTo>
                      <a:pt x="7" y="47"/>
                    </a:lnTo>
                    <a:lnTo>
                      <a:pt x="32" y="47"/>
                    </a:lnTo>
                    <a:lnTo>
                      <a:pt x="22" y="4"/>
                    </a:lnTo>
                    <a:lnTo>
                      <a:pt x="39" y="35"/>
                    </a:lnTo>
                    <a:lnTo>
                      <a:pt x="24" y="0"/>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51" name="Freeform 313"/>
              <p:cNvSpPr/>
              <p:nvPr/>
            </p:nvSpPr>
            <p:spPr bwMode="auto">
              <a:xfrm>
                <a:off x="1506" y="2277"/>
                <a:ext cx="10" cy="11"/>
              </a:xfrm>
              <a:custGeom>
                <a:avLst/>
                <a:gdLst>
                  <a:gd name="T0" fmla="*/ 0 w 34"/>
                  <a:gd name="T1" fmla="*/ 0 h 35"/>
                  <a:gd name="T2" fmla="*/ 1 w 34"/>
                  <a:gd name="T3" fmla="*/ 1 h 35"/>
                  <a:gd name="T4" fmla="*/ 1 w 34"/>
                  <a:gd name="T5" fmla="*/ 0 h 35"/>
                  <a:gd name="T6" fmla="*/ 0 w 34"/>
                  <a:gd name="T7" fmla="*/ 0 h 35"/>
                  <a:gd name="T8" fmla="*/ 0 60000 65536"/>
                  <a:gd name="T9" fmla="*/ 0 60000 65536"/>
                  <a:gd name="T10" fmla="*/ 0 60000 65536"/>
                  <a:gd name="T11" fmla="*/ 0 60000 65536"/>
                  <a:gd name="T12" fmla="*/ 0 w 34"/>
                  <a:gd name="T13" fmla="*/ 0 h 35"/>
                  <a:gd name="T14" fmla="*/ 34 w 34"/>
                  <a:gd name="T15" fmla="*/ 35 h 35"/>
                </a:gdLst>
                <a:ahLst/>
                <a:cxnLst>
                  <a:cxn ang="T8">
                    <a:pos x="T0" y="T1"/>
                  </a:cxn>
                  <a:cxn ang="T9">
                    <a:pos x="T2" y="T3"/>
                  </a:cxn>
                  <a:cxn ang="T10">
                    <a:pos x="T4" y="T5"/>
                  </a:cxn>
                  <a:cxn ang="T11">
                    <a:pos x="T6" y="T7"/>
                  </a:cxn>
                </a:cxnLst>
                <a:rect l="T12" t="T13" r="T14" b="T15"/>
                <a:pathLst>
                  <a:path w="34" h="35">
                    <a:moveTo>
                      <a:pt x="0" y="0"/>
                    </a:moveTo>
                    <a:lnTo>
                      <a:pt x="31" y="35"/>
                    </a:lnTo>
                    <a:lnTo>
                      <a:pt x="34" y="5"/>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52" name="Freeform 314"/>
              <p:cNvSpPr/>
              <p:nvPr/>
            </p:nvSpPr>
            <p:spPr bwMode="auto">
              <a:xfrm>
                <a:off x="1509" y="2291"/>
                <a:ext cx="15" cy="23"/>
              </a:xfrm>
              <a:custGeom>
                <a:avLst/>
                <a:gdLst>
                  <a:gd name="T0" fmla="*/ 0 w 53"/>
                  <a:gd name="T1" fmla="*/ 0 h 81"/>
                  <a:gd name="T2" fmla="*/ 1 w 53"/>
                  <a:gd name="T3" fmla="*/ 1 h 81"/>
                  <a:gd name="T4" fmla="*/ 1 w 53"/>
                  <a:gd name="T5" fmla="*/ 2 h 81"/>
                  <a:gd name="T6" fmla="*/ 0 w 53"/>
                  <a:gd name="T7" fmla="*/ 0 h 81"/>
                  <a:gd name="T8" fmla="*/ 0 60000 65536"/>
                  <a:gd name="T9" fmla="*/ 0 60000 65536"/>
                  <a:gd name="T10" fmla="*/ 0 60000 65536"/>
                  <a:gd name="T11" fmla="*/ 0 60000 65536"/>
                  <a:gd name="T12" fmla="*/ 0 w 53"/>
                  <a:gd name="T13" fmla="*/ 0 h 81"/>
                  <a:gd name="T14" fmla="*/ 53 w 53"/>
                  <a:gd name="T15" fmla="*/ 81 h 81"/>
                </a:gdLst>
                <a:ahLst/>
                <a:cxnLst>
                  <a:cxn ang="T8">
                    <a:pos x="T0" y="T1"/>
                  </a:cxn>
                  <a:cxn ang="T9">
                    <a:pos x="T2" y="T3"/>
                  </a:cxn>
                  <a:cxn ang="T10">
                    <a:pos x="T4" y="T5"/>
                  </a:cxn>
                  <a:cxn ang="T11">
                    <a:pos x="T6" y="T7"/>
                  </a:cxn>
                </a:cxnLst>
                <a:rect l="T12" t="T13" r="T14" b="T15"/>
                <a:pathLst>
                  <a:path w="53" h="81">
                    <a:moveTo>
                      <a:pt x="0" y="0"/>
                    </a:moveTo>
                    <a:lnTo>
                      <a:pt x="42" y="30"/>
                    </a:lnTo>
                    <a:lnTo>
                      <a:pt x="53" y="81"/>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53" name="Freeform 315"/>
              <p:cNvSpPr/>
              <p:nvPr/>
            </p:nvSpPr>
            <p:spPr bwMode="auto">
              <a:xfrm>
                <a:off x="1533" y="2297"/>
                <a:ext cx="7" cy="15"/>
              </a:xfrm>
              <a:custGeom>
                <a:avLst/>
                <a:gdLst>
                  <a:gd name="T0" fmla="*/ 0 w 26"/>
                  <a:gd name="T1" fmla="*/ 1 h 49"/>
                  <a:gd name="T2" fmla="*/ 0 w 26"/>
                  <a:gd name="T3" fmla="*/ 0 h 49"/>
                  <a:gd name="T4" fmla="*/ 1 w 26"/>
                  <a:gd name="T5" fmla="*/ 2 h 49"/>
                  <a:gd name="T6" fmla="*/ 0 w 26"/>
                  <a:gd name="T7" fmla="*/ 1 h 49"/>
                  <a:gd name="T8" fmla="*/ 0 60000 65536"/>
                  <a:gd name="T9" fmla="*/ 0 60000 65536"/>
                  <a:gd name="T10" fmla="*/ 0 60000 65536"/>
                  <a:gd name="T11" fmla="*/ 0 60000 65536"/>
                  <a:gd name="T12" fmla="*/ 0 w 26"/>
                  <a:gd name="T13" fmla="*/ 0 h 49"/>
                  <a:gd name="T14" fmla="*/ 26 w 26"/>
                  <a:gd name="T15" fmla="*/ 49 h 49"/>
                </a:gdLst>
                <a:ahLst/>
                <a:cxnLst>
                  <a:cxn ang="T8">
                    <a:pos x="T0" y="T1"/>
                  </a:cxn>
                  <a:cxn ang="T9">
                    <a:pos x="T2" y="T3"/>
                  </a:cxn>
                  <a:cxn ang="T10">
                    <a:pos x="T4" y="T5"/>
                  </a:cxn>
                  <a:cxn ang="T11">
                    <a:pos x="T6" y="T7"/>
                  </a:cxn>
                </a:cxnLst>
                <a:rect l="T12" t="T13" r="T14" b="T15"/>
                <a:pathLst>
                  <a:path w="26" h="49">
                    <a:moveTo>
                      <a:pt x="0" y="29"/>
                    </a:moveTo>
                    <a:lnTo>
                      <a:pt x="10" y="0"/>
                    </a:lnTo>
                    <a:lnTo>
                      <a:pt x="26" y="49"/>
                    </a:lnTo>
                    <a:lnTo>
                      <a:pt x="0" y="2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54" name="Freeform 316"/>
              <p:cNvSpPr/>
              <p:nvPr/>
            </p:nvSpPr>
            <p:spPr bwMode="auto">
              <a:xfrm>
                <a:off x="1608" y="2408"/>
                <a:ext cx="628" cy="352"/>
              </a:xfrm>
              <a:custGeom>
                <a:avLst/>
                <a:gdLst>
                  <a:gd name="T0" fmla="*/ 1 w 2200"/>
                  <a:gd name="T1" fmla="*/ 4 h 1238"/>
                  <a:gd name="T2" fmla="*/ 1 w 2200"/>
                  <a:gd name="T3" fmla="*/ 4 h 1238"/>
                  <a:gd name="T4" fmla="*/ 2 w 2200"/>
                  <a:gd name="T5" fmla="*/ 14 h 1238"/>
                  <a:gd name="T6" fmla="*/ 2 w 2200"/>
                  <a:gd name="T7" fmla="*/ 15 h 1238"/>
                  <a:gd name="T8" fmla="*/ 5 w 2200"/>
                  <a:gd name="T9" fmla="*/ 19 h 1238"/>
                  <a:gd name="T10" fmla="*/ 9 w 2200"/>
                  <a:gd name="T11" fmla="*/ 20 h 1238"/>
                  <a:gd name="T12" fmla="*/ 16 w 2200"/>
                  <a:gd name="T13" fmla="*/ 21 h 1238"/>
                  <a:gd name="T14" fmla="*/ 21 w 2200"/>
                  <a:gd name="T15" fmla="*/ 23 h 1238"/>
                  <a:gd name="T16" fmla="*/ 25 w 2200"/>
                  <a:gd name="T17" fmla="*/ 28 h 1238"/>
                  <a:gd name="T18" fmla="*/ 26 w 2200"/>
                  <a:gd name="T19" fmla="*/ 24 h 1238"/>
                  <a:gd name="T20" fmla="*/ 29 w 2200"/>
                  <a:gd name="T21" fmla="*/ 23 h 1238"/>
                  <a:gd name="T22" fmla="*/ 31 w 2200"/>
                  <a:gd name="T23" fmla="*/ 23 h 1238"/>
                  <a:gd name="T24" fmla="*/ 32 w 2200"/>
                  <a:gd name="T25" fmla="*/ 23 h 1238"/>
                  <a:gd name="T26" fmla="*/ 33 w 2200"/>
                  <a:gd name="T27" fmla="*/ 23 h 1238"/>
                  <a:gd name="T28" fmla="*/ 37 w 2200"/>
                  <a:gd name="T29" fmla="*/ 24 h 1238"/>
                  <a:gd name="T30" fmla="*/ 39 w 2200"/>
                  <a:gd name="T31" fmla="*/ 28 h 1238"/>
                  <a:gd name="T32" fmla="*/ 39 w 2200"/>
                  <a:gd name="T33" fmla="*/ 27 h 1238"/>
                  <a:gd name="T34" fmla="*/ 39 w 2200"/>
                  <a:gd name="T35" fmla="*/ 20 h 1238"/>
                  <a:gd name="T36" fmla="*/ 43 w 2200"/>
                  <a:gd name="T37" fmla="*/ 16 h 1238"/>
                  <a:gd name="T38" fmla="*/ 43 w 2200"/>
                  <a:gd name="T39" fmla="*/ 15 h 1238"/>
                  <a:gd name="T40" fmla="*/ 42 w 2200"/>
                  <a:gd name="T41" fmla="*/ 13 h 1238"/>
                  <a:gd name="T42" fmla="*/ 43 w 2200"/>
                  <a:gd name="T43" fmla="*/ 13 h 1238"/>
                  <a:gd name="T44" fmla="*/ 43 w 2200"/>
                  <a:gd name="T45" fmla="*/ 15 h 1238"/>
                  <a:gd name="T46" fmla="*/ 44 w 2200"/>
                  <a:gd name="T47" fmla="*/ 12 h 1238"/>
                  <a:gd name="T48" fmla="*/ 45 w 2200"/>
                  <a:gd name="T49" fmla="*/ 11 h 1238"/>
                  <a:gd name="T50" fmla="*/ 48 w 2200"/>
                  <a:gd name="T51" fmla="*/ 9 h 1238"/>
                  <a:gd name="T52" fmla="*/ 51 w 2200"/>
                  <a:gd name="T53" fmla="*/ 6 h 1238"/>
                  <a:gd name="T54" fmla="*/ 51 w 2200"/>
                  <a:gd name="T55" fmla="*/ 5 h 1238"/>
                  <a:gd name="T56" fmla="*/ 49 w 2200"/>
                  <a:gd name="T57" fmla="*/ 3 h 1238"/>
                  <a:gd name="T58" fmla="*/ 43 w 2200"/>
                  <a:gd name="T59" fmla="*/ 6 h 1238"/>
                  <a:gd name="T60" fmla="*/ 41 w 2200"/>
                  <a:gd name="T61" fmla="*/ 8 h 1238"/>
                  <a:gd name="T62" fmla="*/ 38 w 2200"/>
                  <a:gd name="T63" fmla="*/ 10 h 1238"/>
                  <a:gd name="T64" fmla="*/ 37 w 2200"/>
                  <a:gd name="T65" fmla="*/ 9 h 1238"/>
                  <a:gd name="T66" fmla="*/ 37 w 2200"/>
                  <a:gd name="T67" fmla="*/ 9 h 1238"/>
                  <a:gd name="T68" fmla="*/ 37 w 2200"/>
                  <a:gd name="T69" fmla="*/ 7 h 1238"/>
                  <a:gd name="T70" fmla="*/ 37 w 2200"/>
                  <a:gd name="T71" fmla="*/ 5 h 1238"/>
                  <a:gd name="T72" fmla="*/ 34 w 2200"/>
                  <a:gd name="T73" fmla="*/ 6 h 1238"/>
                  <a:gd name="T74" fmla="*/ 33 w 2200"/>
                  <a:gd name="T75" fmla="*/ 10 h 1238"/>
                  <a:gd name="T76" fmla="*/ 33 w 2200"/>
                  <a:gd name="T77" fmla="*/ 5 h 1238"/>
                  <a:gd name="T78" fmla="*/ 34 w 2200"/>
                  <a:gd name="T79" fmla="*/ 5 h 1238"/>
                  <a:gd name="T80" fmla="*/ 36 w 2200"/>
                  <a:gd name="T81" fmla="*/ 4 h 1238"/>
                  <a:gd name="T82" fmla="*/ 32 w 2200"/>
                  <a:gd name="T83" fmla="*/ 3 h 1238"/>
                  <a:gd name="T84" fmla="*/ 31 w 2200"/>
                  <a:gd name="T85" fmla="*/ 4 h 1238"/>
                  <a:gd name="T86" fmla="*/ 31 w 2200"/>
                  <a:gd name="T87" fmla="*/ 2 h 1238"/>
                  <a:gd name="T88" fmla="*/ 26 w 2200"/>
                  <a:gd name="T89" fmla="*/ 0 h 1238"/>
                  <a:gd name="T90" fmla="*/ 2 w 2200"/>
                  <a:gd name="T91" fmla="*/ 1 h 1238"/>
                  <a:gd name="T92" fmla="*/ 2 w 2200"/>
                  <a:gd name="T93" fmla="*/ 3 h 1238"/>
                  <a:gd name="T94" fmla="*/ 0 w 2200"/>
                  <a:gd name="T95" fmla="*/ 2 h 1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00"/>
                  <a:gd name="T145" fmla="*/ 0 h 1238"/>
                  <a:gd name="T146" fmla="*/ 2200 w 2200"/>
                  <a:gd name="T147" fmla="*/ 1238 h 123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00" h="1238">
                    <a:moveTo>
                      <a:pt x="0" y="69"/>
                    </a:moveTo>
                    <a:lnTo>
                      <a:pt x="26" y="169"/>
                    </a:lnTo>
                    <a:lnTo>
                      <a:pt x="56" y="180"/>
                    </a:lnTo>
                    <a:lnTo>
                      <a:pt x="32" y="187"/>
                    </a:lnTo>
                    <a:lnTo>
                      <a:pt x="12" y="491"/>
                    </a:lnTo>
                    <a:lnTo>
                      <a:pt x="70" y="612"/>
                    </a:lnTo>
                    <a:lnTo>
                      <a:pt x="104" y="612"/>
                    </a:lnTo>
                    <a:lnTo>
                      <a:pt x="89" y="656"/>
                    </a:lnTo>
                    <a:lnTo>
                      <a:pt x="160" y="786"/>
                    </a:lnTo>
                    <a:lnTo>
                      <a:pt x="231" y="816"/>
                    </a:lnTo>
                    <a:lnTo>
                      <a:pt x="291" y="890"/>
                    </a:lnTo>
                    <a:lnTo>
                      <a:pt x="378" y="881"/>
                    </a:lnTo>
                    <a:lnTo>
                      <a:pt x="524" y="951"/>
                    </a:lnTo>
                    <a:lnTo>
                      <a:pt x="698" y="924"/>
                    </a:lnTo>
                    <a:lnTo>
                      <a:pt x="800" y="1055"/>
                    </a:lnTo>
                    <a:lnTo>
                      <a:pt x="879" y="1020"/>
                    </a:lnTo>
                    <a:lnTo>
                      <a:pt x="978" y="1181"/>
                    </a:lnTo>
                    <a:lnTo>
                      <a:pt x="1053" y="1208"/>
                    </a:lnTo>
                    <a:lnTo>
                      <a:pt x="1046" y="1119"/>
                    </a:lnTo>
                    <a:lnTo>
                      <a:pt x="1126" y="1065"/>
                    </a:lnTo>
                    <a:lnTo>
                      <a:pt x="1133" y="1022"/>
                    </a:lnTo>
                    <a:lnTo>
                      <a:pt x="1244" y="1020"/>
                    </a:lnTo>
                    <a:lnTo>
                      <a:pt x="1346" y="1055"/>
                    </a:lnTo>
                    <a:lnTo>
                      <a:pt x="1347" y="1001"/>
                    </a:lnTo>
                    <a:lnTo>
                      <a:pt x="1307" y="995"/>
                    </a:lnTo>
                    <a:lnTo>
                      <a:pt x="1389" y="993"/>
                    </a:lnTo>
                    <a:lnTo>
                      <a:pt x="1394" y="969"/>
                    </a:lnTo>
                    <a:lnTo>
                      <a:pt x="1401" y="997"/>
                    </a:lnTo>
                    <a:lnTo>
                      <a:pt x="1557" y="1008"/>
                    </a:lnTo>
                    <a:lnTo>
                      <a:pt x="1597" y="1053"/>
                    </a:lnTo>
                    <a:lnTo>
                      <a:pt x="1603" y="1134"/>
                    </a:lnTo>
                    <a:lnTo>
                      <a:pt x="1654" y="1238"/>
                    </a:lnTo>
                    <a:lnTo>
                      <a:pt x="1684" y="1235"/>
                    </a:lnTo>
                    <a:lnTo>
                      <a:pt x="1699" y="1156"/>
                    </a:lnTo>
                    <a:lnTo>
                      <a:pt x="1644" y="969"/>
                    </a:lnTo>
                    <a:lnTo>
                      <a:pt x="1676" y="889"/>
                    </a:lnTo>
                    <a:lnTo>
                      <a:pt x="1870" y="736"/>
                    </a:lnTo>
                    <a:lnTo>
                      <a:pt x="1833" y="720"/>
                    </a:lnTo>
                    <a:lnTo>
                      <a:pt x="1867" y="713"/>
                    </a:lnTo>
                    <a:lnTo>
                      <a:pt x="1840" y="662"/>
                    </a:lnTo>
                    <a:lnTo>
                      <a:pt x="1846" y="617"/>
                    </a:lnTo>
                    <a:lnTo>
                      <a:pt x="1805" y="585"/>
                    </a:lnTo>
                    <a:lnTo>
                      <a:pt x="1846" y="608"/>
                    </a:lnTo>
                    <a:lnTo>
                      <a:pt x="1835" y="554"/>
                    </a:lnTo>
                    <a:lnTo>
                      <a:pt x="1862" y="536"/>
                    </a:lnTo>
                    <a:lnTo>
                      <a:pt x="1867" y="656"/>
                    </a:lnTo>
                    <a:lnTo>
                      <a:pt x="1895" y="586"/>
                    </a:lnTo>
                    <a:lnTo>
                      <a:pt x="1878" y="529"/>
                    </a:lnTo>
                    <a:lnTo>
                      <a:pt x="1896" y="562"/>
                    </a:lnTo>
                    <a:lnTo>
                      <a:pt x="1937" y="464"/>
                    </a:lnTo>
                    <a:lnTo>
                      <a:pt x="2092" y="420"/>
                    </a:lnTo>
                    <a:lnTo>
                      <a:pt x="2051" y="394"/>
                    </a:lnTo>
                    <a:lnTo>
                      <a:pt x="2081" y="320"/>
                    </a:lnTo>
                    <a:lnTo>
                      <a:pt x="2195" y="264"/>
                    </a:lnTo>
                    <a:lnTo>
                      <a:pt x="2200" y="233"/>
                    </a:lnTo>
                    <a:lnTo>
                      <a:pt x="2171" y="209"/>
                    </a:lnTo>
                    <a:lnTo>
                      <a:pt x="2171" y="136"/>
                    </a:lnTo>
                    <a:lnTo>
                      <a:pt x="2109" y="114"/>
                    </a:lnTo>
                    <a:lnTo>
                      <a:pt x="2061" y="230"/>
                    </a:lnTo>
                    <a:lnTo>
                      <a:pt x="1867" y="274"/>
                    </a:lnTo>
                    <a:lnTo>
                      <a:pt x="1851" y="324"/>
                    </a:lnTo>
                    <a:lnTo>
                      <a:pt x="1740" y="345"/>
                    </a:lnTo>
                    <a:lnTo>
                      <a:pt x="1747" y="363"/>
                    </a:lnTo>
                    <a:lnTo>
                      <a:pt x="1637" y="431"/>
                    </a:lnTo>
                    <a:lnTo>
                      <a:pt x="1586" y="429"/>
                    </a:lnTo>
                    <a:lnTo>
                      <a:pt x="1584" y="410"/>
                    </a:lnTo>
                    <a:lnTo>
                      <a:pt x="1592" y="387"/>
                    </a:lnTo>
                    <a:lnTo>
                      <a:pt x="1604" y="372"/>
                    </a:lnTo>
                    <a:lnTo>
                      <a:pt x="1611" y="351"/>
                    </a:lnTo>
                    <a:lnTo>
                      <a:pt x="1592" y="297"/>
                    </a:lnTo>
                    <a:lnTo>
                      <a:pt x="1554" y="318"/>
                    </a:lnTo>
                    <a:lnTo>
                      <a:pt x="1569" y="230"/>
                    </a:lnTo>
                    <a:lnTo>
                      <a:pt x="1509" y="209"/>
                    </a:lnTo>
                    <a:lnTo>
                      <a:pt x="1465" y="264"/>
                    </a:lnTo>
                    <a:lnTo>
                      <a:pt x="1448" y="413"/>
                    </a:lnTo>
                    <a:lnTo>
                      <a:pt x="1413" y="417"/>
                    </a:lnTo>
                    <a:lnTo>
                      <a:pt x="1402" y="347"/>
                    </a:lnTo>
                    <a:lnTo>
                      <a:pt x="1434" y="234"/>
                    </a:lnTo>
                    <a:lnTo>
                      <a:pt x="1403" y="252"/>
                    </a:lnTo>
                    <a:lnTo>
                      <a:pt x="1451" y="196"/>
                    </a:lnTo>
                    <a:lnTo>
                      <a:pt x="1552" y="194"/>
                    </a:lnTo>
                    <a:lnTo>
                      <a:pt x="1536" y="164"/>
                    </a:lnTo>
                    <a:lnTo>
                      <a:pt x="1529" y="164"/>
                    </a:lnTo>
                    <a:lnTo>
                      <a:pt x="1381" y="146"/>
                    </a:lnTo>
                    <a:lnTo>
                      <a:pt x="1403" y="110"/>
                    </a:lnTo>
                    <a:lnTo>
                      <a:pt x="1315" y="159"/>
                    </a:lnTo>
                    <a:lnTo>
                      <a:pt x="1243" y="159"/>
                    </a:lnTo>
                    <a:lnTo>
                      <a:pt x="1330" y="82"/>
                    </a:lnTo>
                    <a:lnTo>
                      <a:pt x="1147" y="40"/>
                    </a:lnTo>
                    <a:lnTo>
                      <a:pt x="1127" y="0"/>
                    </a:lnTo>
                    <a:lnTo>
                      <a:pt x="1126" y="26"/>
                    </a:lnTo>
                    <a:lnTo>
                      <a:pt x="72" y="26"/>
                    </a:lnTo>
                    <a:lnTo>
                      <a:pt x="90" y="73"/>
                    </a:lnTo>
                    <a:lnTo>
                      <a:pt x="70" y="114"/>
                    </a:lnTo>
                    <a:lnTo>
                      <a:pt x="74" y="72"/>
                    </a:lnTo>
                    <a:lnTo>
                      <a:pt x="0" y="6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55" name="Freeform 317"/>
              <p:cNvSpPr/>
              <p:nvPr/>
            </p:nvSpPr>
            <p:spPr bwMode="auto">
              <a:xfrm>
                <a:off x="2329" y="3472"/>
                <a:ext cx="56" cy="68"/>
              </a:xfrm>
              <a:custGeom>
                <a:avLst/>
                <a:gdLst>
                  <a:gd name="T0" fmla="*/ 0 w 199"/>
                  <a:gd name="T1" fmla="*/ 5 h 238"/>
                  <a:gd name="T2" fmla="*/ 1 w 199"/>
                  <a:gd name="T3" fmla="*/ 0 h 238"/>
                  <a:gd name="T4" fmla="*/ 1 w 199"/>
                  <a:gd name="T5" fmla="*/ 0 h 238"/>
                  <a:gd name="T6" fmla="*/ 4 w 199"/>
                  <a:gd name="T7" fmla="*/ 2 h 238"/>
                  <a:gd name="T8" fmla="*/ 5 w 199"/>
                  <a:gd name="T9" fmla="*/ 3 h 238"/>
                  <a:gd name="T10" fmla="*/ 4 w 199"/>
                  <a:gd name="T11" fmla="*/ 4 h 238"/>
                  <a:gd name="T12" fmla="*/ 3 w 199"/>
                  <a:gd name="T13" fmla="*/ 5 h 238"/>
                  <a:gd name="T14" fmla="*/ 0 w 199"/>
                  <a:gd name="T15" fmla="*/ 5 h 238"/>
                  <a:gd name="T16" fmla="*/ 0 60000 65536"/>
                  <a:gd name="T17" fmla="*/ 0 60000 65536"/>
                  <a:gd name="T18" fmla="*/ 0 60000 65536"/>
                  <a:gd name="T19" fmla="*/ 0 60000 65536"/>
                  <a:gd name="T20" fmla="*/ 0 60000 65536"/>
                  <a:gd name="T21" fmla="*/ 0 60000 65536"/>
                  <a:gd name="T22" fmla="*/ 0 60000 65536"/>
                  <a:gd name="T23" fmla="*/ 0 60000 65536"/>
                  <a:gd name="T24" fmla="*/ 0 w 199"/>
                  <a:gd name="T25" fmla="*/ 0 h 238"/>
                  <a:gd name="T26" fmla="*/ 199 w 199"/>
                  <a:gd name="T27" fmla="*/ 238 h 2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9" h="238">
                    <a:moveTo>
                      <a:pt x="0" y="192"/>
                    </a:moveTo>
                    <a:lnTo>
                      <a:pt x="31" y="8"/>
                    </a:lnTo>
                    <a:lnTo>
                      <a:pt x="62" y="0"/>
                    </a:lnTo>
                    <a:lnTo>
                      <a:pt x="174" y="94"/>
                    </a:lnTo>
                    <a:lnTo>
                      <a:pt x="199" y="131"/>
                    </a:lnTo>
                    <a:lnTo>
                      <a:pt x="189" y="178"/>
                    </a:lnTo>
                    <a:lnTo>
                      <a:pt x="136" y="238"/>
                    </a:lnTo>
                    <a:lnTo>
                      <a:pt x="0" y="19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56" name="Freeform 318"/>
              <p:cNvSpPr/>
              <p:nvPr/>
            </p:nvSpPr>
            <p:spPr bwMode="auto">
              <a:xfrm>
                <a:off x="2168" y="2929"/>
                <a:ext cx="146" cy="144"/>
              </a:xfrm>
              <a:custGeom>
                <a:avLst/>
                <a:gdLst>
                  <a:gd name="T0" fmla="*/ 0 w 510"/>
                  <a:gd name="T1" fmla="*/ 3 h 507"/>
                  <a:gd name="T2" fmla="*/ 1 w 510"/>
                  <a:gd name="T3" fmla="*/ 5 h 507"/>
                  <a:gd name="T4" fmla="*/ 3 w 510"/>
                  <a:gd name="T5" fmla="*/ 5 h 507"/>
                  <a:gd name="T6" fmla="*/ 3 w 510"/>
                  <a:gd name="T7" fmla="*/ 6 h 507"/>
                  <a:gd name="T8" fmla="*/ 5 w 510"/>
                  <a:gd name="T9" fmla="*/ 6 h 507"/>
                  <a:gd name="T10" fmla="*/ 5 w 510"/>
                  <a:gd name="T11" fmla="*/ 10 h 507"/>
                  <a:gd name="T12" fmla="*/ 6 w 510"/>
                  <a:gd name="T13" fmla="*/ 11 h 507"/>
                  <a:gd name="T14" fmla="*/ 7 w 510"/>
                  <a:gd name="T15" fmla="*/ 12 h 507"/>
                  <a:gd name="T16" fmla="*/ 9 w 510"/>
                  <a:gd name="T17" fmla="*/ 10 h 507"/>
                  <a:gd name="T18" fmla="*/ 8 w 510"/>
                  <a:gd name="T19" fmla="*/ 10 h 507"/>
                  <a:gd name="T20" fmla="*/ 8 w 510"/>
                  <a:gd name="T21" fmla="*/ 8 h 507"/>
                  <a:gd name="T22" fmla="*/ 9 w 510"/>
                  <a:gd name="T23" fmla="*/ 9 h 507"/>
                  <a:gd name="T24" fmla="*/ 11 w 510"/>
                  <a:gd name="T25" fmla="*/ 7 h 507"/>
                  <a:gd name="T26" fmla="*/ 11 w 510"/>
                  <a:gd name="T27" fmla="*/ 6 h 507"/>
                  <a:gd name="T28" fmla="*/ 11 w 510"/>
                  <a:gd name="T29" fmla="*/ 5 h 507"/>
                  <a:gd name="T30" fmla="*/ 11 w 510"/>
                  <a:gd name="T31" fmla="*/ 5 h 507"/>
                  <a:gd name="T32" fmla="*/ 12 w 510"/>
                  <a:gd name="T33" fmla="*/ 4 h 507"/>
                  <a:gd name="T34" fmla="*/ 11 w 510"/>
                  <a:gd name="T35" fmla="*/ 4 h 507"/>
                  <a:gd name="T36" fmla="*/ 11 w 510"/>
                  <a:gd name="T37" fmla="*/ 3 h 507"/>
                  <a:gd name="T38" fmla="*/ 9 w 510"/>
                  <a:gd name="T39" fmla="*/ 2 h 507"/>
                  <a:gd name="T40" fmla="*/ 10 w 510"/>
                  <a:gd name="T41" fmla="*/ 2 h 507"/>
                  <a:gd name="T42" fmla="*/ 5 w 510"/>
                  <a:gd name="T43" fmla="*/ 2 h 507"/>
                  <a:gd name="T44" fmla="*/ 3 w 510"/>
                  <a:gd name="T45" fmla="*/ 0 h 507"/>
                  <a:gd name="T46" fmla="*/ 3 w 510"/>
                  <a:gd name="T47" fmla="*/ 1 h 507"/>
                  <a:gd name="T48" fmla="*/ 1 w 510"/>
                  <a:gd name="T49" fmla="*/ 1 h 507"/>
                  <a:gd name="T50" fmla="*/ 2 w 510"/>
                  <a:gd name="T51" fmla="*/ 3 h 507"/>
                  <a:gd name="T52" fmla="*/ 1 w 510"/>
                  <a:gd name="T53" fmla="*/ 3 h 507"/>
                  <a:gd name="T54" fmla="*/ 1 w 510"/>
                  <a:gd name="T55" fmla="*/ 2 h 507"/>
                  <a:gd name="T56" fmla="*/ 2 w 510"/>
                  <a:gd name="T57" fmla="*/ 1 h 507"/>
                  <a:gd name="T58" fmla="*/ 0 w 510"/>
                  <a:gd name="T59" fmla="*/ 3 h 50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10"/>
                  <a:gd name="T91" fmla="*/ 0 h 507"/>
                  <a:gd name="T92" fmla="*/ 510 w 510"/>
                  <a:gd name="T93" fmla="*/ 507 h 50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10" h="507">
                    <a:moveTo>
                      <a:pt x="0" y="138"/>
                    </a:moveTo>
                    <a:lnTo>
                      <a:pt x="48" y="226"/>
                    </a:lnTo>
                    <a:lnTo>
                      <a:pt x="122" y="237"/>
                    </a:lnTo>
                    <a:lnTo>
                      <a:pt x="146" y="275"/>
                    </a:lnTo>
                    <a:lnTo>
                      <a:pt x="220" y="269"/>
                    </a:lnTo>
                    <a:lnTo>
                      <a:pt x="208" y="422"/>
                    </a:lnTo>
                    <a:lnTo>
                      <a:pt x="243" y="486"/>
                    </a:lnTo>
                    <a:lnTo>
                      <a:pt x="284" y="507"/>
                    </a:lnTo>
                    <a:lnTo>
                      <a:pt x="379" y="448"/>
                    </a:lnTo>
                    <a:lnTo>
                      <a:pt x="341" y="437"/>
                    </a:lnTo>
                    <a:lnTo>
                      <a:pt x="325" y="352"/>
                    </a:lnTo>
                    <a:lnTo>
                      <a:pt x="387" y="368"/>
                    </a:lnTo>
                    <a:lnTo>
                      <a:pt x="487" y="315"/>
                    </a:lnTo>
                    <a:lnTo>
                      <a:pt x="457" y="275"/>
                    </a:lnTo>
                    <a:lnTo>
                      <a:pt x="491" y="236"/>
                    </a:lnTo>
                    <a:lnTo>
                      <a:pt x="477" y="207"/>
                    </a:lnTo>
                    <a:lnTo>
                      <a:pt x="510" y="175"/>
                    </a:lnTo>
                    <a:lnTo>
                      <a:pt x="467" y="168"/>
                    </a:lnTo>
                    <a:lnTo>
                      <a:pt x="467" y="127"/>
                    </a:lnTo>
                    <a:lnTo>
                      <a:pt x="391" y="84"/>
                    </a:lnTo>
                    <a:lnTo>
                      <a:pt x="426" y="72"/>
                    </a:lnTo>
                    <a:lnTo>
                      <a:pt x="200" y="81"/>
                    </a:lnTo>
                    <a:lnTo>
                      <a:pt x="127" y="0"/>
                    </a:lnTo>
                    <a:lnTo>
                      <a:pt x="133" y="37"/>
                    </a:lnTo>
                    <a:lnTo>
                      <a:pt x="66" y="68"/>
                    </a:lnTo>
                    <a:lnTo>
                      <a:pt x="86" y="127"/>
                    </a:lnTo>
                    <a:lnTo>
                      <a:pt x="63" y="150"/>
                    </a:lnTo>
                    <a:lnTo>
                      <a:pt x="48" y="96"/>
                    </a:lnTo>
                    <a:lnTo>
                      <a:pt x="73" y="22"/>
                    </a:lnTo>
                    <a:lnTo>
                      <a:pt x="0" y="13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grpSp>
        <p:grpSp>
          <p:nvGrpSpPr>
            <p:cNvPr id="7" name="Group 319"/>
            <p:cNvGrpSpPr/>
            <p:nvPr/>
          </p:nvGrpSpPr>
          <p:grpSpPr bwMode="auto">
            <a:xfrm>
              <a:off x="1556" y="1727"/>
              <a:ext cx="2270" cy="1988"/>
              <a:chOff x="1556" y="1727"/>
              <a:chExt cx="2270" cy="1988"/>
            </a:xfrm>
            <a:grpFill/>
          </p:grpSpPr>
          <p:sp>
            <p:nvSpPr>
              <p:cNvPr id="8" name="Freeform 320"/>
              <p:cNvSpPr/>
              <p:nvPr/>
            </p:nvSpPr>
            <p:spPr bwMode="auto">
              <a:xfrm>
                <a:off x="2406" y="2576"/>
                <a:ext cx="154" cy="128"/>
              </a:xfrm>
              <a:custGeom>
                <a:avLst/>
                <a:gdLst>
                  <a:gd name="T0" fmla="*/ 0 w 542"/>
                  <a:gd name="T1" fmla="*/ 5 h 449"/>
                  <a:gd name="T2" fmla="*/ 0 w 542"/>
                  <a:gd name="T3" fmla="*/ 8 h 449"/>
                  <a:gd name="T4" fmla="*/ 1 w 542"/>
                  <a:gd name="T5" fmla="*/ 9 h 449"/>
                  <a:gd name="T6" fmla="*/ 0 w 542"/>
                  <a:gd name="T7" fmla="*/ 10 h 449"/>
                  <a:gd name="T8" fmla="*/ 2 w 542"/>
                  <a:gd name="T9" fmla="*/ 10 h 449"/>
                  <a:gd name="T10" fmla="*/ 5 w 542"/>
                  <a:gd name="T11" fmla="*/ 10 h 449"/>
                  <a:gd name="T12" fmla="*/ 5 w 542"/>
                  <a:gd name="T13" fmla="*/ 8 h 449"/>
                  <a:gd name="T14" fmla="*/ 8 w 542"/>
                  <a:gd name="T15" fmla="*/ 8 h 449"/>
                  <a:gd name="T16" fmla="*/ 8 w 542"/>
                  <a:gd name="T17" fmla="*/ 6 h 449"/>
                  <a:gd name="T18" fmla="*/ 9 w 542"/>
                  <a:gd name="T19" fmla="*/ 6 h 449"/>
                  <a:gd name="T20" fmla="*/ 8 w 542"/>
                  <a:gd name="T21" fmla="*/ 5 h 449"/>
                  <a:gd name="T22" fmla="*/ 9 w 542"/>
                  <a:gd name="T23" fmla="*/ 5 h 449"/>
                  <a:gd name="T24" fmla="*/ 10 w 542"/>
                  <a:gd name="T25" fmla="*/ 4 h 449"/>
                  <a:gd name="T26" fmla="*/ 9 w 542"/>
                  <a:gd name="T27" fmla="*/ 3 h 449"/>
                  <a:gd name="T28" fmla="*/ 12 w 542"/>
                  <a:gd name="T29" fmla="*/ 2 h 449"/>
                  <a:gd name="T30" fmla="*/ 13 w 542"/>
                  <a:gd name="T31" fmla="*/ 1 h 449"/>
                  <a:gd name="T32" fmla="*/ 11 w 542"/>
                  <a:gd name="T33" fmla="*/ 1 h 449"/>
                  <a:gd name="T34" fmla="*/ 10 w 542"/>
                  <a:gd name="T35" fmla="*/ 2 h 449"/>
                  <a:gd name="T36" fmla="*/ 9 w 542"/>
                  <a:gd name="T37" fmla="*/ 0 h 449"/>
                  <a:gd name="T38" fmla="*/ 8 w 542"/>
                  <a:gd name="T39" fmla="*/ 1 h 449"/>
                  <a:gd name="T40" fmla="*/ 4 w 542"/>
                  <a:gd name="T41" fmla="*/ 1 h 449"/>
                  <a:gd name="T42" fmla="*/ 2 w 542"/>
                  <a:gd name="T43" fmla="*/ 4 h 449"/>
                  <a:gd name="T44" fmla="*/ 1 w 542"/>
                  <a:gd name="T45" fmla="*/ 3 h 449"/>
                  <a:gd name="T46" fmla="*/ 0 w 542"/>
                  <a:gd name="T47" fmla="*/ 5 h 4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2"/>
                  <a:gd name="T73" fmla="*/ 0 h 449"/>
                  <a:gd name="T74" fmla="*/ 542 w 542"/>
                  <a:gd name="T75" fmla="*/ 449 h 4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2" h="449">
                    <a:moveTo>
                      <a:pt x="0" y="214"/>
                    </a:moveTo>
                    <a:lnTo>
                      <a:pt x="6" y="333"/>
                    </a:lnTo>
                    <a:lnTo>
                      <a:pt x="42" y="368"/>
                    </a:lnTo>
                    <a:lnTo>
                      <a:pt x="14" y="426"/>
                    </a:lnTo>
                    <a:lnTo>
                      <a:pt x="73" y="449"/>
                    </a:lnTo>
                    <a:lnTo>
                      <a:pt x="212" y="426"/>
                    </a:lnTo>
                    <a:lnTo>
                      <a:pt x="239" y="361"/>
                    </a:lnTo>
                    <a:lnTo>
                      <a:pt x="333" y="325"/>
                    </a:lnTo>
                    <a:lnTo>
                      <a:pt x="340" y="269"/>
                    </a:lnTo>
                    <a:lnTo>
                      <a:pt x="375" y="254"/>
                    </a:lnTo>
                    <a:lnTo>
                      <a:pt x="361" y="226"/>
                    </a:lnTo>
                    <a:lnTo>
                      <a:pt x="393" y="222"/>
                    </a:lnTo>
                    <a:lnTo>
                      <a:pt x="418" y="168"/>
                    </a:lnTo>
                    <a:lnTo>
                      <a:pt x="408" y="112"/>
                    </a:lnTo>
                    <a:lnTo>
                      <a:pt x="538" y="72"/>
                    </a:lnTo>
                    <a:lnTo>
                      <a:pt x="542" y="61"/>
                    </a:lnTo>
                    <a:lnTo>
                      <a:pt x="492" y="50"/>
                    </a:lnTo>
                    <a:lnTo>
                      <a:pt x="423" y="88"/>
                    </a:lnTo>
                    <a:lnTo>
                      <a:pt x="392" y="0"/>
                    </a:lnTo>
                    <a:lnTo>
                      <a:pt x="335" y="66"/>
                    </a:lnTo>
                    <a:lnTo>
                      <a:pt x="169" y="61"/>
                    </a:lnTo>
                    <a:lnTo>
                      <a:pt x="82" y="165"/>
                    </a:lnTo>
                    <a:lnTo>
                      <a:pt x="25" y="131"/>
                    </a:lnTo>
                    <a:lnTo>
                      <a:pt x="0" y="21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 name="Freeform 321"/>
              <p:cNvSpPr/>
              <p:nvPr/>
            </p:nvSpPr>
            <p:spPr bwMode="auto">
              <a:xfrm>
                <a:off x="1956" y="2515"/>
                <a:ext cx="20" cy="43"/>
              </a:xfrm>
              <a:custGeom>
                <a:avLst/>
                <a:gdLst>
                  <a:gd name="T0" fmla="*/ 0 w 71"/>
                  <a:gd name="T1" fmla="*/ 3 h 151"/>
                  <a:gd name="T2" fmla="*/ 0 w 71"/>
                  <a:gd name="T3" fmla="*/ 1 h 151"/>
                  <a:gd name="T4" fmla="*/ 1 w 71"/>
                  <a:gd name="T5" fmla="*/ 0 h 151"/>
                  <a:gd name="T6" fmla="*/ 2 w 71"/>
                  <a:gd name="T7" fmla="*/ 2 h 151"/>
                  <a:gd name="T8" fmla="*/ 1 w 71"/>
                  <a:gd name="T9" fmla="*/ 3 h 151"/>
                  <a:gd name="T10" fmla="*/ 0 w 71"/>
                  <a:gd name="T11" fmla="*/ 3 h 151"/>
                  <a:gd name="T12" fmla="*/ 0 60000 65536"/>
                  <a:gd name="T13" fmla="*/ 0 60000 65536"/>
                  <a:gd name="T14" fmla="*/ 0 60000 65536"/>
                  <a:gd name="T15" fmla="*/ 0 60000 65536"/>
                  <a:gd name="T16" fmla="*/ 0 60000 65536"/>
                  <a:gd name="T17" fmla="*/ 0 60000 65536"/>
                  <a:gd name="T18" fmla="*/ 0 w 71"/>
                  <a:gd name="T19" fmla="*/ 0 h 151"/>
                  <a:gd name="T20" fmla="*/ 71 w 71"/>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71" h="151">
                    <a:moveTo>
                      <a:pt x="0" y="114"/>
                    </a:moveTo>
                    <a:lnTo>
                      <a:pt x="1" y="37"/>
                    </a:lnTo>
                    <a:lnTo>
                      <a:pt x="33" y="0"/>
                    </a:lnTo>
                    <a:lnTo>
                      <a:pt x="71" y="88"/>
                    </a:lnTo>
                    <a:lnTo>
                      <a:pt x="35" y="151"/>
                    </a:lnTo>
                    <a:lnTo>
                      <a:pt x="0" y="11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 name="Freeform 322"/>
              <p:cNvSpPr/>
              <p:nvPr/>
            </p:nvSpPr>
            <p:spPr bwMode="auto">
              <a:xfrm>
                <a:off x="1652" y="2598"/>
                <a:ext cx="222" cy="244"/>
              </a:xfrm>
              <a:custGeom>
                <a:avLst/>
                <a:gdLst>
                  <a:gd name="T0" fmla="*/ 0 w 776"/>
                  <a:gd name="T1" fmla="*/ 11 h 857"/>
                  <a:gd name="T2" fmla="*/ 0 w 776"/>
                  <a:gd name="T3" fmla="*/ 11 h 857"/>
                  <a:gd name="T4" fmla="*/ 3 w 776"/>
                  <a:gd name="T5" fmla="*/ 13 h 857"/>
                  <a:gd name="T6" fmla="*/ 11 w 776"/>
                  <a:gd name="T7" fmla="*/ 19 h 857"/>
                  <a:gd name="T8" fmla="*/ 11 w 776"/>
                  <a:gd name="T9" fmla="*/ 20 h 857"/>
                  <a:gd name="T10" fmla="*/ 11 w 776"/>
                  <a:gd name="T11" fmla="*/ 20 h 857"/>
                  <a:gd name="T12" fmla="*/ 13 w 776"/>
                  <a:gd name="T13" fmla="*/ 19 h 857"/>
                  <a:gd name="T14" fmla="*/ 18 w 776"/>
                  <a:gd name="T15" fmla="*/ 15 h 857"/>
                  <a:gd name="T16" fmla="*/ 16 w 776"/>
                  <a:gd name="T17" fmla="*/ 12 h 857"/>
                  <a:gd name="T18" fmla="*/ 16 w 776"/>
                  <a:gd name="T19" fmla="*/ 8 h 857"/>
                  <a:gd name="T20" fmla="*/ 16 w 776"/>
                  <a:gd name="T21" fmla="*/ 6 h 857"/>
                  <a:gd name="T22" fmla="*/ 14 w 776"/>
                  <a:gd name="T23" fmla="*/ 3 h 857"/>
                  <a:gd name="T24" fmla="*/ 15 w 776"/>
                  <a:gd name="T25" fmla="*/ 3 h 857"/>
                  <a:gd name="T26" fmla="*/ 15 w 776"/>
                  <a:gd name="T27" fmla="*/ 0 h 857"/>
                  <a:gd name="T28" fmla="*/ 9 w 776"/>
                  <a:gd name="T29" fmla="*/ 1 h 857"/>
                  <a:gd name="T30" fmla="*/ 6 w 776"/>
                  <a:gd name="T31" fmla="*/ 2 h 857"/>
                  <a:gd name="T32" fmla="*/ 7 w 776"/>
                  <a:gd name="T33" fmla="*/ 5 h 857"/>
                  <a:gd name="T34" fmla="*/ 5 w 776"/>
                  <a:gd name="T35" fmla="*/ 6 h 857"/>
                  <a:gd name="T36" fmla="*/ 4 w 776"/>
                  <a:gd name="T37" fmla="*/ 6 h 857"/>
                  <a:gd name="T38" fmla="*/ 5 w 776"/>
                  <a:gd name="T39" fmla="*/ 7 h 857"/>
                  <a:gd name="T40" fmla="*/ 1 w 776"/>
                  <a:gd name="T41" fmla="*/ 9 h 857"/>
                  <a:gd name="T42" fmla="*/ 0 w 776"/>
                  <a:gd name="T43" fmla="*/ 11 h 85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76"/>
                  <a:gd name="T67" fmla="*/ 0 h 857"/>
                  <a:gd name="T68" fmla="*/ 776 w 776"/>
                  <a:gd name="T69" fmla="*/ 857 h 85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76" h="857">
                    <a:moveTo>
                      <a:pt x="0" y="458"/>
                    </a:moveTo>
                    <a:lnTo>
                      <a:pt x="5" y="475"/>
                    </a:lnTo>
                    <a:lnTo>
                      <a:pt x="150" y="582"/>
                    </a:lnTo>
                    <a:lnTo>
                      <a:pt x="454" y="818"/>
                    </a:lnTo>
                    <a:lnTo>
                      <a:pt x="456" y="857"/>
                    </a:lnTo>
                    <a:lnTo>
                      <a:pt x="488" y="853"/>
                    </a:lnTo>
                    <a:lnTo>
                      <a:pt x="547" y="836"/>
                    </a:lnTo>
                    <a:lnTo>
                      <a:pt x="776" y="651"/>
                    </a:lnTo>
                    <a:lnTo>
                      <a:pt x="687" y="527"/>
                    </a:lnTo>
                    <a:lnTo>
                      <a:pt x="688" y="330"/>
                    </a:lnTo>
                    <a:lnTo>
                      <a:pt x="679" y="241"/>
                    </a:lnTo>
                    <a:lnTo>
                      <a:pt x="612" y="151"/>
                    </a:lnTo>
                    <a:lnTo>
                      <a:pt x="647" y="120"/>
                    </a:lnTo>
                    <a:lnTo>
                      <a:pt x="659" y="0"/>
                    </a:lnTo>
                    <a:lnTo>
                      <a:pt x="391" y="20"/>
                    </a:lnTo>
                    <a:lnTo>
                      <a:pt x="246" y="92"/>
                    </a:lnTo>
                    <a:lnTo>
                      <a:pt x="284" y="238"/>
                    </a:lnTo>
                    <a:lnTo>
                      <a:pt x="224" y="241"/>
                    </a:lnTo>
                    <a:lnTo>
                      <a:pt x="189" y="258"/>
                    </a:lnTo>
                    <a:lnTo>
                      <a:pt x="196" y="296"/>
                    </a:lnTo>
                    <a:lnTo>
                      <a:pt x="21" y="383"/>
                    </a:lnTo>
                    <a:lnTo>
                      <a:pt x="0" y="45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 name="Freeform 323"/>
              <p:cNvSpPr/>
              <p:nvPr/>
            </p:nvSpPr>
            <p:spPr bwMode="auto">
              <a:xfrm>
                <a:off x="2978" y="3219"/>
                <a:ext cx="439" cy="383"/>
              </a:xfrm>
              <a:custGeom>
                <a:avLst/>
                <a:gdLst>
                  <a:gd name="T0" fmla="*/ 1 w 1543"/>
                  <a:gd name="T1" fmla="*/ 17 h 1343"/>
                  <a:gd name="T2" fmla="*/ 1 w 1543"/>
                  <a:gd name="T3" fmla="*/ 16 h 1343"/>
                  <a:gd name="T4" fmla="*/ 1 w 1543"/>
                  <a:gd name="T5" fmla="*/ 12 h 1343"/>
                  <a:gd name="T6" fmla="*/ 3 w 1543"/>
                  <a:gd name="T7" fmla="*/ 10 h 1343"/>
                  <a:gd name="T8" fmla="*/ 8 w 1543"/>
                  <a:gd name="T9" fmla="*/ 8 h 1343"/>
                  <a:gd name="T10" fmla="*/ 9 w 1543"/>
                  <a:gd name="T11" fmla="*/ 6 h 1343"/>
                  <a:gd name="T12" fmla="*/ 9 w 1543"/>
                  <a:gd name="T13" fmla="*/ 6 h 1343"/>
                  <a:gd name="T14" fmla="*/ 10 w 1543"/>
                  <a:gd name="T15" fmla="*/ 5 h 1343"/>
                  <a:gd name="T16" fmla="*/ 13 w 1543"/>
                  <a:gd name="T17" fmla="*/ 4 h 1343"/>
                  <a:gd name="T18" fmla="*/ 14 w 1543"/>
                  <a:gd name="T19" fmla="*/ 4 h 1343"/>
                  <a:gd name="T20" fmla="*/ 14 w 1543"/>
                  <a:gd name="T21" fmla="*/ 4 h 1343"/>
                  <a:gd name="T22" fmla="*/ 17 w 1543"/>
                  <a:gd name="T23" fmla="*/ 1 h 1343"/>
                  <a:gd name="T24" fmla="*/ 20 w 1543"/>
                  <a:gd name="T25" fmla="*/ 2 h 1343"/>
                  <a:gd name="T26" fmla="*/ 24 w 1543"/>
                  <a:gd name="T27" fmla="*/ 7 h 1343"/>
                  <a:gd name="T28" fmla="*/ 25 w 1543"/>
                  <a:gd name="T29" fmla="*/ 1 h 1343"/>
                  <a:gd name="T30" fmla="*/ 27 w 1543"/>
                  <a:gd name="T31" fmla="*/ 4 h 1343"/>
                  <a:gd name="T32" fmla="*/ 29 w 1543"/>
                  <a:gd name="T33" fmla="*/ 9 h 1343"/>
                  <a:gd name="T34" fmla="*/ 32 w 1543"/>
                  <a:gd name="T35" fmla="*/ 13 h 1343"/>
                  <a:gd name="T36" fmla="*/ 33 w 1543"/>
                  <a:gd name="T37" fmla="*/ 14 h 1343"/>
                  <a:gd name="T38" fmla="*/ 36 w 1543"/>
                  <a:gd name="T39" fmla="*/ 19 h 1343"/>
                  <a:gd name="T40" fmla="*/ 34 w 1543"/>
                  <a:gd name="T41" fmla="*/ 25 h 1343"/>
                  <a:gd name="T42" fmla="*/ 30 w 1543"/>
                  <a:gd name="T43" fmla="*/ 30 h 1343"/>
                  <a:gd name="T44" fmla="*/ 29 w 1543"/>
                  <a:gd name="T45" fmla="*/ 31 h 1343"/>
                  <a:gd name="T46" fmla="*/ 27 w 1543"/>
                  <a:gd name="T47" fmla="*/ 31 h 1343"/>
                  <a:gd name="T48" fmla="*/ 24 w 1543"/>
                  <a:gd name="T49" fmla="*/ 29 h 1343"/>
                  <a:gd name="T50" fmla="*/ 22 w 1543"/>
                  <a:gd name="T51" fmla="*/ 27 h 1343"/>
                  <a:gd name="T52" fmla="*/ 22 w 1543"/>
                  <a:gd name="T53" fmla="*/ 27 h 1343"/>
                  <a:gd name="T54" fmla="*/ 22 w 1543"/>
                  <a:gd name="T55" fmla="*/ 23 h 1343"/>
                  <a:gd name="T56" fmla="*/ 19 w 1543"/>
                  <a:gd name="T57" fmla="*/ 26 h 1343"/>
                  <a:gd name="T58" fmla="*/ 16 w 1543"/>
                  <a:gd name="T59" fmla="*/ 22 h 1343"/>
                  <a:gd name="T60" fmla="*/ 9 w 1543"/>
                  <a:gd name="T61" fmla="*/ 25 h 1343"/>
                  <a:gd name="T62" fmla="*/ 4 w 1543"/>
                  <a:gd name="T63" fmla="*/ 27 h 1343"/>
                  <a:gd name="T64" fmla="*/ 2 w 1543"/>
                  <a:gd name="T65" fmla="*/ 22 h 13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43"/>
                  <a:gd name="T100" fmla="*/ 0 h 1343"/>
                  <a:gd name="T101" fmla="*/ 1543 w 1543"/>
                  <a:gd name="T102" fmla="*/ 1343 h 134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43" h="1343">
                    <a:moveTo>
                      <a:pt x="0" y="708"/>
                    </a:moveTo>
                    <a:lnTo>
                      <a:pt x="25" y="718"/>
                    </a:lnTo>
                    <a:lnTo>
                      <a:pt x="9" y="678"/>
                    </a:lnTo>
                    <a:lnTo>
                      <a:pt x="41" y="701"/>
                    </a:lnTo>
                    <a:lnTo>
                      <a:pt x="9" y="622"/>
                    </a:lnTo>
                    <a:lnTo>
                      <a:pt x="31" y="505"/>
                    </a:lnTo>
                    <a:lnTo>
                      <a:pt x="39" y="536"/>
                    </a:lnTo>
                    <a:lnTo>
                      <a:pt x="135" y="442"/>
                    </a:lnTo>
                    <a:lnTo>
                      <a:pt x="296" y="399"/>
                    </a:lnTo>
                    <a:lnTo>
                      <a:pt x="352" y="330"/>
                    </a:lnTo>
                    <a:lnTo>
                      <a:pt x="349" y="285"/>
                    </a:lnTo>
                    <a:lnTo>
                      <a:pt x="369" y="252"/>
                    </a:lnTo>
                    <a:lnTo>
                      <a:pt x="393" y="304"/>
                    </a:lnTo>
                    <a:lnTo>
                      <a:pt x="393" y="248"/>
                    </a:lnTo>
                    <a:lnTo>
                      <a:pt x="432" y="260"/>
                    </a:lnTo>
                    <a:lnTo>
                      <a:pt x="436" y="218"/>
                    </a:lnTo>
                    <a:lnTo>
                      <a:pt x="492" y="150"/>
                    </a:lnTo>
                    <a:lnTo>
                      <a:pt x="552" y="154"/>
                    </a:lnTo>
                    <a:lnTo>
                      <a:pt x="563" y="221"/>
                    </a:lnTo>
                    <a:lnTo>
                      <a:pt x="588" y="183"/>
                    </a:lnTo>
                    <a:lnTo>
                      <a:pt x="631" y="204"/>
                    </a:lnTo>
                    <a:lnTo>
                      <a:pt x="616" y="160"/>
                    </a:lnTo>
                    <a:lnTo>
                      <a:pt x="655" y="89"/>
                    </a:lnTo>
                    <a:lnTo>
                      <a:pt x="743" y="62"/>
                    </a:lnTo>
                    <a:lnTo>
                      <a:pt x="719" y="18"/>
                    </a:lnTo>
                    <a:lnTo>
                      <a:pt x="893" y="73"/>
                    </a:lnTo>
                    <a:lnTo>
                      <a:pt x="856" y="194"/>
                    </a:lnTo>
                    <a:lnTo>
                      <a:pt x="1030" y="318"/>
                    </a:lnTo>
                    <a:lnTo>
                      <a:pt x="1073" y="267"/>
                    </a:lnTo>
                    <a:lnTo>
                      <a:pt x="1095" y="61"/>
                    </a:lnTo>
                    <a:lnTo>
                      <a:pt x="1135" y="0"/>
                    </a:lnTo>
                    <a:lnTo>
                      <a:pt x="1173" y="158"/>
                    </a:lnTo>
                    <a:lnTo>
                      <a:pt x="1231" y="194"/>
                    </a:lnTo>
                    <a:lnTo>
                      <a:pt x="1270" y="375"/>
                    </a:lnTo>
                    <a:lnTo>
                      <a:pt x="1363" y="433"/>
                    </a:lnTo>
                    <a:lnTo>
                      <a:pt x="1400" y="536"/>
                    </a:lnTo>
                    <a:lnTo>
                      <a:pt x="1432" y="529"/>
                    </a:lnTo>
                    <a:lnTo>
                      <a:pt x="1441" y="584"/>
                    </a:lnTo>
                    <a:lnTo>
                      <a:pt x="1518" y="663"/>
                    </a:lnTo>
                    <a:lnTo>
                      <a:pt x="1543" y="802"/>
                    </a:lnTo>
                    <a:lnTo>
                      <a:pt x="1524" y="942"/>
                    </a:lnTo>
                    <a:lnTo>
                      <a:pt x="1459" y="1059"/>
                    </a:lnTo>
                    <a:lnTo>
                      <a:pt x="1408" y="1261"/>
                    </a:lnTo>
                    <a:lnTo>
                      <a:pt x="1323" y="1282"/>
                    </a:lnTo>
                    <a:lnTo>
                      <a:pt x="1267" y="1320"/>
                    </a:lnTo>
                    <a:lnTo>
                      <a:pt x="1272" y="1343"/>
                    </a:lnTo>
                    <a:lnTo>
                      <a:pt x="1216" y="1276"/>
                    </a:lnTo>
                    <a:lnTo>
                      <a:pt x="1158" y="1324"/>
                    </a:lnTo>
                    <a:lnTo>
                      <a:pt x="1085" y="1304"/>
                    </a:lnTo>
                    <a:lnTo>
                      <a:pt x="1024" y="1253"/>
                    </a:lnTo>
                    <a:lnTo>
                      <a:pt x="1001" y="1153"/>
                    </a:lnTo>
                    <a:lnTo>
                      <a:pt x="955" y="1165"/>
                    </a:lnTo>
                    <a:lnTo>
                      <a:pt x="955" y="1096"/>
                    </a:lnTo>
                    <a:lnTo>
                      <a:pt x="939" y="1140"/>
                    </a:lnTo>
                    <a:lnTo>
                      <a:pt x="907" y="1143"/>
                    </a:lnTo>
                    <a:lnTo>
                      <a:pt x="940" y="1011"/>
                    </a:lnTo>
                    <a:lnTo>
                      <a:pt x="875" y="1135"/>
                    </a:lnTo>
                    <a:lnTo>
                      <a:pt x="843" y="1109"/>
                    </a:lnTo>
                    <a:lnTo>
                      <a:pt x="809" y="1012"/>
                    </a:lnTo>
                    <a:lnTo>
                      <a:pt x="694" y="959"/>
                    </a:lnTo>
                    <a:lnTo>
                      <a:pt x="490" y="998"/>
                    </a:lnTo>
                    <a:lnTo>
                      <a:pt x="404" y="1071"/>
                    </a:lnTo>
                    <a:lnTo>
                      <a:pt x="263" y="1075"/>
                    </a:lnTo>
                    <a:lnTo>
                      <a:pt x="182" y="1139"/>
                    </a:lnTo>
                    <a:lnTo>
                      <a:pt x="76" y="1094"/>
                    </a:lnTo>
                    <a:lnTo>
                      <a:pt x="100" y="966"/>
                    </a:lnTo>
                    <a:lnTo>
                      <a:pt x="0" y="70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 name="Freeform 324"/>
              <p:cNvSpPr/>
              <p:nvPr/>
            </p:nvSpPr>
            <p:spPr bwMode="auto">
              <a:xfrm>
                <a:off x="3322" y="3624"/>
                <a:ext cx="39" cy="43"/>
              </a:xfrm>
              <a:custGeom>
                <a:avLst/>
                <a:gdLst>
                  <a:gd name="T0" fmla="*/ 0 w 134"/>
                  <a:gd name="T1" fmla="*/ 1 h 150"/>
                  <a:gd name="T2" fmla="*/ 0 w 134"/>
                  <a:gd name="T3" fmla="*/ 0 h 150"/>
                  <a:gd name="T4" fmla="*/ 2 w 134"/>
                  <a:gd name="T5" fmla="*/ 1 h 150"/>
                  <a:gd name="T6" fmla="*/ 3 w 134"/>
                  <a:gd name="T7" fmla="*/ 0 h 150"/>
                  <a:gd name="T8" fmla="*/ 3 w 134"/>
                  <a:gd name="T9" fmla="*/ 1 h 150"/>
                  <a:gd name="T10" fmla="*/ 3 w 134"/>
                  <a:gd name="T11" fmla="*/ 2 h 150"/>
                  <a:gd name="T12" fmla="*/ 2 w 134"/>
                  <a:gd name="T13" fmla="*/ 3 h 150"/>
                  <a:gd name="T14" fmla="*/ 1 w 134"/>
                  <a:gd name="T15" fmla="*/ 3 h 150"/>
                  <a:gd name="T16" fmla="*/ 0 w 134"/>
                  <a:gd name="T17" fmla="*/ 1 h 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4"/>
                  <a:gd name="T28" fmla="*/ 0 h 150"/>
                  <a:gd name="T29" fmla="*/ 134 w 134"/>
                  <a:gd name="T30" fmla="*/ 150 h 1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4" h="150">
                    <a:moveTo>
                      <a:pt x="0" y="25"/>
                    </a:moveTo>
                    <a:lnTo>
                      <a:pt x="1" y="0"/>
                    </a:lnTo>
                    <a:lnTo>
                      <a:pt x="67" y="20"/>
                    </a:lnTo>
                    <a:lnTo>
                      <a:pt x="121" y="2"/>
                    </a:lnTo>
                    <a:lnTo>
                      <a:pt x="134" y="40"/>
                    </a:lnTo>
                    <a:lnTo>
                      <a:pt x="134" y="86"/>
                    </a:lnTo>
                    <a:lnTo>
                      <a:pt x="83" y="150"/>
                    </a:lnTo>
                    <a:lnTo>
                      <a:pt x="50" y="147"/>
                    </a:lnTo>
                    <a:lnTo>
                      <a:pt x="0" y="2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 name="Freeform 325"/>
              <p:cNvSpPr/>
              <p:nvPr/>
            </p:nvSpPr>
            <p:spPr bwMode="auto">
              <a:xfrm>
                <a:off x="1849" y="2418"/>
                <a:ext cx="84" cy="36"/>
              </a:xfrm>
              <a:custGeom>
                <a:avLst/>
                <a:gdLst>
                  <a:gd name="T0" fmla="*/ 0 w 296"/>
                  <a:gd name="T1" fmla="*/ 2 h 128"/>
                  <a:gd name="T2" fmla="*/ 0 w 296"/>
                  <a:gd name="T3" fmla="*/ 2 h 128"/>
                  <a:gd name="T4" fmla="*/ 0 w 296"/>
                  <a:gd name="T5" fmla="*/ 2 h 128"/>
                  <a:gd name="T6" fmla="*/ 1 w 296"/>
                  <a:gd name="T7" fmla="*/ 2 h 128"/>
                  <a:gd name="T8" fmla="*/ 2 w 296"/>
                  <a:gd name="T9" fmla="*/ 2 h 128"/>
                  <a:gd name="T10" fmla="*/ 4 w 296"/>
                  <a:gd name="T11" fmla="*/ 3 h 128"/>
                  <a:gd name="T12" fmla="*/ 6 w 296"/>
                  <a:gd name="T13" fmla="*/ 2 h 128"/>
                  <a:gd name="T14" fmla="*/ 7 w 296"/>
                  <a:gd name="T15" fmla="*/ 1 h 128"/>
                  <a:gd name="T16" fmla="*/ 6 w 296"/>
                  <a:gd name="T17" fmla="*/ 0 h 128"/>
                  <a:gd name="T18" fmla="*/ 4 w 296"/>
                  <a:gd name="T19" fmla="*/ 0 h 128"/>
                  <a:gd name="T20" fmla="*/ 3 w 296"/>
                  <a:gd name="T21" fmla="*/ 2 h 128"/>
                  <a:gd name="T22" fmla="*/ 0 w 296"/>
                  <a:gd name="T23" fmla="*/ 2 h 1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6"/>
                  <a:gd name="T37" fmla="*/ 0 h 128"/>
                  <a:gd name="T38" fmla="*/ 296 w 296"/>
                  <a:gd name="T39" fmla="*/ 128 h 1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6" h="128">
                    <a:moveTo>
                      <a:pt x="0" y="71"/>
                    </a:moveTo>
                    <a:lnTo>
                      <a:pt x="7" y="78"/>
                    </a:lnTo>
                    <a:lnTo>
                      <a:pt x="8" y="100"/>
                    </a:lnTo>
                    <a:lnTo>
                      <a:pt x="41" y="106"/>
                    </a:lnTo>
                    <a:lnTo>
                      <a:pt x="99" y="93"/>
                    </a:lnTo>
                    <a:lnTo>
                      <a:pt x="166" y="128"/>
                    </a:lnTo>
                    <a:lnTo>
                      <a:pt x="257" y="105"/>
                    </a:lnTo>
                    <a:lnTo>
                      <a:pt x="296" y="37"/>
                    </a:lnTo>
                    <a:lnTo>
                      <a:pt x="279" y="0"/>
                    </a:lnTo>
                    <a:lnTo>
                      <a:pt x="167" y="1"/>
                    </a:lnTo>
                    <a:lnTo>
                      <a:pt x="132" y="70"/>
                    </a:lnTo>
                    <a:lnTo>
                      <a:pt x="0" y="7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 name="Freeform 326"/>
              <p:cNvSpPr/>
              <p:nvPr/>
            </p:nvSpPr>
            <p:spPr bwMode="auto">
              <a:xfrm>
                <a:off x="2703" y="2743"/>
                <a:ext cx="52" cy="75"/>
              </a:xfrm>
              <a:custGeom>
                <a:avLst/>
                <a:gdLst>
                  <a:gd name="T0" fmla="*/ 0 w 179"/>
                  <a:gd name="T1" fmla="*/ 2 h 262"/>
                  <a:gd name="T2" fmla="*/ 1 w 179"/>
                  <a:gd name="T3" fmla="*/ 3 h 262"/>
                  <a:gd name="T4" fmla="*/ 1 w 179"/>
                  <a:gd name="T5" fmla="*/ 5 h 262"/>
                  <a:gd name="T6" fmla="*/ 2 w 179"/>
                  <a:gd name="T7" fmla="*/ 5 h 262"/>
                  <a:gd name="T8" fmla="*/ 3 w 179"/>
                  <a:gd name="T9" fmla="*/ 4 h 262"/>
                  <a:gd name="T10" fmla="*/ 3 w 179"/>
                  <a:gd name="T11" fmla="*/ 4 h 262"/>
                  <a:gd name="T12" fmla="*/ 4 w 179"/>
                  <a:gd name="T13" fmla="*/ 6 h 262"/>
                  <a:gd name="T14" fmla="*/ 4 w 179"/>
                  <a:gd name="T15" fmla="*/ 5 h 262"/>
                  <a:gd name="T16" fmla="*/ 4 w 179"/>
                  <a:gd name="T17" fmla="*/ 3 h 262"/>
                  <a:gd name="T18" fmla="*/ 3 w 179"/>
                  <a:gd name="T19" fmla="*/ 4 h 262"/>
                  <a:gd name="T20" fmla="*/ 3 w 179"/>
                  <a:gd name="T21" fmla="*/ 3 h 262"/>
                  <a:gd name="T22" fmla="*/ 4 w 179"/>
                  <a:gd name="T23" fmla="*/ 1 h 262"/>
                  <a:gd name="T24" fmla="*/ 2 w 179"/>
                  <a:gd name="T25" fmla="*/ 1 h 262"/>
                  <a:gd name="T26" fmla="*/ 1 w 179"/>
                  <a:gd name="T27" fmla="*/ 0 h 262"/>
                  <a:gd name="T28" fmla="*/ 0 w 179"/>
                  <a:gd name="T29" fmla="*/ 1 h 262"/>
                  <a:gd name="T30" fmla="*/ 1 w 179"/>
                  <a:gd name="T31" fmla="*/ 1 h 262"/>
                  <a:gd name="T32" fmla="*/ 0 w 179"/>
                  <a:gd name="T33" fmla="*/ 2 h 2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9"/>
                  <a:gd name="T52" fmla="*/ 0 h 262"/>
                  <a:gd name="T53" fmla="*/ 179 w 179"/>
                  <a:gd name="T54" fmla="*/ 262 h 2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9" h="262">
                    <a:moveTo>
                      <a:pt x="0" y="78"/>
                    </a:moveTo>
                    <a:lnTo>
                      <a:pt x="23" y="105"/>
                    </a:lnTo>
                    <a:lnTo>
                      <a:pt x="37" y="227"/>
                    </a:lnTo>
                    <a:lnTo>
                      <a:pt x="86" y="220"/>
                    </a:lnTo>
                    <a:lnTo>
                      <a:pt x="109" y="168"/>
                    </a:lnTo>
                    <a:lnTo>
                      <a:pt x="144" y="178"/>
                    </a:lnTo>
                    <a:lnTo>
                      <a:pt x="165" y="262"/>
                    </a:lnTo>
                    <a:lnTo>
                      <a:pt x="179" y="214"/>
                    </a:lnTo>
                    <a:lnTo>
                      <a:pt x="162" y="130"/>
                    </a:lnTo>
                    <a:lnTo>
                      <a:pt x="144" y="164"/>
                    </a:lnTo>
                    <a:lnTo>
                      <a:pt x="119" y="120"/>
                    </a:lnTo>
                    <a:lnTo>
                      <a:pt x="164" y="67"/>
                    </a:lnTo>
                    <a:lnTo>
                      <a:pt x="79" y="59"/>
                    </a:lnTo>
                    <a:lnTo>
                      <a:pt x="21" y="0"/>
                    </a:lnTo>
                    <a:lnTo>
                      <a:pt x="6" y="32"/>
                    </a:lnTo>
                    <a:lnTo>
                      <a:pt x="24" y="59"/>
                    </a:lnTo>
                    <a:lnTo>
                      <a:pt x="0" y="7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 name="Freeform 327"/>
              <p:cNvSpPr/>
              <p:nvPr/>
            </p:nvSpPr>
            <p:spPr bwMode="auto">
              <a:xfrm>
                <a:off x="1777" y="2375"/>
                <a:ext cx="36" cy="29"/>
              </a:xfrm>
              <a:custGeom>
                <a:avLst/>
                <a:gdLst>
                  <a:gd name="T0" fmla="*/ 0 w 125"/>
                  <a:gd name="T1" fmla="*/ 1 h 104"/>
                  <a:gd name="T2" fmla="*/ 1 w 125"/>
                  <a:gd name="T3" fmla="*/ 0 h 104"/>
                  <a:gd name="T4" fmla="*/ 2 w 125"/>
                  <a:gd name="T5" fmla="*/ 0 h 104"/>
                  <a:gd name="T6" fmla="*/ 3 w 125"/>
                  <a:gd name="T7" fmla="*/ 1 h 104"/>
                  <a:gd name="T8" fmla="*/ 3 w 125"/>
                  <a:gd name="T9" fmla="*/ 2 h 104"/>
                  <a:gd name="T10" fmla="*/ 3 w 125"/>
                  <a:gd name="T11" fmla="*/ 2 h 104"/>
                  <a:gd name="T12" fmla="*/ 0 w 125"/>
                  <a:gd name="T13" fmla="*/ 1 h 104"/>
                  <a:gd name="T14" fmla="*/ 0 60000 65536"/>
                  <a:gd name="T15" fmla="*/ 0 60000 65536"/>
                  <a:gd name="T16" fmla="*/ 0 60000 65536"/>
                  <a:gd name="T17" fmla="*/ 0 60000 65536"/>
                  <a:gd name="T18" fmla="*/ 0 60000 65536"/>
                  <a:gd name="T19" fmla="*/ 0 60000 65536"/>
                  <a:gd name="T20" fmla="*/ 0 60000 65536"/>
                  <a:gd name="T21" fmla="*/ 0 w 125"/>
                  <a:gd name="T22" fmla="*/ 0 h 104"/>
                  <a:gd name="T23" fmla="*/ 125 w 125"/>
                  <a:gd name="T24" fmla="*/ 104 h 1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5" h="104">
                    <a:moveTo>
                      <a:pt x="0" y="20"/>
                    </a:moveTo>
                    <a:lnTo>
                      <a:pt x="27" y="5"/>
                    </a:lnTo>
                    <a:lnTo>
                      <a:pt x="84" y="0"/>
                    </a:lnTo>
                    <a:lnTo>
                      <a:pt x="122" y="42"/>
                    </a:lnTo>
                    <a:lnTo>
                      <a:pt x="125" y="74"/>
                    </a:lnTo>
                    <a:lnTo>
                      <a:pt x="112" y="104"/>
                    </a:lnTo>
                    <a:lnTo>
                      <a:pt x="0" y="2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 name="Freeform 328"/>
              <p:cNvSpPr/>
              <p:nvPr/>
            </p:nvSpPr>
            <p:spPr bwMode="auto">
              <a:xfrm>
                <a:off x="2713" y="2719"/>
                <a:ext cx="36" cy="22"/>
              </a:xfrm>
              <a:custGeom>
                <a:avLst/>
                <a:gdLst>
                  <a:gd name="T0" fmla="*/ 0 w 121"/>
                  <a:gd name="T1" fmla="*/ 1 h 75"/>
                  <a:gd name="T2" fmla="*/ 0 w 121"/>
                  <a:gd name="T3" fmla="*/ 2 h 75"/>
                  <a:gd name="T4" fmla="*/ 3 w 121"/>
                  <a:gd name="T5" fmla="*/ 1 h 75"/>
                  <a:gd name="T6" fmla="*/ 3 w 121"/>
                  <a:gd name="T7" fmla="*/ 1 h 75"/>
                  <a:gd name="T8" fmla="*/ 1 w 121"/>
                  <a:gd name="T9" fmla="*/ 0 h 75"/>
                  <a:gd name="T10" fmla="*/ 0 w 121"/>
                  <a:gd name="T11" fmla="*/ 1 h 75"/>
                  <a:gd name="T12" fmla="*/ 0 60000 65536"/>
                  <a:gd name="T13" fmla="*/ 0 60000 65536"/>
                  <a:gd name="T14" fmla="*/ 0 60000 65536"/>
                  <a:gd name="T15" fmla="*/ 0 60000 65536"/>
                  <a:gd name="T16" fmla="*/ 0 60000 65536"/>
                  <a:gd name="T17" fmla="*/ 0 60000 65536"/>
                  <a:gd name="T18" fmla="*/ 0 w 121"/>
                  <a:gd name="T19" fmla="*/ 0 h 75"/>
                  <a:gd name="T20" fmla="*/ 121 w 121"/>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121" h="75">
                    <a:moveTo>
                      <a:pt x="0" y="46"/>
                    </a:moveTo>
                    <a:lnTo>
                      <a:pt x="16" y="75"/>
                    </a:lnTo>
                    <a:lnTo>
                      <a:pt x="121" y="63"/>
                    </a:lnTo>
                    <a:lnTo>
                      <a:pt x="112" y="22"/>
                    </a:lnTo>
                    <a:lnTo>
                      <a:pt x="40" y="0"/>
                    </a:lnTo>
                    <a:lnTo>
                      <a:pt x="0" y="4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 name="Freeform 329"/>
              <p:cNvSpPr/>
              <p:nvPr/>
            </p:nvSpPr>
            <p:spPr bwMode="auto">
              <a:xfrm>
                <a:off x="2988" y="3020"/>
                <a:ext cx="13" cy="13"/>
              </a:xfrm>
              <a:custGeom>
                <a:avLst/>
                <a:gdLst>
                  <a:gd name="T0" fmla="*/ 0 w 47"/>
                  <a:gd name="T1" fmla="*/ 1 h 46"/>
                  <a:gd name="T2" fmla="*/ 1 w 47"/>
                  <a:gd name="T3" fmla="*/ 1 h 46"/>
                  <a:gd name="T4" fmla="*/ 1 w 47"/>
                  <a:gd name="T5" fmla="*/ 0 h 46"/>
                  <a:gd name="T6" fmla="*/ 0 w 47"/>
                  <a:gd name="T7" fmla="*/ 1 h 46"/>
                  <a:gd name="T8" fmla="*/ 0 60000 65536"/>
                  <a:gd name="T9" fmla="*/ 0 60000 65536"/>
                  <a:gd name="T10" fmla="*/ 0 60000 65536"/>
                  <a:gd name="T11" fmla="*/ 0 60000 65536"/>
                  <a:gd name="T12" fmla="*/ 0 w 47"/>
                  <a:gd name="T13" fmla="*/ 0 h 46"/>
                  <a:gd name="T14" fmla="*/ 47 w 47"/>
                  <a:gd name="T15" fmla="*/ 46 h 46"/>
                </a:gdLst>
                <a:ahLst/>
                <a:cxnLst>
                  <a:cxn ang="T8">
                    <a:pos x="T0" y="T1"/>
                  </a:cxn>
                  <a:cxn ang="T9">
                    <a:pos x="T2" y="T3"/>
                  </a:cxn>
                  <a:cxn ang="T10">
                    <a:pos x="T4" y="T5"/>
                  </a:cxn>
                  <a:cxn ang="T11">
                    <a:pos x="T6" y="T7"/>
                  </a:cxn>
                </a:cxnLst>
                <a:rect l="T12" t="T13" r="T14" b="T15"/>
                <a:pathLst>
                  <a:path w="47" h="46">
                    <a:moveTo>
                      <a:pt x="0" y="21"/>
                    </a:moveTo>
                    <a:lnTo>
                      <a:pt x="22" y="46"/>
                    </a:lnTo>
                    <a:lnTo>
                      <a:pt x="47" y="0"/>
                    </a:lnTo>
                    <a:lnTo>
                      <a:pt x="0" y="2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 name="Freeform 330"/>
              <p:cNvSpPr/>
              <p:nvPr/>
            </p:nvSpPr>
            <p:spPr bwMode="auto">
              <a:xfrm>
                <a:off x="1991" y="2489"/>
                <a:ext cx="67" cy="45"/>
              </a:xfrm>
              <a:custGeom>
                <a:avLst/>
                <a:gdLst>
                  <a:gd name="T0" fmla="*/ 0 w 237"/>
                  <a:gd name="T1" fmla="*/ 3 h 156"/>
                  <a:gd name="T2" fmla="*/ 0 w 237"/>
                  <a:gd name="T3" fmla="*/ 0 h 156"/>
                  <a:gd name="T4" fmla="*/ 5 w 237"/>
                  <a:gd name="T5" fmla="*/ 1 h 156"/>
                  <a:gd name="T6" fmla="*/ 5 w 237"/>
                  <a:gd name="T7" fmla="*/ 2 h 156"/>
                  <a:gd name="T8" fmla="*/ 5 w 237"/>
                  <a:gd name="T9" fmla="*/ 3 h 156"/>
                  <a:gd name="T10" fmla="*/ 3 w 237"/>
                  <a:gd name="T11" fmla="*/ 3 h 156"/>
                  <a:gd name="T12" fmla="*/ 3 w 237"/>
                  <a:gd name="T13" fmla="*/ 4 h 156"/>
                  <a:gd name="T14" fmla="*/ 1 w 237"/>
                  <a:gd name="T15" fmla="*/ 4 h 156"/>
                  <a:gd name="T16" fmla="*/ 0 w 237"/>
                  <a:gd name="T17" fmla="*/ 3 h 1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7"/>
                  <a:gd name="T28" fmla="*/ 0 h 156"/>
                  <a:gd name="T29" fmla="*/ 237 w 237"/>
                  <a:gd name="T30" fmla="*/ 156 h 1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7" h="156">
                    <a:moveTo>
                      <a:pt x="0" y="107"/>
                    </a:moveTo>
                    <a:lnTo>
                      <a:pt x="13" y="0"/>
                    </a:lnTo>
                    <a:lnTo>
                      <a:pt x="237" y="24"/>
                    </a:lnTo>
                    <a:lnTo>
                      <a:pt x="197" y="91"/>
                    </a:lnTo>
                    <a:lnTo>
                      <a:pt x="213" y="126"/>
                    </a:lnTo>
                    <a:lnTo>
                      <a:pt x="154" y="130"/>
                    </a:lnTo>
                    <a:lnTo>
                      <a:pt x="119" y="156"/>
                    </a:lnTo>
                    <a:lnTo>
                      <a:pt x="24" y="153"/>
                    </a:lnTo>
                    <a:lnTo>
                      <a:pt x="0" y="10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 name="Freeform 331"/>
              <p:cNvSpPr/>
              <p:nvPr/>
            </p:nvSpPr>
            <p:spPr bwMode="auto">
              <a:xfrm>
                <a:off x="2750" y="2722"/>
                <a:ext cx="99" cy="234"/>
              </a:xfrm>
              <a:custGeom>
                <a:avLst/>
                <a:gdLst>
                  <a:gd name="T0" fmla="*/ 0 w 345"/>
                  <a:gd name="T1" fmla="*/ 8 h 822"/>
                  <a:gd name="T2" fmla="*/ 0 w 345"/>
                  <a:gd name="T3" fmla="*/ 7 h 822"/>
                  <a:gd name="T4" fmla="*/ 3 w 345"/>
                  <a:gd name="T5" fmla="*/ 2 h 822"/>
                  <a:gd name="T6" fmla="*/ 4 w 345"/>
                  <a:gd name="T7" fmla="*/ 1 h 822"/>
                  <a:gd name="T8" fmla="*/ 5 w 345"/>
                  <a:gd name="T9" fmla="*/ 0 h 822"/>
                  <a:gd name="T10" fmla="*/ 6 w 345"/>
                  <a:gd name="T11" fmla="*/ 1 h 822"/>
                  <a:gd name="T12" fmla="*/ 6 w 345"/>
                  <a:gd name="T13" fmla="*/ 2 h 822"/>
                  <a:gd name="T14" fmla="*/ 5 w 345"/>
                  <a:gd name="T15" fmla="*/ 5 h 822"/>
                  <a:gd name="T16" fmla="*/ 6 w 345"/>
                  <a:gd name="T17" fmla="*/ 4 h 822"/>
                  <a:gd name="T18" fmla="*/ 6 w 345"/>
                  <a:gd name="T19" fmla="*/ 6 h 822"/>
                  <a:gd name="T20" fmla="*/ 8 w 345"/>
                  <a:gd name="T21" fmla="*/ 7 h 822"/>
                  <a:gd name="T22" fmla="*/ 7 w 345"/>
                  <a:gd name="T23" fmla="*/ 8 h 822"/>
                  <a:gd name="T24" fmla="*/ 5 w 345"/>
                  <a:gd name="T25" fmla="*/ 9 h 822"/>
                  <a:gd name="T26" fmla="*/ 5 w 345"/>
                  <a:gd name="T27" fmla="*/ 11 h 822"/>
                  <a:gd name="T28" fmla="*/ 6 w 345"/>
                  <a:gd name="T29" fmla="*/ 13 h 822"/>
                  <a:gd name="T30" fmla="*/ 5 w 345"/>
                  <a:gd name="T31" fmla="*/ 14 h 822"/>
                  <a:gd name="T32" fmla="*/ 7 w 345"/>
                  <a:gd name="T33" fmla="*/ 17 h 822"/>
                  <a:gd name="T34" fmla="*/ 6 w 345"/>
                  <a:gd name="T35" fmla="*/ 19 h 822"/>
                  <a:gd name="T36" fmla="*/ 5 w 345"/>
                  <a:gd name="T37" fmla="*/ 13 h 822"/>
                  <a:gd name="T38" fmla="*/ 4 w 345"/>
                  <a:gd name="T39" fmla="*/ 11 h 822"/>
                  <a:gd name="T40" fmla="*/ 3 w 345"/>
                  <a:gd name="T41" fmla="*/ 13 h 822"/>
                  <a:gd name="T42" fmla="*/ 2 w 345"/>
                  <a:gd name="T43" fmla="*/ 13 h 822"/>
                  <a:gd name="T44" fmla="*/ 2 w 345"/>
                  <a:gd name="T45" fmla="*/ 11 h 822"/>
                  <a:gd name="T46" fmla="*/ 0 w 345"/>
                  <a:gd name="T47" fmla="*/ 8 h 8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5"/>
                  <a:gd name="T73" fmla="*/ 0 h 822"/>
                  <a:gd name="T74" fmla="*/ 345 w 345"/>
                  <a:gd name="T75" fmla="*/ 822 h 8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5" h="822">
                    <a:moveTo>
                      <a:pt x="0" y="337"/>
                    </a:moveTo>
                    <a:lnTo>
                      <a:pt x="14" y="289"/>
                    </a:lnTo>
                    <a:lnTo>
                      <a:pt x="114" y="76"/>
                    </a:lnTo>
                    <a:lnTo>
                      <a:pt x="181" y="48"/>
                    </a:lnTo>
                    <a:lnTo>
                      <a:pt x="196" y="0"/>
                    </a:lnTo>
                    <a:lnTo>
                      <a:pt x="247" y="27"/>
                    </a:lnTo>
                    <a:lnTo>
                      <a:pt x="247" y="71"/>
                    </a:lnTo>
                    <a:lnTo>
                      <a:pt x="204" y="201"/>
                    </a:lnTo>
                    <a:lnTo>
                      <a:pt x="249" y="190"/>
                    </a:lnTo>
                    <a:lnTo>
                      <a:pt x="273" y="278"/>
                    </a:lnTo>
                    <a:lnTo>
                      <a:pt x="345" y="302"/>
                    </a:lnTo>
                    <a:lnTo>
                      <a:pt x="309" y="345"/>
                    </a:lnTo>
                    <a:lnTo>
                      <a:pt x="226" y="401"/>
                    </a:lnTo>
                    <a:lnTo>
                      <a:pt x="204" y="454"/>
                    </a:lnTo>
                    <a:lnTo>
                      <a:pt x="249" y="552"/>
                    </a:lnTo>
                    <a:lnTo>
                      <a:pt x="233" y="612"/>
                    </a:lnTo>
                    <a:lnTo>
                      <a:pt x="287" y="742"/>
                    </a:lnTo>
                    <a:lnTo>
                      <a:pt x="247" y="822"/>
                    </a:lnTo>
                    <a:lnTo>
                      <a:pt x="207" y="540"/>
                    </a:lnTo>
                    <a:lnTo>
                      <a:pt x="173" y="497"/>
                    </a:lnTo>
                    <a:lnTo>
                      <a:pt x="118" y="571"/>
                    </a:lnTo>
                    <a:lnTo>
                      <a:pt x="78" y="556"/>
                    </a:lnTo>
                    <a:lnTo>
                      <a:pt x="86" y="455"/>
                    </a:lnTo>
                    <a:lnTo>
                      <a:pt x="0" y="33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 name="Freeform 332"/>
              <p:cNvSpPr/>
              <p:nvPr/>
            </p:nvSpPr>
            <p:spPr bwMode="auto">
              <a:xfrm>
                <a:off x="2863" y="2898"/>
                <a:ext cx="54" cy="54"/>
              </a:xfrm>
              <a:custGeom>
                <a:avLst/>
                <a:gdLst>
                  <a:gd name="T0" fmla="*/ 0 w 190"/>
                  <a:gd name="T1" fmla="*/ 1 h 190"/>
                  <a:gd name="T2" fmla="*/ 0 w 190"/>
                  <a:gd name="T3" fmla="*/ 3 h 190"/>
                  <a:gd name="T4" fmla="*/ 1 w 190"/>
                  <a:gd name="T5" fmla="*/ 4 h 190"/>
                  <a:gd name="T6" fmla="*/ 2 w 190"/>
                  <a:gd name="T7" fmla="*/ 4 h 190"/>
                  <a:gd name="T8" fmla="*/ 4 w 190"/>
                  <a:gd name="T9" fmla="*/ 2 h 190"/>
                  <a:gd name="T10" fmla="*/ 4 w 190"/>
                  <a:gd name="T11" fmla="*/ 0 h 190"/>
                  <a:gd name="T12" fmla="*/ 2 w 190"/>
                  <a:gd name="T13" fmla="*/ 0 h 190"/>
                  <a:gd name="T14" fmla="*/ 1 w 190"/>
                  <a:gd name="T15" fmla="*/ 0 h 190"/>
                  <a:gd name="T16" fmla="*/ 0 w 190"/>
                  <a:gd name="T17" fmla="*/ 1 h 1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0"/>
                  <a:gd name="T28" fmla="*/ 0 h 190"/>
                  <a:gd name="T29" fmla="*/ 190 w 190"/>
                  <a:gd name="T30" fmla="*/ 190 h 1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0" h="190">
                    <a:moveTo>
                      <a:pt x="0" y="37"/>
                    </a:moveTo>
                    <a:lnTo>
                      <a:pt x="12" y="132"/>
                    </a:lnTo>
                    <a:lnTo>
                      <a:pt x="39" y="182"/>
                    </a:lnTo>
                    <a:lnTo>
                      <a:pt x="73" y="190"/>
                    </a:lnTo>
                    <a:lnTo>
                      <a:pt x="190" y="102"/>
                    </a:lnTo>
                    <a:lnTo>
                      <a:pt x="187" y="0"/>
                    </a:lnTo>
                    <a:lnTo>
                      <a:pt x="101" y="16"/>
                    </a:lnTo>
                    <a:lnTo>
                      <a:pt x="25" y="13"/>
                    </a:lnTo>
                    <a:lnTo>
                      <a:pt x="0" y="3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 name="Freeform 333"/>
              <p:cNvSpPr/>
              <p:nvPr/>
            </p:nvSpPr>
            <p:spPr bwMode="auto">
              <a:xfrm>
                <a:off x="2616" y="2960"/>
                <a:ext cx="20" cy="48"/>
              </a:xfrm>
              <a:custGeom>
                <a:avLst/>
                <a:gdLst>
                  <a:gd name="T0" fmla="*/ 0 w 72"/>
                  <a:gd name="T1" fmla="*/ 0 h 166"/>
                  <a:gd name="T2" fmla="*/ 0 w 72"/>
                  <a:gd name="T3" fmla="*/ 4 h 166"/>
                  <a:gd name="T4" fmla="*/ 2 w 72"/>
                  <a:gd name="T5" fmla="*/ 3 h 166"/>
                  <a:gd name="T6" fmla="*/ 1 w 72"/>
                  <a:gd name="T7" fmla="*/ 1 h 166"/>
                  <a:gd name="T8" fmla="*/ 0 w 72"/>
                  <a:gd name="T9" fmla="*/ 0 h 166"/>
                  <a:gd name="T10" fmla="*/ 0 60000 65536"/>
                  <a:gd name="T11" fmla="*/ 0 60000 65536"/>
                  <a:gd name="T12" fmla="*/ 0 60000 65536"/>
                  <a:gd name="T13" fmla="*/ 0 60000 65536"/>
                  <a:gd name="T14" fmla="*/ 0 60000 65536"/>
                  <a:gd name="T15" fmla="*/ 0 w 72"/>
                  <a:gd name="T16" fmla="*/ 0 h 166"/>
                  <a:gd name="T17" fmla="*/ 72 w 72"/>
                  <a:gd name="T18" fmla="*/ 166 h 166"/>
                </a:gdLst>
                <a:ahLst/>
                <a:cxnLst>
                  <a:cxn ang="T10">
                    <a:pos x="T0" y="T1"/>
                  </a:cxn>
                  <a:cxn ang="T11">
                    <a:pos x="T2" y="T3"/>
                  </a:cxn>
                  <a:cxn ang="T12">
                    <a:pos x="T4" y="T5"/>
                  </a:cxn>
                  <a:cxn ang="T13">
                    <a:pos x="T6" y="T7"/>
                  </a:cxn>
                  <a:cxn ang="T14">
                    <a:pos x="T8" y="T9"/>
                  </a:cxn>
                </a:cxnLst>
                <a:rect l="T15" t="T16" r="T17" b="T18"/>
                <a:pathLst>
                  <a:path w="72" h="166">
                    <a:moveTo>
                      <a:pt x="0" y="0"/>
                    </a:moveTo>
                    <a:lnTo>
                      <a:pt x="13" y="166"/>
                    </a:lnTo>
                    <a:lnTo>
                      <a:pt x="72" y="138"/>
                    </a:lnTo>
                    <a:lnTo>
                      <a:pt x="45" y="40"/>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 name="Freeform 334"/>
              <p:cNvSpPr/>
              <p:nvPr/>
            </p:nvSpPr>
            <p:spPr bwMode="auto">
              <a:xfrm>
                <a:off x="2548" y="2340"/>
                <a:ext cx="667" cy="486"/>
              </a:xfrm>
              <a:custGeom>
                <a:avLst/>
                <a:gdLst>
                  <a:gd name="T0" fmla="*/ 0 w 2339"/>
                  <a:gd name="T1" fmla="*/ 17 h 1707"/>
                  <a:gd name="T2" fmla="*/ 6 w 2339"/>
                  <a:gd name="T3" fmla="*/ 15 h 1707"/>
                  <a:gd name="T4" fmla="*/ 5 w 2339"/>
                  <a:gd name="T5" fmla="*/ 11 h 1707"/>
                  <a:gd name="T6" fmla="*/ 8 w 2339"/>
                  <a:gd name="T7" fmla="*/ 8 h 1707"/>
                  <a:gd name="T8" fmla="*/ 11 w 2339"/>
                  <a:gd name="T9" fmla="*/ 7 h 1707"/>
                  <a:gd name="T10" fmla="*/ 13 w 2339"/>
                  <a:gd name="T11" fmla="*/ 7 h 1707"/>
                  <a:gd name="T12" fmla="*/ 15 w 2339"/>
                  <a:gd name="T13" fmla="*/ 11 h 1707"/>
                  <a:gd name="T14" fmla="*/ 21 w 2339"/>
                  <a:gd name="T15" fmla="*/ 14 h 1707"/>
                  <a:gd name="T16" fmla="*/ 28 w 2339"/>
                  <a:gd name="T17" fmla="*/ 15 h 1707"/>
                  <a:gd name="T18" fmla="*/ 34 w 2339"/>
                  <a:gd name="T19" fmla="*/ 13 h 1707"/>
                  <a:gd name="T20" fmla="*/ 35 w 2339"/>
                  <a:gd name="T21" fmla="*/ 11 h 1707"/>
                  <a:gd name="T22" fmla="*/ 40 w 2339"/>
                  <a:gd name="T23" fmla="*/ 9 h 1707"/>
                  <a:gd name="T24" fmla="*/ 37 w 2339"/>
                  <a:gd name="T25" fmla="*/ 8 h 1707"/>
                  <a:gd name="T26" fmla="*/ 38 w 2339"/>
                  <a:gd name="T27" fmla="*/ 5 h 1707"/>
                  <a:gd name="T28" fmla="*/ 40 w 2339"/>
                  <a:gd name="T29" fmla="*/ 5 h 1707"/>
                  <a:gd name="T30" fmla="*/ 41 w 2339"/>
                  <a:gd name="T31" fmla="*/ 1 h 1707"/>
                  <a:gd name="T32" fmla="*/ 46 w 2339"/>
                  <a:gd name="T33" fmla="*/ 1 h 1707"/>
                  <a:gd name="T34" fmla="*/ 50 w 2339"/>
                  <a:gd name="T35" fmla="*/ 6 h 1707"/>
                  <a:gd name="T36" fmla="*/ 54 w 2339"/>
                  <a:gd name="T37" fmla="*/ 7 h 1707"/>
                  <a:gd name="T38" fmla="*/ 51 w 2339"/>
                  <a:gd name="T39" fmla="*/ 12 h 1707"/>
                  <a:gd name="T40" fmla="*/ 50 w 2339"/>
                  <a:gd name="T41" fmla="*/ 14 h 1707"/>
                  <a:gd name="T42" fmla="*/ 48 w 2339"/>
                  <a:gd name="T43" fmla="*/ 15 h 1707"/>
                  <a:gd name="T44" fmla="*/ 47 w 2339"/>
                  <a:gd name="T45" fmla="*/ 15 h 1707"/>
                  <a:gd name="T46" fmla="*/ 42 w 2339"/>
                  <a:gd name="T47" fmla="*/ 19 h 1707"/>
                  <a:gd name="T48" fmla="*/ 42 w 2339"/>
                  <a:gd name="T49" fmla="*/ 16 h 1707"/>
                  <a:gd name="T50" fmla="*/ 39 w 2339"/>
                  <a:gd name="T51" fmla="*/ 19 h 1707"/>
                  <a:gd name="T52" fmla="*/ 42 w 2339"/>
                  <a:gd name="T53" fmla="*/ 20 h 1707"/>
                  <a:gd name="T54" fmla="*/ 41 w 2339"/>
                  <a:gd name="T55" fmla="*/ 22 h 1707"/>
                  <a:gd name="T56" fmla="*/ 43 w 2339"/>
                  <a:gd name="T57" fmla="*/ 27 h 1707"/>
                  <a:gd name="T58" fmla="*/ 43 w 2339"/>
                  <a:gd name="T59" fmla="*/ 28 h 1707"/>
                  <a:gd name="T60" fmla="*/ 43 w 2339"/>
                  <a:gd name="T61" fmla="*/ 29 h 1707"/>
                  <a:gd name="T62" fmla="*/ 38 w 2339"/>
                  <a:gd name="T63" fmla="*/ 36 h 1707"/>
                  <a:gd name="T64" fmla="*/ 36 w 2339"/>
                  <a:gd name="T65" fmla="*/ 37 h 1707"/>
                  <a:gd name="T66" fmla="*/ 35 w 2339"/>
                  <a:gd name="T67" fmla="*/ 38 h 1707"/>
                  <a:gd name="T68" fmla="*/ 32 w 2339"/>
                  <a:gd name="T69" fmla="*/ 39 h 1707"/>
                  <a:gd name="T70" fmla="*/ 30 w 2339"/>
                  <a:gd name="T71" fmla="*/ 38 h 1707"/>
                  <a:gd name="T72" fmla="*/ 25 w 2339"/>
                  <a:gd name="T73" fmla="*/ 37 h 1707"/>
                  <a:gd name="T74" fmla="*/ 25 w 2339"/>
                  <a:gd name="T75" fmla="*/ 38 h 1707"/>
                  <a:gd name="T76" fmla="*/ 23 w 2339"/>
                  <a:gd name="T77" fmla="*/ 37 h 1707"/>
                  <a:gd name="T78" fmla="*/ 21 w 2339"/>
                  <a:gd name="T79" fmla="*/ 36 h 1707"/>
                  <a:gd name="T80" fmla="*/ 22 w 2339"/>
                  <a:gd name="T81" fmla="*/ 32 h 1707"/>
                  <a:gd name="T82" fmla="*/ 20 w 2339"/>
                  <a:gd name="T83" fmla="*/ 30 h 1707"/>
                  <a:gd name="T84" fmla="*/ 16 w 2339"/>
                  <a:gd name="T85" fmla="*/ 31 h 1707"/>
                  <a:gd name="T86" fmla="*/ 13 w 2339"/>
                  <a:gd name="T87" fmla="*/ 32 h 1707"/>
                  <a:gd name="T88" fmla="*/ 13 w 2339"/>
                  <a:gd name="T89" fmla="*/ 31 h 1707"/>
                  <a:gd name="T90" fmla="*/ 9 w 2339"/>
                  <a:gd name="T91" fmla="*/ 30 h 1707"/>
                  <a:gd name="T92" fmla="*/ 5 w 2339"/>
                  <a:gd name="T93" fmla="*/ 28 h 1707"/>
                  <a:gd name="T94" fmla="*/ 5 w 2339"/>
                  <a:gd name="T95" fmla="*/ 26 h 1707"/>
                  <a:gd name="T96" fmla="*/ 6 w 2339"/>
                  <a:gd name="T97" fmla="*/ 23 h 1707"/>
                  <a:gd name="T98" fmla="*/ 3 w 2339"/>
                  <a:gd name="T99" fmla="*/ 23 h 1707"/>
                  <a:gd name="T100" fmla="*/ 1 w 2339"/>
                  <a:gd name="T101" fmla="*/ 20 h 1707"/>
                  <a:gd name="T102" fmla="*/ 0 w 2339"/>
                  <a:gd name="T103" fmla="*/ 19 h 17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39"/>
                  <a:gd name="T157" fmla="*/ 0 h 1707"/>
                  <a:gd name="T158" fmla="*/ 2339 w 2339"/>
                  <a:gd name="T159" fmla="*/ 1707 h 170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39" h="1707">
                    <a:moveTo>
                      <a:pt x="0" y="812"/>
                    </a:moveTo>
                    <a:lnTo>
                      <a:pt x="15" y="747"/>
                    </a:lnTo>
                    <a:lnTo>
                      <a:pt x="98" y="730"/>
                    </a:lnTo>
                    <a:lnTo>
                      <a:pt x="245" y="642"/>
                    </a:lnTo>
                    <a:lnTo>
                      <a:pt x="267" y="572"/>
                    </a:lnTo>
                    <a:lnTo>
                      <a:pt x="238" y="491"/>
                    </a:lnTo>
                    <a:lnTo>
                      <a:pt x="331" y="469"/>
                    </a:lnTo>
                    <a:lnTo>
                      <a:pt x="357" y="362"/>
                    </a:lnTo>
                    <a:lnTo>
                      <a:pt x="454" y="368"/>
                    </a:lnTo>
                    <a:lnTo>
                      <a:pt x="465" y="299"/>
                    </a:lnTo>
                    <a:lnTo>
                      <a:pt x="539" y="264"/>
                    </a:lnTo>
                    <a:lnTo>
                      <a:pt x="578" y="322"/>
                    </a:lnTo>
                    <a:lnTo>
                      <a:pt x="633" y="345"/>
                    </a:lnTo>
                    <a:lnTo>
                      <a:pt x="652" y="469"/>
                    </a:lnTo>
                    <a:lnTo>
                      <a:pt x="821" y="519"/>
                    </a:lnTo>
                    <a:lnTo>
                      <a:pt x="892" y="606"/>
                    </a:lnTo>
                    <a:lnTo>
                      <a:pt x="1033" y="602"/>
                    </a:lnTo>
                    <a:lnTo>
                      <a:pt x="1190" y="667"/>
                    </a:lnTo>
                    <a:lnTo>
                      <a:pt x="1395" y="606"/>
                    </a:lnTo>
                    <a:lnTo>
                      <a:pt x="1459" y="557"/>
                    </a:lnTo>
                    <a:lnTo>
                      <a:pt x="1459" y="488"/>
                    </a:lnTo>
                    <a:lnTo>
                      <a:pt x="1518" y="496"/>
                    </a:lnTo>
                    <a:lnTo>
                      <a:pt x="1649" y="398"/>
                    </a:lnTo>
                    <a:lnTo>
                      <a:pt x="1748" y="392"/>
                    </a:lnTo>
                    <a:lnTo>
                      <a:pt x="1701" y="318"/>
                    </a:lnTo>
                    <a:lnTo>
                      <a:pt x="1604" y="337"/>
                    </a:lnTo>
                    <a:lnTo>
                      <a:pt x="1603" y="254"/>
                    </a:lnTo>
                    <a:lnTo>
                      <a:pt x="1627" y="207"/>
                    </a:lnTo>
                    <a:lnTo>
                      <a:pt x="1684" y="234"/>
                    </a:lnTo>
                    <a:lnTo>
                      <a:pt x="1738" y="204"/>
                    </a:lnTo>
                    <a:lnTo>
                      <a:pt x="1795" y="92"/>
                    </a:lnTo>
                    <a:lnTo>
                      <a:pt x="1770" y="51"/>
                    </a:lnTo>
                    <a:lnTo>
                      <a:pt x="1908" y="0"/>
                    </a:lnTo>
                    <a:lnTo>
                      <a:pt x="1986" y="35"/>
                    </a:lnTo>
                    <a:lnTo>
                      <a:pt x="2056" y="224"/>
                    </a:lnTo>
                    <a:lnTo>
                      <a:pt x="2173" y="266"/>
                    </a:lnTo>
                    <a:lnTo>
                      <a:pt x="2193" y="335"/>
                    </a:lnTo>
                    <a:lnTo>
                      <a:pt x="2339" y="291"/>
                    </a:lnTo>
                    <a:lnTo>
                      <a:pt x="2270" y="475"/>
                    </a:lnTo>
                    <a:lnTo>
                      <a:pt x="2185" y="503"/>
                    </a:lnTo>
                    <a:lnTo>
                      <a:pt x="2198" y="572"/>
                    </a:lnTo>
                    <a:lnTo>
                      <a:pt x="2173" y="615"/>
                    </a:lnTo>
                    <a:lnTo>
                      <a:pt x="2159" y="602"/>
                    </a:lnTo>
                    <a:lnTo>
                      <a:pt x="2083" y="652"/>
                    </a:lnTo>
                    <a:lnTo>
                      <a:pt x="2083" y="679"/>
                    </a:lnTo>
                    <a:lnTo>
                      <a:pt x="2030" y="670"/>
                    </a:lnTo>
                    <a:lnTo>
                      <a:pt x="1936" y="753"/>
                    </a:lnTo>
                    <a:lnTo>
                      <a:pt x="1819" y="820"/>
                    </a:lnTo>
                    <a:lnTo>
                      <a:pt x="1857" y="730"/>
                    </a:lnTo>
                    <a:lnTo>
                      <a:pt x="1838" y="701"/>
                    </a:lnTo>
                    <a:lnTo>
                      <a:pt x="1684" y="801"/>
                    </a:lnTo>
                    <a:lnTo>
                      <a:pt x="1681" y="829"/>
                    </a:lnTo>
                    <a:lnTo>
                      <a:pt x="1732" y="894"/>
                    </a:lnTo>
                    <a:lnTo>
                      <a:pt x="1800" y="866"/>
                    </a:lnTo>
                    <a:lnTo>
                      <a:pt x="1869" y="890"/>
                    </a:lnTo>
                    <a:lnTo>
                      <a:pt x="1777" y="941"/>
                    </a:lnTo>
                    <a:lnTo>
                      <a:pt x="1739" y="1013"/>
                    </a:lnTo>
                    <a:lnTo>
                      <a:pt x="1841" y="1167"/>
                    </a:lnTo>
                    <a:lnTo>
                      <a:pt x="1773" y="1154"/>
                    </a:lnTo>
                    <a:lnTo>
                      <a:pt x="1841" y="1208"/>
                    </a:lnTo>
                    <a:lnTo>
                      <a:pt x="1776" y="1240"/>
                    </a:lnTo>
                    <a:lnTo>
                      <a:pt x="1846" y="1255"/>
                    </a:lnTo>
                    <a:lnTo>
                      <a:pt x="1716" y="1504"/>
                    </a:lnTo>
                    <a:lnTo>
                      <a:pt x="1630" y="1579"/>
                    </a:lnTo>
                    <a:lnTo>
                      <a:pt x="1546" y="1602"/>
                    </a:lnTo>
                    <a:lnTo>
                      <a:pt x="1540" y="1603"/>
                    </a:lnTo>
                    <a:lnTo>
                      <a:pt x="1518" y="1589"/>
                    </a:lnTo>
                    <a:lnTo>
                      <a:pt x="1498" y="1629"/>
                    </a:lnTo>
                    <a:lnTo>
                      <a:pt x="1399" y="1654"/>
                    </a:lnTo>
                    <a:lnTo>
                      <a:pt x="1390" y="1707"/>
                    </a:lnTo>
                    <a:lnTo>
                      <a:pt x="1373" y="1643"/>
                    </a:lnTo>
                    <a:lnTo>
                      <a:pt x="1306" y="1648"/>
                    </a:lnTo>
                    <a:lnTo>
                      <a:pt x="1204" y="1572"/>
                    </a:lnTo>
                    <a:lnTo>
                      <a:pt x="1089" y="1606"/>
                    </a:lnTo>
                    <a:lnTo>
                      <a:pt x="1066" y="1607"/>
                    </a:lnTo>
                    <a:lnTo>
                      <a:pt x="1068" y="1654"/>
                    </a:lnTo>
                    <a:lnTo>
                      <a:pt x="1052" y="1642"/>
                    </a:lnTo>
                    <a:lnTo>
                      <a:pt x="980" y="1618"/>
                    </a:lnTo>
                    <a:lnTo>
                      <a:pt x="956" y="1530"/>
                    </a:lnTo>
                    <a:lnTo>
                      <a:pt x="911" y="1541"/>
                    </a:lnTo>
                    <a:lnTo>
                      <a:pt x="954" y="1411"/>
                    </a:lnTo>
                    <a:lnTo>
                      <a:pt x="954" y="1367"/>
                    </a:lnTo>
                    <a:lnTo>
                      <a:pt x="903" y="1340"/>
                    </a:lnTo>
                    <a:lnTo>
                      <a:pt x="864" y="1322"/>
                    </a:lnTo>
                    <a:lnTo>
                      <a:pt x="852" y="1273"/>
                    </a:lnTo>
                    <a:lnTo>
                      <a:pt x="691" y="1354"/>
                    </a:lnTo>
                    <a:lnTo>
                      <a:pt x="619" y="1332"/>
                    </a:lnTo>
                    <a:lnTo>
                      <a:pt x="579" y="1378"/>
                    </a:lnTo>
                    <a:lnTo>
                      <a:pt x="574" y="1345"/>
                    </a:lnTo>
                    <a:lnTo>
                      <a:pt x="549" y="1353"/>
                    </a:lnTo>
                    <a:lnTo>
                      <a:pt x="467" y="1353"/>
                    </a:lnTo>
                    <a:lnTo>
                      <a:pt x="402" y="1282"/>
                    </a:lnTo>
                    <a:lnTo>
                      <a:pt x="283" y="1236"/>
                    </a:lnTo>
                    <a:lnTo>
                      <a:pt x="201" y="1205"/>
                    </a:lnTo>
                    <a:lnTo>
                      <a:pt x="184" y="1128"/>
                    </a:lnTo>
                    <a:lnTo>
                      <a:pt x="223" y="1119"/>
                    </a:lnTo>
                    <a:lnTo>
                      <a:pt x="199" y="1056"/>
                    </a:lnTo>
                    <a:lnTo>
                      <a:pt x="252" y="983"/>
                    </a:lnTo>
                    <a:lnTo>
                      <a:pt x="212" y="958"/>
                    </a:lnTo>
                    <a:lnTo>
                      <a:pt x="150" y="985"/>
                    </a:lnTo>
                    <a:lnTo>
                      <a:pt x="38" y="901"/>
                    </a:lnTo>
                    <a:lnTo>
                      <a:pt x="42" y="890"/>
                    </a:lnTo>
                    <a:lnTo>
                      <a:pt x="42" y="830"/>
                    </a:lnTo>
                    <a:lnTo>
                      <a:pt x="0" y="812"/>
                    </a:lnTo>
                    <a:close/>
                  </a:path>
                </a:pathLst>
              </a:custGeom>
              <a:solidFill>
                <a:srgbClr val="254061"/>
              </a:solidFill>
              <a:ln w="28575">
                <a:solidFill>
                  <a:srgbClr val="F2F2F2"/>
                </a:solidFill>
                <a:round/>
              </a:ln>
              <a:effectLst>
                <a:outerShdw blurRad="88900" dist="75434" dir="2699985" rotWithShape="0">
                  <a:scrgbClr r="0" g="0" b="0">
                    <a:alpha val="23000"/>
                  </a:scrgbClr>
                </a:outerShdw>
              </a:effectLst>
            </p:spPr>
            <p:txBody>
              <a:bodyPr/>
              <a:lstStyle/>
              <a:p>
                <a:pPr>
                  <a:defRPr/>
                </a:pPr>
                <a:endParaRPr lang="en-US" sz="2400" kern="0">
                  <a:solidFill>
                    <a:srgbClr val="000000"/>
                  </a:solidFill>
                  <a:latin typeface="Arial Narrow" panose="020B0606020202030204" pitchFamily="34" charset="0"/>
                  <a:cs typeface="+mn-ea"/>
                </a:endParaRPr>
              </a:p>
            </p:txBody>
          </p:sp>
          <p:sp>
            <p:nvSpPr>
              <p:cNvPr id="23" name="Freeform 335"/>
              <p:cNvSpPr/>
              <p:nvPr/>
            </p:nvSpPr>
            <p:spPr bwMode="auto">
              <a:xfrm>
                <a:off x="2931" y="2830"/>
                <a:ext cx="24" cy="22"/>
              </a:xfrm>
              <a:custGeom>
                <a:avLst/>
                <a:gdLst>
                  <a:gd name="T0" fmla="*/ 0 w 84"/>
                  <a:gd name="T1" fmla="*/ 1 h 80"/>
                  <a:gd name="T2" fmla="*/ 1 w 84"/>
                  <a:gd name="T3" fmla="*/ 0 h 80"/>
                  <a:gd name="T4" fmla="*/ 2 w 84"/>
                  <a:gd name="T5" fmla="*/ 0 h 80"/>
                  <a:gd name="T6" fmla="*/ 1 w 84"/>
                  <a:gd name="T7" fmla="*/ 2 h 80"/>
                  <a:gd name="T8" fmla="*/ 0 w 84"/>
                  <a:gd name="T9" fmla="*/ 1 h 80"/>
                  <a:gd name="T10" fmla="*/ 0 60000 65536"/>
                  <a:gd name="T11" fmla="*/ 0 60000 65536"/>
                  <a:gd name="T12" fmla="*/ 0 60000 65536"/>
                  <a:gd name="T13" fmla="*/ 0 60000 65536"/>
                  <a:gd name="T14" fmla="*/ 0 60000 65536"/>
                  <a:gd name="T15" fmla="*/ 0 w 84"/>
                  <a:gd name="T16" fmla="*/ 0 h 80"/>
                  <a:gd name="T17" fmla="*/ 84 w 84"/>
                  <a:gd name="T18" fmla="*/ 80 h 80"/>
                </a:gdLst>
                <a:ahLst/>
                <a:cxnLst>
                  <a:cxn ang="T10">
                    <a:pos x="T0" y="T1"/>
                  </a:cxn>
                  <a:cxn ang="T11">
                    <a:pos x="T2" y="T3"/>
                  </a:cxn>
                  <a:cxn ang="T12">
                    <a:pos x="T4" y="T5"/>
                  </a:cxn>
                  <a:cxn ang="T13">
                    <a:pos x="T6" y="T7"/>
                  </a:cxn>
                  <a:cxn ang="T14">
                    <a:pos x="T8" y="T9"/>
                  </a:cxn>
                </a:cxnLst>
                <a:rect l="T15" t="T16" r="T17" b="T18"/>
                <a:pathLst>
                  <a:path w="84" h="80">
                    <a:moveTo>
                      <a:pt x="0" y="65"/>
                    </a:moveTo>
                    <a:lnTo>
                      <a:pt x="27" y="0"/>
                    </a:lnTo>
                    <a:lnTo>
                      <a:pt x="84" y="15"/>
                    </a:lnTo>
                    <a:lnTo>
                      <a:pt x="38" y="80"/>
                    </a:lnTo>
                    <a:lnTo>
                      <a:pt x="0" y="6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 name="Freeform 336"/>
              <p:cNvSpPr/>
              <p:nvPr/>
            </p:nvSpPr>
            <p:spPr bwMode="auto">
              <a:xfrm>
                <a:off x="3054" y="2763"/>
                <a:ext cx="19" cy="41"/>
              </a:xfrm>
              <a:custGeom>
                <a:avLst/>
                <a:gdLst>
                  <a:gd name="T0" fmla="*/ 0 w 67"/>
                  <a:gd name="T1" fmla="*/ 1 h 144"/>
                  <a:gd name="T2" fmla="*/ 1 w 67"/>
                  <a:gd name="T3" fmla="*/ 3 h 144"/>
                  <a:gd name="T4" fmla="*/ 1 w 67"/>
                  <a:gd name="T5" fmla="*/ 0 h 144"/>
                  <a:gd name="T6" fmla="*/ 1 w 67"/>
                  <a:gd name="T7" fmla="*/ 0 h 144"/>
                  <a:gd name="T8" fmla="*/ 0 w 67"/>
                  <a:gd name="T9" fmla="*/ 1 h 144"/>
                  <a:gd name="T10" fmla="*/ 0 60000 65536"/>
                  <a:gd name="T11" fmla="*/ 0 60000 65536"/>
                  <a:gd name="T12" fmla="*/ 0 60000 65536"/>
                  <a:gd name="T13" fmla="*/ 0 60000 65536"/>
                  <a:gd name="T14" fmla="*/ 0 60000 65536"/>
                  <a:gd name="T15" fmla="*/ 0 w 67"/>
                  <a:gd name="T16" fmla="*/ 0 h 144"/>
                  <a:gd name="T17" fmla="*/ 67 w 67"/>
                  <a:gd name="T18" fmla="*/ 144 h 144"/>
                </a:gdLst>
                <a:ahLst/>
                <a:cxnLst>
                  <a:cxn ang="T10">
                    <a:pos x="T0" y="T1"/>
                  </a:cxn>
                  <a:cxn ang="T11">
                    <a:pos x="T2" y="T3"/>
                  </a:cxn>
                  <a:cxn ang="T12">
                    <a:pos x="T4" y="T5"/>
                  </a:cxn>
                  <a:cxn ang="T13">
                    <a:pos x="T6" y="T7"/>
                  </a:cxn>
                  <a:cxn ang="T14">
                    <a:pos x="T8" y="T9"/>
                  </a:cxn>
                </a:cxnLst>
                <a:rect l="T15" t="T16" r="T17" b="T18"/>
                <a:pathLst>
                  <a:path w="67" h="144">
                    <a:moveTo>
                      <a:pt x="0" y="60"/>
                    </a:moveTo>
                    <a:lnTo>
                      <a:pt x="28" y="144"/>
                    </a:lnTo>
                    <a:lnTo>
                      <a:pt x="67" y="0"/>
                    </a:lnTo>
                    <a:lnTo>
                      <a:pt x="33" y="2"/>
                    </a:lnTo>
                    <a:lnTo>
                      <a:pt x="0" y="6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5" name="Freeform 337"/>
              <p:cNvSpPr/>
              <p:nvPr/>
            </p:nvSpPr>
            <p:spPr bwMode="auto">
              <a:xfrm>
                <a:off x="1875" y="2380"/>
                <a:ext cx="116" cy="54"/>
              </a:xfrm>
              <a:custGeom>
                <a:avLst/>
                <a:gdLst>
                  <a:gd name="T0" fmla="*/ 0 w 403"/>
                  <a:gd name="T1" fmla="*/ 1 h 190"/>
                  <a:gd name="T2" fmla="*/ 2 w 403"/>
                  <a:gd name="T3" fmla="*/ 3 h 190"/>
                  <a:gd name="T4" fmla="*/ 4 w 403"/>
                  <a:gd name="T5" fmla="*/ 3 h 190"/>
                  <a:gd name="T6" fmla="*/ 5 w 403"/>
                  <a:gd name="T7" fmla="*/ 4 h 190"/>
                  <a:gd name="T8" fmla="*/ 6 w 403"/>
                  <a:gd name="T9" fmla="*/ 4 h 190"/>
                  <a:gd name="T10" fmla="*/ 8 w 403"/>
                  <a:gd name="T11" fmla="*/ 3 h 190"/>
                  <a:gd name="T12" fmla="*/ 9 w 403"/>
                  <a:gd name="T13" fmla="*/ 4 h 190"/>
                  <a:gd name="T14" fmla="*/ 9 w 403"/>
                  <a:gd name="T15" fmla="*/ 3 h 190"/>
                  <a:gd name="T16" fmla="*/ 7 w 403"/>
                  <a:gd name="T17" fmla="*/ 3 h 190"/>
                  <a:gd name="T18" fmla="*/ 3 w 403"/>
                  <a:gd name="T19" fmla="*/ 0 h 190"/>
                  <a:gd name="T20" fmla="*/ 2 w 403"/>
                  <a:gd name="T21" fmla="*/ 0 h 190"/>
                  <a:gd name="T22" fmla="*/ 0 w 403"/>
                  <a:gd name="T23" fmla="*/ 1 h 1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3"/>
                  <a:gd name="T37" fmla="*/ 0 h 190"/>
                  <a:gd name="T38" fmla="*/ 403 w 403"/>
                  <a:gd name="T39" fmla="*/ 190 h 19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3" h="190">
                    <a:moveTo>
                      <a:pt x="0" y="47"/>
                    </a:moveTo>
                    <a:lnTo>
                      <a:pt x="72" y="135"/>
                    </a:lnTo>
                    <a:lnTo>
                      <a:pt x="184" y="134"/>
                    </a:lnTo>
                    <a:lnTo>
                      <a:pt x="201" y="171"/>
                    </a:lnTo>
                    <a:lnTo>
                      <a:pt x="251" y="190"/>
                    </a:lnTo>
                    <a:lnTo>
                      <a:pt x="340" y="146"/>
                    </a:lnTo>
                    <a:lnTo>
                      <a:pt x="392" y="155"/>
                    </a:lnTo>
                    <a:lnTo>
                      <a:pt x="403" y="117"/>
                    </a:lnTo>
                    <a:lnTo>
                      <a:pt x="306" y="106"/>
                    </a:lnTo>
                    <a:lnTo>
                      <a:pt x="110" y="17"/>
                    </a:lnTo>
                    <a:lnTo>
                      <a:pt x="87" y="0"/>
                    </a:lnTo>
                    <a:lnTo>
                      <a:pt x="0" y="4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6" name="Freeform 338"/>
              <p:cNvSpPr/>
              <p:nvPr/>
            </p:nvSpPr>
            <p:spPr bwMode="auto">
              <a:xfrm>
                <a:off x="1835" y="2266"/>
                <a:ext cx="29" cy="50"/>
              </a:xfrm>
              <a:custGeom>
                <a:avLst/>
                <a:gdLst>
                  <a:gd name="T0" fmla="*/ 0 w 100"/>
                  <a:gd name="T1" fmla="*/ 3 h 175"/>
                  <a:gd name="T2" fmla="*/ 0 w 100"/>
                  <a:gd name="T3" fmla="*/ 1 h 175"/>
                  <a:gd name="T4" fmla="*/ 2 w 100"/>
                  <a:gd name="T5" fmla="*/ 0 h 175"/>
                  <a:gd name="T6" fmla="*/ 2 w 100"/>
                  <a:gd name="T7" fmla="*/ 2 h 175"/>
                  <a:gd name="T8" fmla="*/ 2 w 100"/>
                  <a:gd name="T9" fmla="*/ 2 h 175"/>
                  <a:gd name="T10" fmla="*/ 1 w 100"/>
                  <a:gd name="T11" fmla="*/ 3 h 175"/>
                  <a:gd name="T12" fmla="*/ 1 w 100"/>
                  <a:gd name="T13" fmla="*/ 4 h 175"/>
                  <a:gd name="T14" fmla="*/ 0 w 100"/>
                  <a:gd name="T15" fmla="*/ 4 h 175"/>
                  <a:gd name="T16" fmla="*/ 0 w 100"/>
                  <a:gd name="T17" fmla="*/ 3 h 1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0"/>
                  <a:gd name="T28" fmla="*/ 0 h 175"/>
                  <a:gd name="T29" fmla="*/ 100 w 100"/>
                  <a:gd name="T30" fmla="*/ 175 h 1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0" h="175">
                    <a:moveTo>
                      <a:pt x="0" y="133"/>
                    </a:moveTo>
                    <a:lnTo>
                      <a:pt x="6" y="47"/>
                    </a:lnTo>
                    <a:lnTo>
                      <a:pt x="87" y="0"/>
                    </a:lnTo>
                    <a:lnTo>
                      <a:pt x="72" y="69"/>
                    </a:lnTo>
                    <a:lnTo>
                      <a:pt x="100" y="89"/>
                    </a:lnTo>
                    <a:lnTo>
                      <a:pt x="48" y="127"/>
                    </a:lnTo>
                    <a:lnTo>
                      <a:pt x="46" y="175"/>
                    </a:lnTo>
                    <a:lnTo>
                      <a:pt x="16" y="175"/>
                    </a:lnTo>
                    <a:lnTo>
                      <a:pt x="0" y="13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7" name="Freeform 339"/>
              <p:cNvSpPr/>
              <p:nvPr/>
            </p:nvSpPr>
            <p:spPr bwMode="auto">
              <a:xfrm>
                <a:off x="1854" y="2304"/>
                <a:ext cx="10" cy="6"/>
              </a:xfrm>
              <a:custGeom>
                <a:avLst/>
                <a:gdLst>
                  <a:gd name="T0" fmla="*/ 0 w 36"/>
                  <a:gd name="T1" fmla="*/ 1 h 22"/>
                  <a:gd name="T2" fmla="*/ 1 w 36"/>
                  <a:gd name="T3" fmla="*/ 0 h 22"/>
                  <a:gd name="T4" fmla="*/ 1 w 36"/>
                  <a:gd name="T5" fmla="*/ 0 h 22"/>
                  <a:gd name="T6" fmla="*/ 0 w 36"/>
                  <a:gd name="T7" fmla="*/ 1 h 22"/>
                  <a:gd name="T8" fmla="*/ 0 60000 65536"/>
                  <a:gd name="T9" fmla="*/ 0 60000 65536"/>
                  <a:gd name="T10" fmla="*/ 0 60000 65536"/>
                  <a:gd name="T11" fmla="*/ 0 60000 65536"/>
                  <a:gd name="T12" fmla="*/ 0 w 36"/>
                  <a:gd name="T13" fmla="*/ 0 h 22"/>
                  <a:gd name="T14" fmla="*/ 36 w 36"/>
                  <a:gd name="T15" fmla="*/ 22 h 22"/>
                </a:gdLst>
                <a:ahLst/>
                <a:cxnLst>
                  <a:cxn ang="T8">
                    <a:pos x="T0" y="T1"/>
                  </a:cxn>
                  <a:cxn ang="T9">
                    <a:pos x="T2" y="T3"/>
                  </a:cxn>
                  <a:cxn ang="T10">
                    <a:pos x="T4" y="T5"/>
                  </a:cxn>
                  <a:cxn ang="T11">
                    <a:pos x="T6" y="T7"/>
                  </a:cxn>
                </a:cxnLst>
                <a:rect l="T12" t="T13" r="T14" b="T15"/>
                <a:pathLst>
                  <a:path w="36" h="22">
                    <a:moveTo>
                      <a:pt x="0" y="22"/>
                    </a:moveTo>
                    <a:lnTo>
                      <a:pt x="30" y="0"/>
                    </a:lnTo>
                    <a:lnTo>
                      <a:pt x="36" y="14"/>
                    </a:lnTo>
                    <a:lnTo>
                      <a:pt x="0" y="2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8" name="Freeform 340"/>
              <p:cNvSpPr/>
              <p:nvPr/>
            </p:nvSpPr>
            <p:spPr bwMode="auto">
              <a:xfrm>
                <a:off x="1868" y="2293"/>
                <a:ext cx="17" cy="21"/>
              </a:xfrm>
              <a:custGeom>
                <a:avLst/>
                <a:gdLst>
                  <a:gd name="T0" fmla="*/ 0 w 61"/>
                  <a:gd name="T1" fmla="*/ 1 h 74"/>
                  <a:gd name="T2" fmla="*/ 1 w 61"/>
                  <a:gd name="T3" fmla="*/ 2 h 74"/>
                  <a:gd name="T4" fmla="*/ 1 w 61"/>
                  <a:gd name="T5" fmla="*/ 1 h 74"/>
                  <a:gd name="T6" fmla="*/ 1 w 61"/>
                  <a:gd name="T7" fmla="*/ 0 h 74"/>
                  <a:gd name="T8" fmla="*/ 0 w 61"/>
                  <a:gd name="T9" fmla="*/ 1 h 74"/>
                  <a:gd name="T10" fmla="*/ 0 60000 65536"/>
                  <a:gd name="T11" fmla="*/ 0 60000 65536"/>
                  <a:gd name="T12" fmla="*/ 0 60000 65536"/>
                  <a:gd name="T13" fmla="*/ 0 60000 65536"/>
                  <a:gd name="T14" fmla="*/ 0 60000 65536"/>
                  <a:gd name="T15" fmla="*/ 0 w 61"/>
                  <a:gd name="T16" fmla="*/ 0 h 74"/>
                  <a:gd name="T17" fmla="*/ 61 w 61"/>
                  <a:gd name="T18" fmla="*/ 74 h 74"/>
                </a:gdLst>
                <a:ahLst/>
                <a:cxnLst>
                  <a:cxn ang="T10">
                    <a:pos x="T0" y="T1"/>
                  </a:cxn>
                  <a:cxn ang="T11">
                    <a:pos x="T2" y="T3"/>
                  </a:cxn>
                  <a:cxn ang="T12">
                    <a:pos x="T4" y="T5"/>
                  </a:cxn>
                  <a:cxn ang="T13">
                    <a:pos x="T6" y="T7"/>
                  </a:cxn>
                  <a:cxn ang="T14">
                    <a:pos x="T8" y="T9"/>
                  </a:cxn>
                </a:cxnLst>
                <a:rect l="T15" t="T16" r="T17" b="T18"/>
                <a:pathLst>
                  <a:path w="61" h="74">
                    <a:moveTo>
                      <a:pt x="0" y="39"/>
                    </a:moveTo>
                    <a:lnTo>
                      <a:pt x="48" y="74"/>
                    </a:lnTo>
                    <a:lnTo>
                      <a:pt x="61" y="38"/>
                    </a:lnTo>
                    <a:lnTo>
                      <a:pt x="52" y="0"/>
                    </a:lnTo>
                    <a:lnTo>
                      <a:pt x="0" y="3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9" name="Freeform 341"/>
              <p:cNvSpPr/>
              <p:nvPr/>
            </p:nvSpPr>
            <p:spPr bwMode="auto">
              <a:xfrm>
                <a:off x="1970" y="2019"/>
                <a:ext cx="119" cy="207"/>
              </a:xfrm>
              <a:custGeom>
                <a:avLst/>
                <a:gdLst>
                  <a:gd name="T0" fmla="*/ 0 w 416"/>
                  <a:gd name="T1" fmla="*/ 2 h 726"/>
                  <a:gd name="T2" fmla="*/ 1 w 416"/>
                  <a:gd name="T3" fmla="*/ 1 h 726"/>
                  <a:gd name="T4" fmla="*/ 2 w 416"/>
                  <a:gd name="T5" fmla="*/ 2 h 726"/>
                  <a:gd name="T6" fmla="*/ 3 w 416"/>
                  <a:gd name="T7" fmla="*/ 3 h 726"/>
                  <a:gd name="T8" fmla="*/ 5 w 416"/>
                  <a:gd name="T9" fmla="*/ 2 h 726"/>
                  <a:gd name="T10" fmla="*/ 5 w 416"/>
                  <a:gd name="T11" fmla="*/ 0 h 726"/>
                  <a:gd name="T12" fmla="*/ 7 w 416"/>
                  <a:gd name="T13" fmla="*/ 0 h 726"/>
                  <a:gd name="T14" fmla="*/ 8 w 416"/>
                  <a:gd name="T15" fmla="*/ 1 h 726"/>
                  <a:gd name="T16" fmla="*/ 7 w 416"/>
                  <a:gd name="T17" fmla="*/ 2 h 726"/>
                  <a:gd name="T18" fmla="*/ 7 w 416"/>
                  <a:gd name="T19" fmla="*/ 3 h 726"/>
                  <a:gd name="T20" fmla="*/ 9 w 416"/>
                  <a:gd name="T21" fmla="*/ 4 h 726"/>
                  <a:gd name="T22" fmla="*/ 8 w 416"/>
                  <a:gd name="T23" fmla="*/ 5 h 726"/>
                  <a:gd name="T24" fmla="*/ 9 w 416"/>
                  <a:gd name="T25" fmla="*/ 7 h 726"/>
                  <a:gd name="T26" fmla="*/ 8 w 416"/>
                  <a:gd name="T27" fmla="*/ 9 h 726"/>
                  <a:gd name="T28" fmla="*/ 10 w 416"/>
                  <a:gd name="T29" fmla="*/ 13 h 726"/>
                  <a:gd name="T30" fmla="*/ 6 w 416"/>
                  <a:gd name="T31" fmla="*/ 16 h 726"/>
                  <a:gd name="T32" fmla="*/ 2 w 416"/>
                  <a:gd name="T33" fmla="*/ 17 h 726"/>
                  <a:gd name="T34" fmla="*/ 2 w 416"/>
                  <a:gd name="T35" fmla="*/ 16 h 726"/>
                  <a:gd name="T36" fmla="*/ 1 w 416"/>
                  <a:gd name="T37" fmla="*/ 16 h 726"/>
                  <a:gd name="T38" fmla="*/ 1 w 416"/>
                  <a:gd name="T39" fmla="*/ 12 h 726"/>
                  <a:gd name="T40" fmla="*/ 4 w 416"/>
                  <a:gd name="T41" fmla="*/ 9 h 726"/>
                  <a:gd name="T42" fmla="*/ 3 w 416"/>
                  <a:gd name="T43" fmla="*/ 7 h 726"/>
                  <a:gd name="T44" fmla="*/ 3 w 416"/>
                  <a:gd name="T45" fmla="*/ 4 h 726"/>
                  <a:gd name="T46" fmla="*/ 0 w 416"/>
                  <a:gd name="T47" fmla="*/ 2 h 7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6"/>
                  <a:gd name="T73" fmla="*/ 0 h 726"/>
                  <a:gd name="T74" fmla="*/ 416 w 416"/>
                  <a:gd name="T75" fmla="*/ 726 h 7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6" h="726">
                    <a:moveTo>
                      <a:pt x="0" y="76"/>
                    </a:moveTo>
                    <a:lnTo>
                      <a:pt x="27" y="55"/>
                    </a:lnTo>
                    <a:lnTo>
                      <a:pt x="72" y="97"/>
                    </a:lnTo>
                    <a:lnTo>
                      <a:pt x="151" y="105"/>
                    </a:lnTo>
                    <a:lnTo>
                      <a:pt x="196" y="79"/>
                    </a:lnTo>
                    <a:lnTo>
                      <a:pt x="208" y="17"/>
                    </a:lnTo>
                    <a:lnTo>
                      <a:pt x="284" y="0"/>
                    </a:lnTo>
                    <a:lnTo>
                      <a:pt x="324" y="25"/>
                    </a:lnTo>
                    <a:lnTo>
                      <a:pt x="319" y="76"/>
                    </a:lnTo>
                    <a:lnTo>
                      <a:pt x="303" y="126"/>
                    </a:lnTo>
                    <a:lnTo>
                      <a:pt x="362" y="190"/>
                    </a:lnTo>
                    <a:lnTo>
                      <a:pt x="325" y="236"/>
                    </a:lnTo>
                    <a:lnTo>
                      <a:pt x="365" y="316"/>
                    </a:lnTo>
                    <a:lnTo>
                      <a:pt x="353" y="387"/>
                    </a:lnTo>
                    <a:lnTo>
                      <a:pt x="416" y="537"/>
                    </a:lnTo>
                    <a:lnTo>
                      <a:pt x="269" y="680"/>
                    </a:lnTo>
                    <a:lnTo>
                      <a:pt x="94" y="726"/>
                    </a:lnTo>
                    <a:lnTo>
                      <a:pt x="83" y="697"/>
                    </a:lnTo>
                    <a:lnTo>
                      <a:pt x="27" y="674"/>
                    </a:lnTo>
                    <a:lnTo>
                      <a:pt x="20" y="533"/>
                    </a:lnTo>
                    <a:lnTo>
                      <a:pt x="189" y="381"/>
                    </a:lnTo>
                    <a:lnTo>
                      <a:pt x="134" y="306"/>
                    </a:lnTo>
                    <a:lnTo>
                      <a:pt x="112" y="155"/>
                    </a:lnTo>
                    <a:lnTo>
                      <a:pt x="0" y="7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30" name="Freeform 342"/>
              <p:cNvSpPr/>
              <p:nvPr/>
            </p:nvSpPr>
            <p:spPr bwMode="auto">
              <a:xfrm>
                <a:off x="1698" y="2380"/>
                <a:ext cx="137" cy="138"/>
              </a:xfrm>
              <a:custGeom>
                <a:avLst/>
                <a:gdLst>
                  <a:gd name="T0" fmla="*/ 0 w 482"/>
                  <a:gd name="T1" fmla="*/ 3 h 484"/>
                  <a:gd name="T2" fmla="*/ 0 w 482"/>
                  <a:gd name="T3" fmla="*/ 4 h 484"/>
                  <a:gd name="T4" fmla="*/ 3 w 482"/>
                  <a:gd name="T5" fmla="*/ 5 h 484"/>
                  <a:gd name="T6" fmla="*/ 2 w 482"/>
                  <a:gd name="T7" fmla="*/ 6 h 484"/>
                  <a:gd name="T8" fmla="*/ 3 w 482"/>
                  <a:gd name="T9" fmla="*/ 6 h 484"/>
                  <a:gd name="T10" fmla="*/ 3 w 482"/>
                  <a:gd name="T11" fmla="*/ 8 h 484"/>
                  <a:gd name="T12" fmla="*/ 3 w 482"/>
                  <a:gd name="T13" fmla="*/ 10 h 484"/>
                  <a:gd name="T14" fmla="*/ 5 w 482"/>
                  <a:gd name="T15" fmla="*/ 11 h 484"/>
                  <a:gd name="T16" fmla="*/ 5 w 482"/>
                  <a:gd name="T17" fmla="*/ 11 h 484"/>
                  <a:gd name="T18" fmla="*/ 7 w 482"/>
                  <a:gd name="T19" fmla="*/ 11 h 484"/>
                  <a:gd name="T20" fmla="*/ 7 w 482"/>
                  <a:gd name="T21" fmla="*/ 10 h 484"/>
                  <a:gd name="T22" fmla="*/ 8 w 482"/>
                  <a:gd name="T23" fmla="*/ 10 h 484"/>
                  <a:gd name="T24" fmla="*/ 9 w 482"/>
                  <a:gd name="T25" fmla="*/ 10 h 484"/>
                  <a:gd name="T26" fmla="*/ 11 w 482"/>
                  <a:gd name="T27" fmla="*/ 9 h 484"/>
                  <a:gd name="T28" fmla="*/ 10 w 482"/>
                  <a:gd name="T29" fmla="*/ 8 h 484"/>
                  <a:gd name="T30" fmla="*/ 10 w 482"/>
                  <a:gd name="T31" fmla="*/ 7 h 484"/>
                  <a:gd name="T32" fmla="*/ 9 w 482"/>
                  <a:gd name="T33" fmla="*/ 6 h 484"/>
                  <a:gd name="T34" fmla="*/ 11 w 482"/>
                  <a:gd name="T35" fmla="*/ 5 h 484"/>
                  <a:gd name="T36" fmla="*/ 11 w 482"/>
                  <a:gd name="T37" fmla="*/ 3 h 484"/>
                  <a:gd name="T38" fmla="*/ 9 w 482"/>
                  <a:gd name="T39" fmla="*/ 2 h 484"/>
                  <a:gd name="T40" fmla="*/ 9 w 482"/>
                  <a:gd name="T41" fmla="*/ 2 h 484"/>
                  <a:gd name="T42" fmla="*/ 7 w 482"/>
                  <a:gd name="T43" fmla="*/ 0 h 484"/>
                  <a:gd name="T44" fmla="*/ 6 w 482"/>
                  <a:gd name="T45" fmla="*/ 0 h 484"/>
                  <a:gd name="T46" fmla="*/ 5 w 482"/>
                  <a:gd name="T47" fmla="*/ 2 h 484"/>
                  <a:gd name="T48" fmla="*/ 3 w 482"/>
                  <a:gd name="T49" fmla="*/ 2 h 484"/>
                  <a:gd name="T50" fmla="*/ 3 w 482"/>
                  <a:gd name="T51" fmla="*/ 3 h 484"/>
                  <a:gd name="T52" fmla="*/ 0 w 482"/>
                  <a:gd name="T53" fmla="*/ 3 h 4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2"/>
                  <a:gd name="T82" fmla="*/ 0 h 484"/>
                  <a:gd name="T83" fmla="*/ 482 w 482"/>
                  <a:gd name="T84" fmla="*/ 484 h 4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2" h="484">
                    <a:moveTo>
                      <a:pt x="0" y="147"/>
                    </a:moveTo>
                    <a:lnTo>
                      <a:pt x="15" y="189"/>
                    </a:lnTo>
                    <a:lnTo>
                      <a:pt x="115" y="219"/>
                    </a:lnTo>
                    <a:lnTo>
                      <a:pt x="96" y="242"/>
                    </a:lnTo>
                    <a:lnTo>
                      <a:pt x="135" y="275"/>
                    </a:lnTo>
                    <a:lnTo>
                      <a:pt x="150" y="327"/>
                    </a:lnTo>
                    <a:lnTo>
                      <a:pt x="107" y="430"/>
                    </a:lnTo>
                    <a:lnTo>
                      <a:pt x="228" y="472"/>
                    </a:lnTo>
                    <a:lnTo>
                      <a:pt x="240" y="477"/>
                    </a:lnTo>
                    <a:lnTo>
                      <a:pt x="297" y="484"/>
                    </a:lnTo>
                    <a:lnTo>
                      <a:pt x="297" y="444"/>
                    </a:lnTo>
                    <a:lnTo>
                      <a:pt x="330" y="421"/>
                    </a:lnTo>
                    <a:lnTo>
                      <a:pt x="408" y="448"/>
                    </a:lnTo>
                    <a:lnTo>
                      <a:pt x="456" y="407"/>
                    </a:lnTo>
                    <a:lnTo>
                      <a:pt x="430" y="348"/>
                    </a:lnTo>
                    <a:lnTo>
                      <a:pt x="441" y="293"/>
                    </a:lnTo>
                    <a:lnTo>
                      <a:pt x="402" y="261"/>
                    </a:lnTo>
                    <a:lnTo>
                      <a:pt x="456" y="195"/>
                    </a:lnTo>
                    <a:lnTo>
                      <a:pt x="482" y="123"/>
                    </a:lnTo>
                    <a:lnTo>
                      <a:pt x="410" y="92"/>
                    </a:lnTo>
                    <a:lnTo>
                      <a:pt x="392" y="84"/>
                    </a:lnTo>
                    <a:lnTo>
                      <a:pt x="280" y="0"/>
                    </a:lnTo>
                    <a:lnTo>
                      <a:pt x="244" y="15"/>
                    </a:lnTo>
                    <a:lnTo>
                      <a:pt x="197" y="96"/>
                    </a:lnTo>
                    <a:lnTo>
                      <a:pt x="104" y="81"/>
                    </a:lnTo>
                    <a:lnTo>
                      <a:pt x="122" y="143"/>
                    </a:lnTo>
                    <a:lnTo>
                      <a:pt x="0" y="14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34" name="Freeform 343"/>
              <p:cNvSpPr/>
              <p:nvPr/>
            </p:nvSpPr>
            <p:spPr bwMode="auto">
              <a:xfrm>
                <a:off x="1840" y="2508"/>
                <a:ext cx="9" cy="25"/>
              </a:xfrm>
              <a:custGeom>
                <a:avLst/>
                <a:gdLst>
                  <a:gd name="T0" fmla="*/ 0 w 31"/>
                  <a:gd name="T1" fmla="*/ 1 h 89"/>
                  <a:gd name="T2" fmla="*/ 1 w 31"/>
                  <a:gd name="T3" fmla="*/ 2 h 89"/>
                  <a:gd name="T4" fmla="*/ 1 w 31"/>
                  <a:gd name="T5" fmla="*/ 0 h 89"/>
                  <a:gd name="T6" fmla="*/ 0 w 31"/>
                  <a:gd name="T7" fmla="*/ 1 h 89"/>
                  <a:gd name="T8" fmla="*/ 0 60000 65536"/>
                  <a:gd name="T9" fmla="*/ 0 60000 65536"/>
                  <a:gd name="T10" fmla="*/ 0 60000 65536"/>
                  <a:gd name="T11" fmla="*/ 0 60000 65536"/>
                  <a:gd name="T12" fmla="*/ 0 w 31"/>
                  <a:gd name="T13" fmla="*/ 0 h 89"/>
                  <a:gd name="T14" fmla="*/ 31 w 31"/>
                  <a:gd name="T15" fmla="*/ 89 h 89"/>
                </a:gdLst>
                <a:ahLst/>
                <a:cxnLst>
                  <a:cxn ang="T8">
                    <a:pos x="T0" y="T1"/>
                  </a:cxn>
                  <a:cxn ang="T9">
                    <a:pos x="T2" y="T3"/>
                  </a:cxn>
                  <a:cxn ang="T10">
                    <a:pos x="T4" y="T5"/>
                  </a:cxn>
                  <a:cxn ang="T11">
                    <a:pos x="T6" y="T7"/>
                  </a:cxn>
                </a:cxnLst>
                <a:rect l="T12" t="T13" r="T14" b="T15"/>
                <a:pathLst>
                  <a:path w="31" h="89">
                    <a:moveTo>
                      <a:pt x="0" y="46"/>
                    </a:moveTo>
                    <a:lnTo>
                      <a:pt x="28" y="89"/>
                    </a:lnTo>
                    <a:lnTo>
                      <a:pt x="31" y="0"/>
                    </a:lnTo>
                    <a:lnTo>
                      <a:pt x="0" y="4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35" name="Freeform 344"/>
              <p:cNvSpPr/>
              <p:nvPr/>
            </p:nvSpPr>
            <p:spPr bwMode="auto">
              <a:xfrm>
                <a:off x="1811" y="2316"/>
                <a:ext cx="96" cy="122"/>
              </a:xfrm>
              <a:custGeom>
                <a:avLst/>
                <a:gdLst>
                  <a:gd name="T0" fmla="*/ 0 w 335"/>
                  <a:gd name="T1" fmla="*/ 4 h 429"/>
                  <a:gd name="T2" fmla="*/ 0 w 335"/>
                  <a:gd name="T3" fmla="*/ 6 h 429"/>
                  <a:gd name="T4" fmla="*/ 0 w 335"/>
                  <a:gd name="T5" fmla="*/ 6 h 429"/>
                  <a:gd name="T6" fmla="*/ 0 w 335"/>
                  <a:gd name="T7" fmla="*/ 7 h 429"/>
                  <a:gd name="T8" fmla="*/ 2 w 335"/>
                  <a:gd name="T9" fmla="*/ 8 h 429"/>
                  <a:gd name="T10" fmla="*/ 1 w 335"/>
                  <a:gd name="T11" fmla="*/ 10 h 429"/>
                  <a:gd name="T12" fmla="*/ 3 w 335"/>
                  <a:gd name="T13" fmla="*/ 10 h 429"/>
                  <a:gd name="T14" fmla="*/ 6 w 335"/>
                  <a:gd name="T15" fmla="*/ 10 h 429"/>
                  <a:gd name="T16" fmla="*/ 7 w 335"/>
                  <a:gd name="T17" fmla="*/ 8 h 429"/>
                  <a:gd name="T18" fmla="*/ 5 w 335"/>
                  <a:gd name="T19" fmla="*/ 6 h 429"/>
                  <a:gd name="T20" fmla="*/ 7 w 335"/>
                  <a:gd name="T21" fmla="*/ 5 h 429"/>
                  <a:gd name="T22" fmla="*/ 8 w 335"/>
                  <a:gd name="T23" fmla="*/ 5 h 429"/>
                  <a:gd name="T24" fmla="*/ 7 w 335"/>
                  <a:gd name="T25" fmla="*/ 1 h 429"/>
                  <a:gd name="T26" fmla="*/ 6 w 335"/>
                  <a:gd name="T27" fmla="*/ 1 h 429"/>
                  <a:gd name="T28" fmla="*/ 4 w 335"/>
                  <a:gd name="T29" fmla="*/ 1 h 429"/>
                  <a:gd name="T30" fmla="*/ 4 w 335"/>
                  <a:gd name="T31" fmla="*/ 1 h 429"/>
                  <a:gd name="T32" fmla="*/ 3 w 335"/>
                  <a:gd name="T33" fmla="*/ 0 h 429"/>
                  <a:gd name="T34" fmla="*/ 2 w 335"/>
                  <a:gd name="T35" fmla="*/ 0 h 429"/>
                  <a:gd name="T36" fmla="*/ 2 w 335"/>
                  <a:gd name="T37" fmla="*/ 2 h 429"/>
                  <a:gd name="T38" fmla="*/ 1 w 335"/>
                  <a:gd name="T39" fmla="*/ 2 h 429"/>
                  <a:gd name="T40" fmla="*/ 1 w 335"/>
                  <a:gd name="T41" fmla="*/ 2 h 429"/>
                  <a:gd name="T42" fmla="*/ 1 w 335"/>
                  <a:gd name="T43" fmla="*/ 4 h 429"/>
                  <a:gd name="T44" fmla="*/ 0 w 335"/>
                  <a:gd name="T45" fmla="*/ 4 h 4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5"/>
                  <a:gd name="T70" fmla="*/ 0 h 429"/>
                  <a:gd name="T71" fmla="*/ 335 w 335"/>
                  <a:gd name="T72" fmla="*/ 429 h 42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5" h="429">
                    <a:moveTo>
                      <a:pt x="0" y="178"/>
                    </a:moveTo>
                    <a:lnTo>
                      <a:pt x="2" y="247"/>
                    </a:lnTo>
                    <a:lnTo>
                      <a:pt x="5" y="279"/>
                    </a:lnTo>
                    <a:lnTo>
                      <a:pt x="10" y="317"/>
                    </a:lnTo>
                    <a:lnTo>
                      <a:pt x="82" y="348"/>
                    </a:lnTo>
                    <a:lnTo>
                      <a:pt x="56" y="420"/>
                    </a:lnTo>
                    <a:lnTo>
                      <a:pt x="130" y="429"/>
                    </a:lnTo>
                    <a:lnTo>
                      <a:pt x="262" y="428"/>
                    </a:lnTo>
                    <a:lnTo>
                      <a:pt x="297" y="359"/>
                    </a:lnTo>
                    <a:lnTo>
                      <a:pt x="225" y="271"/>
                    </a:lnTo>
                    <a:lnTo>
                      <a:pt x="309" y="224"/>
                    </a:lnTo>
                    <a:lnTo>
                      <a:pt x="335" y="237"/>
                    </a:lnTo>
                    <a:lnTo>
                      <a:pt x="309" y="65"/>
                    </a:lnTo>
                    <a:lnTo>
                      <a:pt x="250" y="23"/>
                    </a:lnTo>
                    <a:lnTo>
                      <a:pt x="180" y="53"/>
                    </a:lnTo>
                    <a:lnTo>
                      <a:pt x="189" y="33"/>
                    </a:lnTo>
                    <a:lnTo>
                      <a:pt x="130" y="0"/>
                    </a:lnTo>
                    <a:lnTo>
                      <a:pt x="100" y="0"/>
                    </a:lnTo>
                    <a:lnTo>
                      <a:pt x="99" y="95"/>
                    </a:lnTo>
                    <a:lnTo>
                      <a:pt x="67" y="69"/>
                    </a:lnTo>
                    <a:lnTo>
                      <a:pt x="45" y="99"/>
                    </a:lnTo>
                    <a:lnTo>
                      <a:pt x="41" y="156"/>
                    </a:lnTo>
                    <a:lnTo>
                      <a:pt x="0" y="17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36" name="Freeform 345"/>
              <p:cNvSpPr/>
              <p:nvPr/>
            </p:nvSpPr>
            <p:spPr bwMode="auto">
              <a:xfrm>
                <a:off x="1966" y="2527"/>
                <a:ext cx="68" cy="79"/>
              </a:xfrm>
              <a:custGeom>
                <a:avLst/>
                <a:gdLst>
                  <a:gd name="T0" fmla="*/ 0 w 241"/>
                  <a:gd name="T1" fmla="*/ 3 h 276"/>
                  <a:gd name="T2" fmla="*/ 1 w 241"/>
                  <a:gd name="T3" fmla="*/ 1 h 276"/>
                  <a:gd name="T4" fmla="*/ 3 w 241"/>
                  <a:gd name="T5" fmla="*/ 1 h 276"/>
                  <a:gd name="T6" fmla="*/ 5 w 241"/>
                  <a:gd name="T7" fmla="*/ 1 h 276"/>
                  <a:gd name="T8" fmla="*/ 5 w 241"/>
                  <a:gd name="T9" fmla="*/ 0 h 276"/>
                  <a:gd name="T10" fmla="*/ 5 w 241"/>
                  <a:gd name="T11" fmla="*/ 1 h 276"/>
                  <a:gd name="T12" fmla="*/ 4 w 241"/>
                  <a:gd name="T13" fmla="*/ 1 h 276"/>
                  <a:gd name="T14" fmla="*/ 3 w 241"/>
                  <a:gd name="T15" fmla="*/ 2 h 276"/>
                  <a:gd name="T16" fmla="*/ 2 w 241"/>
                  <a:gd name="T17" fmla="*/ 1 h 276"/>
                  <a:gd name="T18" fmla="*/ 3 w 241"/>
                  <a:gd name="T19" fmla="*/ 3 h 276"/>
                  <a:gd name="T20" fmla="*/ 2 w 241"/>
                  <a:gd name="T21" fmla="*/ 4 h 276"/>
                  <a:gd name="T22" fmla="*/ 3 w 241"/>
                  <a:gd name="T23" fmla="*/ 4 h 276"/>
                  <a:gd name="T24" fmla="*/ 3 w 241"/>
                  <a:gd name="T25" fmla="*/ 5 h 276"/>
                  <a:gd name="T26" fmla="*/ 2 w 241"/>
                  <a:gd name="T27" fmla="*/ 5 h 276"/>
                  <a:gd name="T28" fmla="*/ 3 w 241"/>
                  <a:gd name="T29" fmla="*/ 7 h 276"/>
                  <a:gd name="T30" fmla="*/ 1 w 241"/>
                  <a:gd name="T31" fmla="*/ 6 h 276"/>
                  <a:gd name="T32" fmla="*/ 1 w 241"/>
                  <a:gd name="T33" fmla="*/ 5 h 276"/>
                  <a:gd name="T34" fmla="*/ 3 w 241"/>
                  <a:gd name="T35" fmla="*/ 4 h 276"/>
                  <a:gd name="T36" fmla="*/ 1 w 241"/>
                  <a:gd name="T37" fmla="*/ 4 h 276"/>
                  <a:gd name="T38" fmla="*/ 0 w 241"/>
                  <a:gd name="T39" fmla="*/ 3 h 2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1"/>
                  <a:gd name="T61" fmla="*/ 0 h 276"/>
                  <a:gd name="T62" fmla="*/ 241 w 241"/>
                  <a:gd name="T63" fmla="*/ 276 h 2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1" h="276">
                    <a:moveTo>
                      <a:pt x="0" y="110"/>
                    </a:moveTo>
                    <a:lnTo>
                      <a:pt x="36" y="47"/>
                    </a:lnTo>
                    <a:lnTo>
                      <a:pt x="111" y="23"/>
                    </a:lnTo>
                    <a:lnTo>
                      <a:pt x="206" y="26"/>
                    </a:lnTo>
                    <a:lnTo>
                      <a:pt x="241" y="0"/>
                    </a:lnTo>
                    <a:lnTo>
                      <a:pt x="227" y="57"/>
                    </a:lnTo>
                    <a:lnTo>
                      <a:pt x="162" y="45"/>
                    </a:lnTo>
                    <a:lnTo>
                      <a:pt x="131" y="93"/>
                    </a:lnTo>
                    <a:lnTo>
                      <a:pt x="98" y="66"/>
                    </a:lnTo>
                    <a:lnTo>
                      <a:pt x="121" y="141"/>
                    </a:lnTo>
                    <a:lnTo>
                      <a:pt x="90" y="154"/>
                    </a:lnTo>
                    <a:lnTo>
                      <a:pt x="151" y="187"/>
                    </a:lnTo>
                    <a:lnTo>
                      <a:pt x="151" y="214"/>
                    </a:lnTo>
                    <a:lnTo>
                      <a:pt x="100" y="223"/>
                    </a:lnTo>
                    <a:lnTo>
                      <a:pt x="116" y="276"/>
                    </a:lnTo>
                    <a:lnTo>
                      <a:pt x="59" y="258"/>
                    </a:lnTo>
                    <a:lnTo>
                      <a:pt x="42" y="208"/>
                    </a:lnTo>
                    <a:lnTo>
                      <a:pt x="117" y="189"/>
                    </a:lnTo>
                    <a:lnTo>
                      <a:pt x="42" y="181"/>
                    </a:lnTo>
                    <a:lnTo>
                      <a:pt x="0" y="11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37" name="Freeform 346"/>
              <p:cNvSpPr/>
              <p:nvPr/>
            </p:nvSpPr>
            <p:spPr bwMode="auto">
              <a:xfrm>
                <a:off x="2003" y="2619"/>
                <a:ext cx="31" cy="5"/>
              </a:xfrm>
              <a:custGeom>
                <a:avLst/>
                <a:gdLst>
                  <a:gd name="T0" fmla="*/ 0 w 112"/>
                  <a:gd name="T1" fmla="*/ 0 h 19"/>
                  <a:gd name="T2" fmla="*/ 0 w 112"/>
                  <a:gd name="T3" fmla="*/ 0 h 19"/>
                  <a:gd name="T4" fmla="*/ 2 w 112"/>
                  <a:gd name="T5" fmla="*/ 0 h 19"/>
                  <a:gd name="T6" fmla="*/ 1 w 112"/>
                  <a:gd name="T7" fmla="*/ 0 h 19"/>
                  <a:gd name="T8" fmla="*/ 0 w 112"/>
                  <a:gd name="T9" fmla="*/ 0 h 19"/>
                  <a:gd name="T10" fmla="*/ 0 60000 65536"/>
                  <a:gd name="T11" fmla="*/ 0 60000 65536"/>
                  <a:gd name="T12" fmla="*/ 0 60000 65536"/>
                  <a:gd name="T13" fmla="*/ 0 60000 65536"/>
                  <a:gd name="T14" fmla="*/ 0 60000 65536"/>
                  <a:gd name="T15" fmla="*/ 0 w 112"/>
                  <a:gd name="T16" fmla="*/ 0 h 19"/>
                  <a:gd name="T17" fmla="*/ 112 w 112"/>
                  <a:gd name="T18" fmla="*/ 19 h 19"/>
                </a:gdLst>
                <a:ahLst/>
                <a:cxnLst>
                  <a:cxn ang="T10">
                    <a:pos x="T0" y="T1"/>
                  </a:cxn>
                  <a:cxn ang="T11">
                    <a:pos x="T2" y="T3"/>
                  </a:cxn>
                  <a:cxn ang="T12">
                    <a:pos x="T4" y="T5"/>
                  </a:cxn>
                  <a:cxn ang="T13">
                    <a:pos x="T6" y="T7"/>
                  </a:cxn>
                  <a:cxn ang="T14">
                    <a:pos x="T8" y="T9"/>
                  </a:cxn>
                </a:cxnLst>
                <a:rect l="T15" t="T16" r="T17" b="T18"/>
                <a:pathLst>
                  <a:path w="112" h="19">
                    <a:moveTo>
                      <a:pt x="0" y="19"/>
                    </a:moveTo>
                    <a:lnTo>
                      <a:pt x="10" y="0"/>
                    </a:lnTo>
                    <a:lnTo>
                      <a:pt x="112" y="19"/>
                    </a:lnTo>
                    <a:lnTo>
                      <a:pt x="34" y="19"/>
                    </a:lnTo>
                    <a:lnTo>
                      <a:pt x="0" y="1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38" name="Freeform 347"/>
              <p:cNvSpPr/>
              <p:nvPr/>
            </p:nvSpPr>
            <p:spPr bwMode="auto">
              <a:xfrm>
                <a:off x="1922" y="2422"/>
                <a:ext cx="72" cy="44"/>
              </a:xfrm>
              <a:custGeom>
                <a:avLst/>
                <a:gdLst>
                  <a:gd name="T0" fmla="*/ 0 w 254"/>
                  <a:gd name="T1" fmla="*/ 2 h 157"/>
                  <a:gd name="T2" fmla="*/ 1 w 254"/>
                  <a:gd name="T3" fmla="*/ 1 h 157"/>
                  <a:gd name="T4" fmla="*/ 2 w 254"/>
                  <a:gd name="T5" fmla="*/ 1 h 157"/>
                  <a:gd name="T6" fmla="*/ 4 w 254"/>
                  <a:gd name="T7" fmla="*/ 0 h 157"/>
                  <a:gd name="T8" fmla="*/ 5 w 254"/>
                  <a:gd name="T9" fmla="*/ 0 h 157"/>
                  <a:gd name="T10" fmla="*/ 6 w 254"/>
                  <a:gd name="T11" fmla="*/ 1 h 157"/>
                  <a:gd name="T12" fmla="*/ 3 w 254"/>
                  <a:gd name="T13" fmla="*/ 3 h 157"/>
                  <a:gd name="T14" fmla="*/ 2 w 254"/>
                  <a:gd name="T15" fmla="*/ 3 h 157"/>
                  <a:gd name="T16" fmla="*/ 0 w 254"/>
                  <a:gd name="T17" fmla="*/ 2 h 1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4"/>
                  <a:gd name="T28" fmla="*/ 0 h 157"/>
                  <a:gd name="T29" fmla="*/ 254 w 254"/>
                  <a:gd name="T30" fmla="*/ 157 h 1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4" h="157">
                    <a:moveTo>
                      <a:pt x="0" y="93"/>
                    </a:moveTo>
                    <a:lnTo>
                      <a:pt x="39" y="25"/>
                    </a:lnTo>
                    <a:lnTo>
                      <a:pt x="89" y="44"/>
                    </a:lnTo>
                    <a:lnTo>
                      <a:pt x="178" y="0"/>
                    </a:lnTo>
                    <a:lnTo>
                      <a:pt x="230" y="9"/>
                    </a:lnTo>
                    <a:lnTo>
                      <a:pt x="254" y="34"/>
                    </a:lnTo>
                    <a:lnTo>
                      <a:pt x="154" y="139"/>
                    </a:lnTo>
                    <a:lnTo>
                      <a:pt x="73" y="157"/>
                    </a:lnTo>
                    <a:lnTo>
                      <a:pt x="0" y="9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39" name="Freeform 348"/>
              <p:cNvSpPr/>
              <p:nvPr/>
            </p:nvSpPr>
            <p:spPr bwMode="auto">
              <a:xfrm>
                <a:off x="2488" y="2613"/>
                <a:ext cx="318" cy="369"/>
              </a:xfrm>
              <a:custGeom>
                <a:avLst/>
                <a:gdLst>
                  <a:gd name="T0" fmla="*/ 0 w 1118"/>
                  <a:gd name="T1" fmla="*/ 14 h 1294"/>
                  <a:gd name="T2" fmla="*/ 1 w 1118"/>
                  <a:gd name="T3" fmla="*/ 13 h 1294"/>
                  <a:gd name="T4" fmla="*/ 3 w 1118"/>
                  <a:gd name="T5" fmla="*/ 13 h 1294"/>
                  <a:gd name="T6" fmla="*/ 1 w 1118"/>
                  <a:gd name="T7" fmla="*/ 10 h 1294"/>
                  <a:gd name="T8" fmla="*/ 2 w 1118"/>
                  <a:gd name="T9" fmla="*/ 9 h 1294"/>
                  <a:gd name="T10" fmla="*/ 3 w 1118"/>
                  <a:gd name="T11" fmla="*/ 9 h 1294"/>
                  <a:gd name="T12" fmla="*/ 6 w 1118"/>
                  <a:gd name="T13" fmla="*/ 6 h 1294"/>
                  <a:gd name="T14" fmla="*/ 6 w 1118"/>
                  <a:gd name="T15" fmla="*/ 5 h 1294"/>
                  <a:gd name="T16" fmla="*/ 6 w 1118"/>
                  <a:gd name="T17" fmla="*/ 4 h 1294"/>
                  <a:gd name="T18" fmla="*/ 5 w 1118"/>
                  <a:gd name="T19" fmla="*/ 3 h 1294"/>
                  <a:gd name="T20" fmla="*/ 5 w 1118"/>
                  <a:gd name="T21" fmla="*/ 1 h 1294"/>
                  <a:gd name="T22" fmla="*/ 8 w 1118"/>
                  <a:gd name="T23" fmla="*/ 1 h 1294"/>
                  <a:gd name="T24" fmla="*/ 9 w 1118"/>
                  <a:gd name="T25" fmla="*/ 1 h 1294"/>
                  <a:gd name="T26" fmla="*/ 10 w 1118"/>
                  <a:gd name="T27" fmla="*/ 0 h 1294"/>
                  <a:gd name="T28" fmla="*/ 11 w 1118"/>
                  <a:gd name="T29" fmla="*/ 1 h 1294"/>
                  <a:gd name="T30" fmla="*/ 10 w 1118"/>
                  <a:gd name="T31" fmla="*/ 2 h 1294"/>
                  <a:gd name="T32" fmla="*/ 10 w 1118"/>
                  <a:gd name="T33" fmla="*/ 4 h 1294"/>
                  <a:gd name="T34" fmla="*/ 9 w 1118"/>
                  <a:gd name="T35" fmla="*/ 4 h 1294"/>
                  <a:gd name="T36" fmla="*/ 10 w 1118"/>
                  <a:gd name="T37" fmla="*/ 6 h 1294"/>
                  <a:gd name="T38" fmla="*/ 11 w 1118"/>
                  <a:gd name="T39" fmla="*/ 7 h 1294"/>
                  <a:gd name="T40" fmla="*/ 11 w 1118"/>
                  <a:gd name="T41" fmla="*/ 8 h 1294"/>
                  <a:gd name="T42" fmla="*/ 13 w 1118"/>
                  <a:gd name="T43" fmla="*/ 10 h 1294"/>
                  <a:gd name="T44" fmla="*/ 17 w 1118"/>
                  <a:gd name="T45" fmla="*/ 11 h 1294"/>
                  <a:gd name="T46" fmla="*/ 18 w 1118"/>
                  <a:gd name="T47" fmla="*/ 9 h 1294"/>
                  <a:gd name="T48" fmla="*/ 18 w 1118"/>
                  <a:gd name="T49" fmla="*/ 9 h 1294"/>
                  <a:gd name="T50" fmla="*/ 18 w 1118"/>
                  <a:gd name="T51" fmla="*/ 10 h 1294"/>
                  <a:gd name="T52" fmla="*/ 18 w 1118"/>
                  <a:gd name="T53" fmla="*/ 11 h 1294"/>
                  <a:gd name="T54" fmla="*/ 21 w 1118"/>
                  <a:gd name="T55" fmla="*/ 10 h 1294"/>
                  <a:gd name="T56" fmla="*/ 21 w 1118"/>
                  <a:gd name="T57" fmla="*/ 9 h 1294"/>
                  <a:gd name="T58" fmla="*/ 24 w 1118"/>
                  <a:gd name="T59" fmla="*/ 7 h 1294"/>
                  <a:gd name="T60" fmla="*/ 25 w 1118"/>
                  <a:gd name="T61" fmla="*/ 9 h 1294"/>
                  <a:gd name="T62" fmla="*/ 26 w 1118"/>
                  <a:gd name="T63" fmla="*/ 9 h 1294"/>
                  <a:gd name="T64" fmla="*/ 25 w 1118"/>
                  <a:gd name="T65" fmla="*/ 10 h 1294"/>
                  <a:gd name="T66" fmla="*/ 24 w 1118"/>
                  <a:gd name="T67" fmla="*/ 11 h 1294"/>
                  <a:gd name="T68" fmla="*/ 22 w 1118"/>
                  <a:gd name="T69" fmla="*/ 15 h 1294"/>
                  <a:gd name="T70" fmla="*/ 21 w 1118"/>
                  <a:gd name="T71" fmla="*/ 14 h 1294"/>
                  <a:gd name="T72" fmla="*/ 21 w 1118"/>
                  <a:gd name="T73" fmla="*/ 14 h 1294"/>
                  <a:gd name="T74" fmla="*/ 20 w 1118"/>
                  <a:gd name="T75" fmla="*/ 13 h 1294"/>
                  <a:gd name="T76" fmla="*/ 21 w 1118"/>
                  <a:gd name="T77" fmla="*/ 12 h 1294"/>
                  <a:gd name="T78" fmla="*/ 19 w 1118"/>
                  <a:gd name="T79" fmla="*/ 12 h 1294"/>
                  <a:gd name="T80" fmla="*/ 18 w 1118"/>
                  <a:gd name="T81" fmla="*/ 11 h 1294"/>
                  <a:gd name="T82" fmla="*/ 18 w 1118"/>
                  <a:gd name="T83" fmla="*/ 11 h 1294"/>
                  <a:gd name="T84" fmla="*/ 18 w 1118"/>
                  <a:gd name="T85" fmla="*/ 12 h 1294"/>
                  <a:gd name="T86" fmla="*/ 17 w 1118"/>
                  <a:gd name="T87" fmla="*/ 13 h 1294"/>
                  <a:gd name="T88" fmla="*/ 18 w 1118"/>
                  <a:gd name="T89" fmla="*/ 13 h 1294"/>
                  <a:gd name="T90" fmla="*/ 18 w 1118"/>
                  <a:gd name="T91" fmla="*/ 16 h 1294"/>
                  <a:gd name="T92" fmla="*/ 18 w 1118"/>
                  <a:gd name="T93" fmla="*/ 15 h 1294"/>
                  <a:gd name="T94" fmla="*/ 16 w 1118"/>
                  <a:gd name="T95" fmla="*/ 18 h 1294"/>
                  <a:gd name="T96" fmla="*/ 11 w 1118"/>
                  <a:gd name="T97" fmla="*/ 22 h 1294"/>
                  <a:gd name="T98" fmla="*/ 10 w 1118"/>
                  <a:gd name="T99" fmla="*/ 28 h 1294"/>
                  <a:gd name="T100" fmla="*/ 8 w 1118"/>
                  <a:gd name="T101" fmla="*/ 30 h 1294"/>
                  <a:gd name="T102" fmla="*/ 6 w 1118"/>
                  <a:gd name="T103" fmla="*/ 26 h 1294"/>
                  <a:gd name="T104" fmla="*/ 5 w 1118"/>
                  <a:gd name="T105" fmla="*/ 22 h 1294"/>
                  <a:gd name="T106" fmla="*/ 5 w 1118"/>
                  <a:gd name="T107" fmla="*/ 21 h 1294"/>
                  <a:gd name="T108" fmla="*/ 4 w 1118"/>
                  <a:gd name="T109" fmla="*/ 15 h 1294"/>
                  <a:gd name="T110" fmla="*/ 4 w 1118"/>
                  <a:gd name="T111" fmla="*/ 15 h 1294"/>
                  <a:gd name="T112" fmla="*/ 3 w 1118"/>
                  <a:gd name="T113" fmla="*/ 16 h 1294"/>
                  <a:gd name="T114" fmla="*/ 2 w 1118"/>
                  <a:gd name="T115" fmla="*/ 17 h 1294"/>
                  <a:gd name="T116" fmla="*/ 1 w 1118"/>
                  <a:gd name="T117" fmla="*/ 15 h 1294"/>
                  <a:gd name="T118" fmla="*/ 2 w 1118"/>
                  <a:gd name="T119" fmla="*/ 14 h 1294"/>
                  <a:gd name="T120" fmla="*/ 1 w 1118"/>
                  <a:gd name="T121" fmla="*/ 15 h 1294"/>
                  <a:gd name="T122" fmla="*/ 0 w 1118"/>
                  <a:gd name="T123" fmla="*/ 14 h 12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18"/>
                  <a:gd name="T187" fmla="*/ 0 h 1294"/>
                  <a:gd name="T188" fmla="*/ 1118 w 1118"/>
                  <a:gd name="T189" fmla="*/ 1294 h 12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18" h="1294">
                    <a:moveTo>
                      <a:pt x="0" y="588"/>
                    </a:moveTo>
                    <a:lnTo>
                      <a:pt x="31" y="560"/>
                    </a:lnTo>
                    <a:lnTo>
                      <a:pt x="116" y="560"/>
                    </a:lnTo>
                    <a:lnTo>
                      <a:pt x="55" y="424"/>
                    </a:lnTo>
                    <a:lnTo>
                      <a:pt x="93" y="387"/>
                    </a:lnTo>
                    <a:lnTo>
                      <a:pt x="141" y="392"/>
                    </a:lnTo>
                    <a:lnTo>
                      <a:pt x="257" y="243"/>
                    </a:lnTo>
                    <a:lnTo>
                      <a:pt x="250" y="204"/>
                    </a:lnTo>
                    <a:lnTo>
                      <a:pt x="277" y="180"/>
                    </a:lnTo>
                    <a:lnTo>
                      <a:pt x="228" y="134"/>
                    </a:lnTo>
                    <a:lnTo>
                      <a:pt x="226" y="62"/>
                    </a:lnTo>
                    <a:lnTo>
                      <a:pt x="336" y="62"/>
                    </a:lnTo>
                    <a:lnTo>
                      <a:pt x="365" y="27"/>
                    </a:lnTo>
                    <a:lnTo>
                      <a:pt x="427" y="0"/>
                    </a:lnTo>
                    <a:lnTo>
                      <a:pt x="467" y="25"/>
                    </a:lnTo>
                    <a:lnTo>
                      <a:pt x="414" y="98"/>
                    </a:lnTo>
                    <a:lnTo>
                      <a:pt x="438" y="161"/>
                    </a:lnTo>
                    <a:lnTo>
                      <a:pt x="399" y="170"/>
                    </a:lnTo>
                    <a:lnTo>
                      <a:pt x="416" y="247"/>
                    </a:lnTo>
                    <a:lnTo>
                      <a:pt x="498" y="278"/>
                    </a:lnTo>
                    <a:lnTo>
                      <a:pt x="459" y="350"/>
                    </a:lnTo>
                    <a:lnTo>
                      <a:pt x="561" y="419"/>
                    </a:lnTo>
                    <a:lnTo>
                      <a:pt x="761" y="462"/>
                    </a:lnTo>
                    <a:lnTo>
                      <a:pt x="764" y="395"/>
                    </a:lnTo>
                    <a:lnTo>
                      <a:pt x="789" y="387"/>
                    </a:lnTo>
                    <a:lnTo>
                      <a:pt x="794" y="420"/>
                    </a:lnTo>
                    <a:lnTo>
                      <a:pt x="810" y="449"/>
                    </a:lnTo>
                    <a:lnTo>
                      <a:pt x="915" y="437"/>
                    </a:lnTo>
                    <a:lnTo>
                      <a:pt x="906" y="396"/>
                    </a:lnTo>
                    <a:lnTo>
                      <a:pt x="1067" y="315"/>
                    </a:lnTo>
                    <a:lnTo>
                      <a:pt x="1079" y="364"/>
                    </a:lnTo>
                    <a:lnTo>
                      <a:pt x="1118" y="382"/>
                    </a:lnTo>
                    <a:lnTo>
                      <a:pt x="1103" y="430"/>
                    </a:lnTo>
                    <a:lnTo>
                      <a:pt x="1036" y="458"/>
                    </a:lnTo>
                    <a:lnTo>
                      <a:pt x="936" y="671"/>
                    </a:lnTo>
                    <a:lnTo>
                      <a:pt x="919" y="587"/>
                    </a:lnTo>
                    <a:lnTo>
                      <a:pt x="901" y="621"/>
                    </a:lnTo>
                    <a:lnTo>
                      <a:pt x="876" y="577"/>
                    </a:lnTo>
                    <a:lnTo>
                      <a:pt x="921" y="524"/>
                    </a:lnTo>
                    <a:lnTo>
                      <a:pt x="836" y="516"/>
                    </a:lnTo>
                    <a:lnTo>
                      <a:pt x="778" y="457"/>
                    </a:lnTo>
                    <a:lnTo>
                      <a:pt x="763" y="489"/>
                    </a:lnTo>
                    <a:lnTo>
                      <a:pt x="781" y="516"/>
                    </a:lnTo>
                    <a:lnTo>
                      <a:pt x="757" y="535"/>
                    </a:lnTo>
                    <a:lnTo>
                      <a:pt x="780" y="562"/>
                    </a:lnTo>
                    <a:lnTo>
                      <a:pt x="794" y="684"/>
                    </a:lnTo>
                    <a:lnTo>
                      <a:pt x="763" y="665"/>
                    </a:lnTo>
                    <a:lnTo>
                      <a:pt x="698" y="763"/>
                    </a:lnTo>
                    <a:lnTo>
                      <a:pt x="466" y="956"/>
                    </a:lnTo>
                    <a:lnTo>
                      <a:pt x="449" y="1199"/>
                    </a:lnTo>
                    <a:lnTo>
                      <a:pt x="355" y="1294"/>
                    </a:lnTo>
                    <a:lnTo>
                      <a:pt x="267" y="1109"/>
                    </a:lnTo>
                    <a:lnTo>
                      <a:pt x="233" y="961"/>
                    </a:lnTo>
                    <a:lnTo>
                      <a:pt x="200" y="926"/>
                    </a:lnTo>
                    <a:lnTo>
                      <a:pt x="179" y="657"/>
                    </a:lnTo>
                    <a:lnTo>
                      <a:pt x="156" y="649"/>
                    </a:lnTo>
                    <a:lnTo>
                      <a:pt x="144" y="706"/>
                    </a:lnTo>
                    <a:lnTo>
                      <a:pt x="90" y="723"/>
                    </a:lnTo>
                    <a:lnTo>
                      <a:pt x="34" y="650"/>
                    </a:lnTo>
                    <a:lnTo>
                      <a:pt x="89" y="615"/>
                    </a:lnTo>
                    <a:lnTo>
                      <a:pt x="34" y="630"/>
                    </a:lnTo>
                    <a:lnTo>
                      <a:pt x="0" y="58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0" name="Freeform 349"/>
              <p:cNvSpPr/>
              <p:nvPr/>
            </p:nvSpPr>
            <p:spPr bwMode="auto">
              <a:xfrm>
                <a:off x="2783" y="3013"/>
                <a:ext cx="119" cy="143"/>
              </a:xfrm>
              <a:custGeom>
                <a:avLst/>
                <a:gdLst>
                  <a:gd name="T0" fmla="*/ 0 w 416"/>
                  <a:gd name="T1" fmla="*/ 0 h 502"/>
                  <a:gd name="T2" fmla="*/ 2 w 416"/>
                  <a:gd name="T3" fmla="*/ 0 h 502"/>
                  <a:gd name="T4" fmla="*/ 5 w 416"/>
                  <a:gd name="T5" fmla="*/ 3 h 502"/>
                  <a:gd name="T6" fmla="*/ 7 w 416"/>
                  <a:gd name="T7" fmla="*/ 5 h 502"/>
                  <a:gd name="T8" fmla="*/ 7 w 416"/>
                  <a:gd name="T9" fmla="*/ 5 h 502"/>
                  <a:gd name="T10" fmla="*/ 8 w 416"/>
                  <a:gd name="T11" fmla="*/ 5 h 502"/>
                  <a:gd name="T12" fmla="*/ 7 w 416"/>
                  <a:gd name="T13" fmla="*/ 7 h 502"/>
                  <a:gd name="T14" fmla="*/ 10 w 416"/>
                  <a:gd name="T15" fmla="*/ 9 h 502"/>
                  <a:gd name="T16" fmla="*/ 9 w 416"/>
                  <a:gd name="T17" fmla="*/ 11 h 502"/>
                  <a:gd name="T18" fmla="*/ 9 w 416"/>
                  <a:gd name="T19" fmla="*/ 12 h 502"/>
                  <a:gd name="T20" fmla="*/ 7 w 416"/>
                  <a:gd name="T21" fmla="*/ 10 h 502"/>
                  <a:gd name="T22" fmla="*/ 3 w 416"/>
                  <a:gd name="T23" fmla="*/ 4 h 502"/>
                  <a:gd name="T24" fmla="*/ 0 w 416"/>
                  <a:gd name="T25" fmla="*/ 0 h 5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6"/>
                  <a:gd name="T40" fmla="*/ 0 h 502"/>
                  <a:gd name="T41" fmla="*/ 416 w 416"/>
                  <a:gd name="T42" fmla="*/ 502 h 5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6" h="502">
                    <a:moveTo>
                      <a:pt x="0" y="0"/>
                    </a:moveTo>
                    <a:lnTo>
                      <a:pt x="93" y="19"/>
                    </a:lnTo>
                    <a:lnTo>
                      <a:pt x="212" y="152"/>
                    </a:lnTo>
                    <a:lnTo>
                      <a:pt x="305" y="198"/>
                    </a:lnTo>
                    <a:lnTo>
                      <a:pt x="292" y="234"/>
                    </a:lnTo>
                    <a:lnTo>
                      <a:pt x="326" y="232"/>
                    </a:lnTo>
                    <a:lnTo>
                      <a:pt x="322" y="282"/>
                    </a:lnTo>
                    <a:lnTo>
                      <a:pt x="416" y="375"/>
                    </a:lnTo>
                    <a:lnTo>
                      <a:pt x="405" y="500"/>
                    </a:lnTo>
                    <a:lnTo>
                      <a:pt x="367" y="502"/>
                    </a:lnTo>
                    <a:lnTo>
                      <a:pt x="282" y="428"/>
                    </a:lnTo>
                    <a:lnTo>
                      <a:pt x="144" y="176"/>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1" name="Freeform 350"/>
              <p:cNvSpPr/>
              <p:nvPr/>
            </p:nvSpPr>
            <p:spPr bwMode="auto">
              <a:xfrm>
                <a:off x="2895" y="3159"/>
                <a:ext cx="98" cy="36"/>
              </a:xfrm>
              <a:custGeom>
                <a:avLst/>
                <a:gdLst>
                  <a:gd name="T0" fmla="*/ 0 w 346"/>
                  <a:gd name="T1" fmla="*/ 1 h 126"/>
                  <a:gd name="T2" fmla="*/ 1 w 346"/>
                  <a:gd name="T3" fmla="*/ 0 h 126"/>
                  <a:gd name="T4" fmla="*/ 6 w 346"/>
                  <a:gd name="T5" fmla="*/ 1 h 126"/>
                  <a:gd name="T6" fmla="*/ 7 w 346"/>
                  <a:gd name="T7" fmla="*/ 2 h 126"/>
                  <a:gd name="T8" fmla="*/ 8 w 346"/>
                  <a:gd name="T9" fmla="*/ 2 h 126"/>
                  <a:gd name="T10" fmla="*/ 8 w 346"/>
                  <a:gd name="T11" fmla="*/ 3 h 126"/>
                  <a:gd name="T12" fmla="*/ 1 w 346"/>
                  <a:gd name="T13" fmla="*/ 1 h 126"/>
                  <a:gd name="T14" fmla="*/ 0 w 346"/>
                  <a:gd name="T15" fmla="*/ 1 h 126"/>
                  <a:gd name="T16" fmla="*/ 0 60000 65536"/>
                  <a:gd name="T17" fmla="*/ 0 60000 65536"/>
                  <a:gd name="T18" fmla="*/ 0 60000 65536"/>
                  <a:gd name="T19" fmla="*/ 0 60000 65536"/>
                  <a:gd name="T20" fmla="*/ 0 60000 65536"/>
                  <a:gd name="T21" fmla="*/ 0 60000 65536"/>
                  <a:gd name="T22" fmla="*/ 0 60000 65536"/>
                  <a:gd name="T23" fmla="*/ 0 60000 65536"/>
                  <a:gd name="T24" fmla="*/ 0 w 346"/>
                  <a:gd name="T25" fmla="*/ 0 h 126"/>
                  <a:gd name="T26" fmla="*/ 346 w 346"/>
                  <a:gd name="T27" fmla="*/ 126 h 1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6" h="126">
                    <a:moveTo>
                      <a:pt x="0" y="35"/>
                    </a:moveTo>
                    <a:lnTo>
                      <a:pt x="23" y="0"/>
                    </a:lnTo>
                    <a:lnTo>
                      <a:pt x="266" y="39"/>
                    </a:lnTo>
                    <a:lnTo>
                      <a:pt x="291" y="70"/>
                    </a:lnTo>
                    <a:lnTo>
                      <a:pt x="341" y="83"/>
                    </a:lnTo>
                    <a:lnTo>
                      <a:pt x="346" y="126"/>
                    </a:lnTo>
                    <a:lnTo>
                      <a:pt x="63" y="66"/>
                    </a:lnTo>
                    <a:lnTo>
                      <a:pt x="0" y="3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2" name="Freeform 351"/>
              <p:cNvSpPr/>
              <p:nvPr/>
            </p:nvSpPr>
            <p:spPr bwMode="auto">
              <a:xfrm>
                <a:off x="2934" y="3030"/>
                <a:ext cx="107" cy="106"/>
              </a:xfrm>
              <a:custGeom>
                <a:avLst/>
                <a:gdLst>
                  <a:gd name="T0" fmla="*/ 0 w 375"/>
                  <a:gd name="T1" fmla="*/ 4 h 372"/>
                  <a:gd name="T2" fmla="*/ 1 w 375"/>
                  <a:gd name="T3" fmla="*/ 3 h 372"/>
                  <a:gd name="T4" fmla="*/ 1 w 375"/>
                  <a:gd name="T5" fmla="*/ 3 h 372"/>
                  <a:gd name="T6" fmla="*/ 4 w 375"/>
                  <a:gd name="T7" fmla="*/ 3 h 372"/>
                  <a:gd name="T8" fmla="*/ 5 w 375"/>
                  <a:gd name="T9" fmla="*/ 3 h 372"/>
                  <a:gd name="T10" fmla="*/ 6 w 375"/>
                  <a:gd name="T11" fmla="*/ 0 h 372"/>
                  <a:gd name="T12" fmla="*/ 7 w 375"/>
                  <a:gd name="T13" fmla="*/ 0 h 372"/>
                  <a:gd name="T14" fmla="*/ 7 w 375"/>
                  <a:gd name="T15" fmla="*/ 1 h 372"/>
                  <a:gd name="T16" fmla="*/ 9 w 375"/>
                  <a:gd name="T17" fmla="*/ 3 h 372"/>
                  <a:gd name="T18" fmla="*/ 8 w 375"/>
                  <a:gd name="T19" fmla="*/ 3 h 372"/>
                  <a:gd name="T20" fmla="*/ 6 w 375"/>
                  <a:gd name="T21" fmla="*/ 6 h 372"/>
                  <a:gd name="T22" fmla="*/ 6 w 375"/>
                  <a:gd name="T23" fmla="*/ 8 h 372"/>
                  <a:gd name="T24" fmla="*/ 5 w 375"/>
                  <a:gd name="T25" fmla="*/ 9 h 372"/>
                  <a:gd name="T26" fmla="*/ 3 w 375"/>
                  <a:gd name="T27" fmla="*/ 8 h 372"/>
                  <a:gd name="T28" fmla="*/ 3 w 375"/>
                  <a:gd name="T29" fmla="*/ 8 h 372"/>
                  <a:gd name="T30" fmla="*/ 2 w 375"/>
                  <a:gd name="T31" fmla="*/ 7 h 372"/>
                  <a:gd name="T32" fmla="*/ 1 w 375"/>
                  <a:gd name="T33" fmla="*/ 7 h 372"/>
                  <a:gd name="T34" fmla="*/ 0 w 375"/>
                  <a:gd name="T35" fmla="*/ 4 h 3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5"/>
                  <a:gd name="T55" fmla="*/ 0 h 372"/>
                  <a:gd name="T56" fmla="*/ 375 w 375"/>
                  <a:gd name="T57" fmla="*/ 372 h 37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5" h="372">
                    <a:moveTo>
                      <a:pt x="0" y="168"/>
                    </a:moveTo>
                    <a:lnTo>
                      <a:pt x="25" y="120"/>
                    </a:lnTo>
                    <a:lnTo>
                      <a:pt x="58" y="149"/>
                    </a:lnTo>
                    <a:lnTo>
                      <a:pt x="168" y="138"/>
                    </a:lnTo>
                    <a:lnTo>
                      <a:pt x="207" y="123"/>
                    </a:lnTo>
                    <a:lnTo>
                      <a:pt x="259" y="0"/>
                    </a:lnTo>
                    <a:lnTo>
                      <a:pt x="324" y="5"/>
                    </a:lnTo>
                    <a:lnTo>
                      <a:pt x="309" y="36"/>
                    </a:lnTo>
                    <a:lnTo>
                      <a:pt x="375" y="149"/>
                    </a:lnTo>
                    <a:lnTo>
                      <a:pt x="340" y="141"/>
                    </a:lnTo>
                    <a:lnTo>
                      <a:pt x="275" y="270"/>
                    </a:lnTo>
                    <a:lnTo>
                      <a:pt x="266" y="349"/>
                    </a:lnTo>
                    <a:lnTo>
                      <a:pt x="223" y="372"/>
                    </a:lnTo>
                    <a:lnTo>
                      <a:pt x="152" y="326"/>
                    </a:lnTo>
                    <a:lnTo>
                      <a:pt x="107" y="346"/>
                    </a:lnTo>
                    <a:lnTo>
                      <a:pt x="103" y="310"/>
                    </a:lnTo>
                    <a:lnTo>
                      <a:pt x="43" y="318"/>
                    </a:lnTo>
                    <a:lnTo>
                      <a:pt x="0" y="16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3" name="Freeform 352"/>
              <p:cNvSpPr/>
              <p:nvPr/>
            </p:nvSpPr>
            <p:spPr bwMode="auto">
              <a:xfrm>
                <a:off x="3019" y="3190"/>
                <a:ext cx="25" cy="8"/>
              </a:xfrm>
              <a:custGeom>
                <a:avLst/>
                <a:gdLst>
                  <a:gd name="T0" fmla="*/ 0 w 89"/>
                  <a:gd name="T1" fmla="*/ 0 h 28"/>
                  <a:gd name="T2" fmla="*/ 0 w 89"/>
                  <a:gd name="T3" fmla="*/ 1 h 28"/>
                  <a:gd name="T4" fmla="*/ 2 w 89"/>
                  <a:gd name="T5" fmla="*/ 0 h 28"/>
                  <a:gd name="T6" fmla="*/ 1 w 89"/>
                  <a:gd name="T7" fmla="*/ 0 h 28"/>
                  <a:gd name="T8" fmla="*/ 0 w 89"/>
                  <a:gd name="T9" fmla="*/ 0 h 28"/>
                  <a:gd name="T10" fmla="*/ 0 60000 65536"/>
                  <a:gd name="T11" fmla="*/ 0 60000 65536"/>
                  <a:gd name="T12" fmla="*/ 0 60000 65536"/>
                  <a:gd name="T13" fmla="*/ 0 60000 65536"/>
                  <a:gd name="T14" fmla="*/ 0 60000 65536"/>
                  <a:gd name="T15" fmla="*/ 0 w 89"/>
                  <a:gd name="T16" fmla="*/ 0 h 28"/>
                  <a:gd name="T17" fmla="*/ 89 w 89"/>
                  <a:gd name="T18" fmla="*/ 28 h 28"/>
                </a:gdLst>
                <a:ahLst/>
                <a:cxnLst>
                  <a:cxn ang="T10">
                    <a:pos x="T0" y="T1"/>
                  </a:cxn>
                  <a:cxn ang="T11">
                    <a:pos x="T2" y="T3"/>
                  </a:cxn>
                  <a:cxn ang="T12">
                    <a:pos x="T4" y="T5"/>
                  </a:cxn>
                  <a:cxn ang="T13">
                    <a:pos x="T6" y="T7"/>
                  </a:cxn>
                  <a:cxn ang="T14">
                    <a:pos x="T8" y="T9"/>
                  </a:cxn>
                </a:cxnLst>
                <a:rect l="T15" t="T16" r="T17" b="T18"/>
                <a:pathLst>
                  <a:path w="89" h="28">
                    <a:moveTo>
                      <a:pt x="0" y="5"/>
                    </a:moveTo>
                    <a:lnTo>
                      <a:pt x="11" y="28"/>
                    </a:lnTo>
                    <a:lnTo>
                      <a:pt x="89" y="9"/>
                    </a:lnTo>
                    <a:lnTo>
                      <a:pt x="27" y="0"/>
                    </a:lnTo>
                    <a:lnTo>
                      <a:pt x="0" y="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4" name="Freeform 353"/>
              <p:cNvSpPr/>
              <p:nvPr/>
            </p:nvSpPr>
            <p:spPr bwMode="auto">
              <a:xfrm>
                <a:off x="3041" y="3061"/>
                <a:ext cx="68" cy="94"/>
              </a:xfrm>
              <a:custGeom>
                <a:avLst/>
                <a:gdLst>
                  <a:gd name="T0" fmla="*/ 0 w 236"/>
                  <a:gd name="T1" fmla="*/ 5 h 326"/>
                  <a:gd name="T2" fmla="*/ 1 w 236"/>
                  <a:gd name="T3" fmla="*/ 6 h 326"/>
                  <a:gd name="T4" fmla="*/ 0 w 236"/>
                  <a:gd name="T5" fmla="*/ 7 h 326"/>
                  <a:gd name="T6" fmla="*/ 1 w 236"/>
                  <a:gd name="T7" fmla="*/ 8 h 326"/>
                  <a:gd name="T8" fmla="*/ 1 w 236"/>
                  <a:gd name="T9" fmla="*/ 5 h 326"/>
                  <a:gd name="T10" fmla="*/ 2 w 236"/>
                  <a:gd name="T11" fmla="*/ 5 h 326"/>
                  <a:gd name="T12" fmla="*/ 2 w 236"/>
                  <a:gd name="T13" fmla="*/ 6 h 326"/>
                  <a:gd name="T14" fmla="*/ 3 w 236"/>
                  <a:gd name="T15" fmla="*/ 7 h 326"/>
                  <a:gd name="T16" fmla="*/ 3 w 236"/>
                  <a:gd name="T17" fmla="*/ 6 h 326"/>
                  <a:gd name="T18" fmla="*/ 2 w 236"/>
                  <a:gd name="T19" fmla="*/ 4 h 326"/>
                  <a:gd name="T20" fmla="*/ 4 w 236"/>
                  <a:gd name="T21" fmla="*/ 3 h 326"/>
                  <a:gd name="T22" fmla="*/ 2 w 236"/>
                  <a:gd name="T23" fmla="*/ 3 h 326"/>
                  <a:gd name="T24" fmla="*/ 1 w 236"/>
                  <a:gd name="T25" fmla="*/ 1 h 326"/>
                  <a:gd name="T26" fmla="*/ 5 w 236"/>
                  <a:gd name="T27" fmla="*/ 1 h 326"/>
                  <a:gd name="T28" fmla="*/ 6 w 236"/>
                  <a:gd name="T29" fmla="*/ 0 h 326"/>
                  <a:gd name="T30" fmla="*/ 5 w 236"/>
                  <a:gd name="T31" fmla="*/ 1 h 326"/>
                  <a:gd name="T32" fmla="*/ 2 w 236"/>
                  <a:gd name="T33" fmla="*/ 0 h 326"/>
                  <a:gd name="T34" fmla="*/ 1 w 236"/>
                  <a:gd name="T35" fmla="*/ 1 h 326"/>
                  <a:gd name="T36" fmla="*/ 0 w 236"/>
                  <a:gd name="T37" fmla="*/ 5 h 3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6"/>
                  <a:gd name="T58" fmla="*/ 0 h 326"/>
                  <a:gd name="T59" fmla="*/ 236 w 236"/>
                  <a:gd name="T60" fmla="*/ 326 h 3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6" h="326">
                    <a:moveTo>
                      <a:pt x="0" y="195"/>
                    </a:moveTo>
                    <a:lnTo>
                      <a:pt x="32" y="253"/>
                    </a:lnTo>
                    <a:lnTo>
                      <a:pt x="19" y="313"/>
                    </a:lnTo>
                    <a:lnTo>
                      <a:pt x="58" y="326"/>
                    </a:lnTo>
                    <a:lnTo>
                      <a:pt x="56" y="206"/>
                    </a:lnTo>
                    <a:lnTo>
                      <a:pt x="80" y="195"/>
                    </a:lnTo>
                    <a:lnTo>
                      <a:pt x="83" y="238"/>
                    </a:lnTo>
                    <a:lnTo>
                      <a:pt x="105" y="292"/>
                    </a:lnTo>
                    <a:lnTo>
                      <a:pt x="146" y="268"/>
                    </a:lnTo>
                    <a:lnTo>
                      <a:pt x="95" y="158"/>
                    </a:lnTo>
                    <a:lnTo>
                      <a:pt x="174" y="107"/>
                    </a:lnTo>
                    <a:lnTo>
                      <a:pt x="68" y="139"/>
                    </a:lnTo>
                    <a:lnTo>
                      <a:pt x="53" y="66"/>
                    </a:lnTo>
                    <a:lnTo>
                      <a:pt x="209" y="60"/>
                    </a:lnTo>
                    <a:lnTo>
                      <a:pt x="236" y="0"/>
                    </a:lnTo>
                    <a:lnTo>
                      <a:pt x="190" y="37"/>
                    </a:lnTo>
                    <a:lnTo>
                      <a:pt x="80" y="19"/>
                    </a:lnTo>
                    <a:lnTo>
                      <a:pt x="43" y="45"/>
                    </a:lnTo>
                    <a:lnTo>
                      <a:pt x="0" y="19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5" name="Freeform 354"/>
              <p:cNvSpPr/>
              <p:nvPr/>
            </p:nvSpPr>
            <p:spPr bwMode="auto">
              <a:xfrm>
                <a:off x="3094" y="3190"/>
                <a:ext cx="38" cy="24"/>
              </a:xfrm>
              <a:custGeom>
                <a:avLst/>
                <a:gdLst>
                  <a:gd name="T0" fmla="*/ 0 w 130"/>
                  <a:gd name="T1" fmla="*/ 1 h 84"/>
                  <a:gd name="T2" fmla="*/ 0 w 130"/>
                  <a:gd name="T3" fmla="*/ 2 h 84"/>
                  <a:gd name="T4" fmla="*/ 3 w 130"/>
                  <a:gd name="T5" fmla="*/ 0 h 84"/>
                  <a:gd name="T6" fmla="*/ 1 w 130"/>
                  <a:gd name="T7" fmla="*/ 1 h 84"/>
                  <a:gd name="T8" fmla="*/ 0 w 130"/>
                  <a:gd name="T9" fmla="*/ 1 h 84"/>
                  <a:gd name="T10" fmla="*/ 0 60000 65536"/>
                  <a:gd name="T11" fmla="*/ 0 60000 65536"/>
                  <a:gd name="T12" fmla="*/ 0 60000 65536"/>
                  <a:gd name="T13" fmla="*/ 0 60000 65536"/>
                  <a:gd name="T14" fmla="*/ 0 60000 65536"/>
                  <a:gd name="T15" fmla="*/ 0 w 130"/>
                  <a:gd name="T16" fmla="*/ 0 h 84"/>
                  <a:gd name="T17" fmla="*/ 130 w 130"/>
                  <a:gd name="T18" fmla="*/ 84 h 84"/>
                </a:gdLst>
                <a:ahLst/>
                <a:cxnLst>
                  <a:cxn ang="T10">
                    <a:pos x="T0" y="T1"/>
                  </a:cxn>
                  <a:cxn ang="T11">
                    <a:pos x="T2" y="T3"/>
                  </a:cxn>
                  <a:cxn ang="T12">
                    <a:pos x="T4" y="T5"/>
                  </a:cxn>
                  <a:cxn ang="T13">
                    <a:pos x="T6" y="T7"/>
                  </a:cxn>
                  <a:cxn ang="T14">
                    <a:pos x="T8" y="T9"/>
                  </a:cxn>
                </a:cxnLst>
                <a:rect l="T15" t="T16" r="T17" b="T18"/>
                <a:pathLst>
                  <a:path w="130" h="84">
                    <a:moveTo>
                      <a:pt x="0" y="50"/>
                    </a:moveTo>
                    <a:lnTo>
                      <a:pt x="5" y="84"/>
                    </a:lnTo>
                    <a:lnTo>
                      <a:pt x="130" y="0"/>
                    </a:lnTo>
                    <a:lnTo>
                      <a:pt x="37" y="27"/>
                    </a:lnTo>
                    <a:lnTo>
                      <a:pt x="0" y="5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6" name="Freeform 355"/>
              <p:cNvSpPr/>
              <p:nvPr/>
            </p:nvSpPr>
            <p:spPr bwMode="auto">
              <a:xfrm>
                <a:off x="3133" y="3057"/>
                <a:ext cx="14" cy="37"/>
              </a:xfrm>
              <a:custGeom>
                <a:avLst/>
                <a:gdLst>
                  <a:gd name="T0" fmla="*/ 0 w 47"/>
                  <a:gd name="T1" fmla="*/ 1 h 131"/>
                  <a:gd name="T2" fmla="*/ 0 w 47"/>
                  <a:gd name="T3" fmla="*/ 2 h 131"/>
                  <a:gd name="T4" fmla="*/ 1 w 47"/>
                  <a:gd name="T5" fmla="*/ 3 h 131"/>
                  <a:gd name="T6" fmla="*/ 1 w 47"/>
                  <a:gd name="T7" fmla="*/ 2 h 131"/>
                  <a:gd name="T8" fmla="*/ 1 w 47"/>
                  <a:gd name="T9" fmla="*/ 1 h 131"/>
                  <a:gd name="T10" fmla="*/ 1 w 47"/>
                  <a:gd name="T11" fmla="*/ 1 h 131"/>
                  <a:gd name="T12" fmla="*/ 0 w 47"/>
                  <a:gd name="T13" fmla="*/ 1 h 131"/>
                  <a:gd name="T14" fmla="*/ 1 w 47"/>
                  <a:gd name="T15" fmla="*/ 0 h 131"/>
                  <a:gd name="T16" fmla="*/ 0 w 47"/>
                  <a:gd name="T17" fmla="*/ 1 h 1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31"/>
                  <a:gd name="T29" fmla="*/ 47 w 47"/>
                  <a:gd name="T30" fmla="*/ 131 h 1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31">
                    <a:moveTo>
                      <a:pt x="0" y="45"/>
                    </a:moveTo>
                    <a:lnTo>
                      <a:pt x="12" y="105"/>
                    </a:lnTo>
                    <a:lnTo>
                      <a:pt x="37" y="131"/>
                    </a:lnTo>
                    <a:lnTo>
                      <a:pt x="19" y="76"/>
                    </a:lnTo>
                    <a:lnTo>
                      <a:pt x="47" y="69"/>
                    </a:lnTo>
                    <a:lnTo>
                      <a:pt x="45" y="27"/>
                    </a:lnTo>
                    <a:lnTo>
                      <a:pt x="12" y="53"/>
                    </a:lnTo>
                    <a:lnTo>
                      <a:pt x="24" y="0"/>
                    </a:lnTo>
                    <a:lnTo>
                      <a:pt x="0" y="4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7" name="Freeform 356"/>
              <p:cNvSpPr/>
              <p:nvPr/>
            </p:nvSpPr>
            <p:spPr bwMode="auto">
              <a:xfrm>
                <a:off x="3139" y="3118"/>
                <a:ext cx="31" cy="12"/>
              </a:xfrm>
              <a:custGeom>
                <a:avLst/>
                <a:gdLst>
                  <a:gd name="T0" fmla="*/ 0 w 109"/>
                  <a:gd name="T1" fmla="*/ 0 h 42"/>
                  <a:gd name="T2" fmla="*/ 1 w 109"/>
                  <a:gd name="T3" fmla="*/ 0 h 42"/>
                  <a:gd name="T4" fmla="*/ 3 w 109"/>
                  <a:gd name="T5" fmla="*/ 1 h 42"/>
                  <a:gd name="T6" fmla="*/ 0 w 109"/>
                  <a:gd name="T7" fmla="*/ 0 h 42"/>
                  <a:gd name="T8" fmla="*/ 0 60000 65536"/>
                  <a:gd name="T9" fmla="*/ 0 60000 65536"/>
                  <a:gd name="T10" fmla="*/ 0 60000 65536"/>
                  <a:gd name="T11" fmla="*/ 0 60000 65536"/>
                  <a:gd name="T12" fmla="*/ 0 w 109"/>
                  <a:gd name="T13" fmla="*/ 0 h 42"/>
                  <a:gd name="T14" fmla="*/ 109 w 109"/>
                  <a:gd name="T15" fmla="*/ 42 h 42"/>
                </a:gdLst>
                <a:ahLst/>
                <a:cxnLst>
                  <a:cxn ang="T8">
                    <a:pos x="T0" y="T1"/>
                  </a:cxn>
                  <a:cxn ang="T9">
                    <a:pos x="T2" y="T3"/>
                  </a:cxn>
                  <a:cxn ang="T10">
                    <a:pos x="T4" y="T5"/>
                  </a:cxn>
                  <a:cxn ang="T11">
                    <a:pos x="T6" y="T7"/>
                  </a:cxn>
                </a:cxnLst>
                <a:rect l="T12" t="T13" r="T14" b="T15"/>
                <a:pathLst>
                  <a:path w="109" h="42">
                    <a:moveTo>
                      <a:pt x="0" y="15"/>
                    </a:moveTo>
                    <a:lnTo>
                      <a:pt x="60" y="0"/>
                    </a:lnTo>
                    <a:lnTo>
                      <a:pt x="109" y="42"/>
                    </a:lnTo>
                    <a:lnTo>
                      <a:pt x="0" y="1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8" name="Freeform 357"/>
              <p:cNvSpPr/>
              <p:nvPr/>
            </p:nvSpPr>
            <p:spPr bwMode="auto">
              <a:xfrm>
                <a:off x="3171" y="3089"/>
                <a:ext cx="114" cy="109"/>
              </a:xfrm>
              <a:custGeom>
                <a:avLst/>
                <a:gdLst>
                  <a:gd name="T0" fmla="*/ 0 w 400"/>
                  <a:gd name="T1" fmla="*/ 1 h 384"/>
                  <a:gd name="T2" fmla="*/ 1 w 400"/>
                  <a:gd name="T3" fmla="*/ 2 h 384"/>
                  <a:gd name="T4" fmla="*/ 3 w 400"/>
                  <a:gd name="T5" fmla="*/ 2 h 384"/>
                  <a:gd name="T6" fmla="*/ 1 w 400"/>
                  <a:gd name="T7" fmla="*/ 2 h 384"/>
                  <a:gd name="T8" fmla="*/ 2 w 400"/>
                  <a:gd name="T9" fmla="*/ 4 h 384"/>
                  <a:gd name="T10" fmla="*/ 3 w 400"/>
                  <a:gd name="T11" fmla="*/ 3 h 384"/>
                  <a:gd name="T12" fmla="*/ 3 w 400"/>
                  <a:gd name="T13" fmla="*/ 4 h 384"/>
                  <a:gd name="T14" fmla="*/ 7 w 400"/>
                  <a:gd name="T15" fmla="*/ 5 h 384"/>
                  <a:gd name="T16" fmla="*/ 7 w 400"/>
                  <a:gd name="T17" fmla="*/ 7 h 384"/>
                  <a:gd name="T18" fmla="*/ 7 w 400"/>
                  <a:gd name="T19" fmla="*/ 7 h 384"/>
                  <a:gd name="T20" fmla="*/ 6 w 400"/>
                  <a:gd name="T21" fmla="*/ 8 h 384"/>
                  <a:gd name="T22" fmla="*/ 8 w 400"/>
                  <a:gd name="T23" fmla="*/ 8 h 384"/>
                  <a:gd name="T24" fmla="*/ 9 w 400"/>
                  <a:gd name="T25" fmla="*/ 9 h 384"/>
                  <a:gd name="T26" fmla="*/ 9 w 400"/>
                  <a:gd name="T27" fmla="*/ 2 h 384"/>
                  <a:gd name="T28" fmla="*/ 6 w 400"/>
                  <a:gd name="T29" fmla="*/ 1 h 384"/>
                  <a:gd name="T30" fmla="*/ 4 w 400"/>
                  <a:gd name="T31" fmla="*/ 3 h 384"/>
                  <a:gd name="T32" fmla="*/ 3 w 400"/>
                  <a:gd name="T33" fmla="*/ 2 h 384"/>
                  <a:gd name="T34" fmla="*/ 3 w 400"/>
                  <a:gd name="T35" fmla="*/ 0 h 384"/>
                  <a:gd name="T36" fmla="*/ 1 w 400"/>
                  <a:gd name="T37" fmla="*/ 0 h 384"/>
                  <a:gd name="T38" fmla="*/ 0 w 400"/>
                  <a:gd name="T39" fmla="*/ 1 h 38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0"/>
                  <a:gd name="T61" fmla="*/ 0 h 384"/>
                  <a:gd name="T62" fmla="*/ 400 w 400"/>
                  <a:gd name="T63" fmla="*/ 384 h 38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0" h="384">
                    <a:moveTo>
                      <a:pt x="0" y="47"/>
                    </a:moveTo>
                    <a:lnTo>
                      <a:pt x="62" y="84"/>
                    </a:lnTo>
                    <a:lnTo>
                      <a:pt x="118" y="76"/>
                    </a:lnTo>
                    <a:lnTo>
                      <a:pt x="42" y="103"/>
                    </a:lnTo>
                    <a:lnTo>
                      <a:pt x="81" y="164"/>
                    </a:lnTo>
                    <a:lnTo>
                      <a:pt x="114" y="112"/>
                    </a:lnTo>
                    <a:lnTo>
                      <a:pt x="140" y="164"/>
                    </a:lnTo>
                    <a:lnTo>
                      <a:pt x="282" y="223"/>
                    </a:lnTo>
                    <a:lnTo>
                      <a:pt x="315" y="315"/>
                    </a:lnTo>
                    <a:lnTo>
                      <a:pt x="289" y="312"/>
                    </a:lnTo>
                    <a:lnTo>
                      <a:pt x="266" y="356"/>
                    </a:lnTo>
                    <a:lnTo>
                      <a:pt x="352" y="334"/>
                    </a:lnTo>
                    <a:lnTo>
                      <a:pt x="400" y="384"/>
                    </a:lnTo>
                    <a:lnTo>
                      <a:pt x="394" y="99"/>
                    </a:lnTo>
                    <a:lnTo>
                      <a:pt x="271" y="47"/>
                    </a:lnTo>
                    <a:lnTo>
                      <a:pt x="171" y="130"/>
                    </a:lnTo>
                    <a:lnTo>
                      <a:pt x="133" y="89"/>
                    </a:lnTo>
                    <a:lnTo>
                      <a:pt x="119" y="19"/>
                    </a:lnTo>
                    <a:lnTo>
                      <a:pt x="62" y="0"/>
                    </a:lnTo>
                    <a:lnTo>
                      <a:pt x="0" y="4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9" name="Freeform 358"/>
              <p:cNvSpPr/>
              <p:nvPr/>
            </p:nvSpPr>
            <p:spPr bwMode="auto">
              <a:xfrm>
                <a:off x="3174" y="3173"/>
                <a:ext cx="6" cy="10"/>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0" name="Freeform 359"/>
              <p:cNvSpPr/>
              <p:nvPr/>
            </p:nvSpPr>
            <p:spPr bwMode="auto">
              <a:xfrm>
                <a:off x="2227" y="2555"/>
                <a:ext cx="208" cy="207"/>
              </a:xfrm>
              <a:custGeom>
                <a:avLst/>
                <a:gdLst>
                  <a:gd name="T0" fmla="*/ 0 w 730"/>
                  <a:gd name="T1" fmla="*/ 1 h 725"/>
                  <a:gd name="T2" fmla="*/ 1 w 730"/>
                  <a:gd name="T3" fmla="*/ 0 h 725"/>
                  <a:gd name="T4" fmla="*/ 2 w 730"/>
                  <a:gd name="T5" fmla="*/ 1 h 725"/>
                  <a:gd name="T6" fmla="*/ 3 w 730"/>
                  <a:gd name="T7" fmla="*/ 0 h 725"/>
                  <a:gd name="T8" fmla="*/ 4 w 730"/>
                  <a:gd name="T9" fmla="*/ 1 h 725"/>
                  <a:gd name="T10" fmla="*/ 4 w 730"/>
                  <a:gd name="T11" fmla="*/ 1 h 725"/>
                  <a:gd name="T12" fmla="*/ 5 w 730"/>
                  <a:gd name="T13" fmla="*/ 3 h 725"/>
                  <a:gd name="T14" fmla="*/ 7 w 730"/>
                  <a:gd name="T15" fmla="*/ 4 h 725"/>
                  <a:gd name="T16" fmla="*/ 9 w 730"/>
                  <a:gd name="T17" fmla="*/ 3 h 725"/>
                  <a:gd name="T18" fmla="*/ 9 w 730"/>
                  <a:gd name="T19" fmla="*/ 3 h 725"/>
                  <a:gd name="T20" fmla="*/ 11 w 730"/>
                  <a:gd name="T21" fmla="*/ 2 h 725"/>
                  <a:gd name="T22" fmla="*/ 15 w 730"/>
                  <a:gd name="T23" fmla="*/ 4 h 725"/>
                  <a:gd name="T24" fmla="*/ 15 w 730"/>
                  <a:gd name="T25" fmla="*/ 5 h 725"/>
                  <a:gd name="T26" fmla="*/ 15 w 730"/>
                  <a:gd name="T27" fmla="*/ 7 h 725"/>
                  <a:gd name="T28" fmla="*/ 15 w 730"/>
                  <a:gd name="T29" fmla="*/ 9 h 725"/>
                  <a:gd name="T30" fmla="*/ 15 w 730"/>
                  <a:gd name="T31" fmla="*/ 10 h 725"/>
                  <a:gd name="T32" fmla="*/ 15 w 730"/>
                  <a:gd name="T33" fmla="*/ 12 h 725"/>
                  <a:gd name="T34" fmla="*/ 17 w 730"/>
                  <a:gd name="T35" fmla="*/ 15 h 725"/>
                  <a:gd name="T36" fmla="*/ 15 w 730"/>
                  <a:gd name="T37" fmla="*/ 17 h 725"/>
                  <a:gd name="T38" fmla="*/ 12 w 730"/>
                  <a:gd name="T39" fmla="*/ 16 h 725"/>
                  <a:gd name="T40" fmla="*/ 11 w 730"/>
                  <a:gd name="T41" fmla="*/ 15 h 725"/>
                  <a:gd name="T42" fmla="*/ 8 w 730"/>
                  <a:gd name="T43" fmla="*/ 15 h 725"/>
                  <a:gd name="T44" fmla="*/ 7 w 730"/>
                  <a:gd name="T45" fmla="*/ 14 h 725"/>
                  <a:gd name="T46" fmla="*/ 5 w 730"/>
                  <a:gd name="T47" fmla="*/ 11 h 725"/>
                  <a:gd name="T48" fmla="*/ 4 w 730"/>
                  <a:gd name="T49" fmla="*/ 11 h 725"/>
                  <a:gd name="T50" fmla="*/ 4 w 730"/>
                  <a:gd name="T51" fmla="*/ 11 h 725"/>
                  <a:gd name="T52" fmla="*/ 3 w 730"/>
                  <a:gd name="T53" fmla="*/ 9 h 725"/>
                  <a:gd name="T54" fmla="*/ 1 w 730"/>
                  <a:gd name="T55" fmla="*/ 7 h 725"/>
                  <a:gd name="T56" fmla="*/ 2 w 730"/>
                  <a:gd name="T57" fmla="*/ 5 h 725"/>
                  <a:gd name="T58" fmla="*/ 1 w 730"/>
                  <a:gd name="T59" fmla="*/ 5 h 725"/>
                  <a:gd name="T60" fmla="*/ 1 w 730"/>
                  <a:gd name="T61" fmla="*/ 3 h 725"/>
                  <a:gd name="T62" fmla="*/ 0 w 730"/>
                  <a:gd name="T63" fmla="*/ 1 h 7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30"/>
                  <a:gd name="T97" fmla="*/ 0 h 725"/>
                  <a:gd name="T98" fmla="*/ 730 w 730"/>
                  <a:gd name="T99" fmla="*/ 725 h 7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30" h="725">
                    <a:moveTo>
                      <a:pt x="0" y="24"/>
                    </a:moveTo>
                    <a:lnTo>
                      <a:pt x="20" y="0"/>
                    </a:lnTo>
                    <a:lnTo>
                      <a:pt x="76" y="54"/>
                    </a:lnTo>
                    <a:lnTo>
                      <a:pt x="144" y="10"/>
                    </a:lnTo>
                    <a:lnTo>
                      <a:pt x="153" y="53"/>
                    </a:lnTo>
                    <a:lnTo>
                      <a:pt x="185" y="68"/>
                    </a:lnTo>
                    <a:lnTo>
                      <a:pt x="193" y="114"/>
                    </a:lnTo>
                    <a:lnTo>
                      <a:pt x="292" y="166"/>
                    </a:lnTo>
                    <a:lnTo>
                      <a:pt x="383" y="150"/>
                    </a:lnTo>
                    <a:lnTo>
                      <a:pt x="374" y="123"/>
                    </a:lnTo>
                    <a:lnTo>
                      <a:pt x="497" y="77"/>
                    </a:lnTo>
                    <a:lnTo>
                      <a:pt x="653" y="158"/>
                    </a:lnTo>
                    <a:lnTo>
                      <a:pt x="655" y="204"/>
                    </a:lnTo>
                    <a:lnTo>
                      <a:pt x="630" y="287"/>
                    </a:lnTo>
                    <a:lnTo>
                      <a:pt x="636" y="406"/>
                    </a:lnTo>
                    <a:lnTo>
                      <a:pt x="672" y="441"/>
                    </a:lnTo>
                    <a:lnTo>
                      <a:pt x="644" y="499"/>
                    </a:lnTo>
                    <a:lnTo>
                      <a:pt x="730" y="632"/>
                    </a:lnTo>
                    <a:lnTo>
                      <a:pt x="671" y="725"/>
                    </a:lnTo>
                    <a:lnTo>
                      <a:pt x="510" y="693"/>
                    </a:lnTo>
                    <a:lnTo>
                      <a:pt x="474" y="633"/>
                    </a:lnTo>
                    <a:lnTo>
                      <a:pt x="361" y="655"/>
                    </a:lnTo>
                    <a:lnTo>
                      <a:pt x="279" y="597"/>
                    </a:lnTo>
                    <a:lnTo>
                      <a:pt x="223" y="484"/>
                    </a:lnTo>
                    <a:lnTo>
                      <a:pt x="183" y="468"/>
                    </a:lnTo>
                    <a:lnTo>
                      <a:pt x="171" y="490"/>
                    </a:lnTo>
                    <a:lnTo>
                      <a:pt x="121" y="377"/>
                    </a:lnTo>
                    <a:lnTo>
                      <a:pt x="50" y="310"/>
                    </a:lnTo>
                    <a:lnTo>
                      <a:pt x="82" y="204"/>
                    </a:lnTo>
                    <a:lnTo>
                      <a:pt x="52" y="192"/>
                    </a:lnTo>
                    <a:lnTo>
                      <a:pt x="28" y="134"/>
                    </a:lnTo>
                    <a:lnTo>
                      <a:pt x="0" y="2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1" name="Freeform 360"/>
              <p:cNvSpPr/>
              <p:nvPr/>
            </p:nvSpPr>
            <p:spPr bwMode="auto">
              <a:xfrm>
                <a:off x="2167" y="2594"/>
                <a:ext cx="109" cy="114"/>
              </a:xfrm>
              <a:custGeom>
                <a:avLst/>
                <a:gdLst>
                  <a:gd name="T0" fmla="*/ 0 w 379"/>
                  <a:gd name="T1" fmla="*/ 5 h 402"/>
                  <a:gd name="T2" fmla="*/ 0 w 379"/>
                  <a:gd name="T3" fmla="*/ 6 h 402"/>
                  <a:gd name="T4" fmla="*/ 5 w 379"/>
                  <a:gd name="T5" fmla="*/ 8 h 402"/>
                  <a:gd name="T6" fmla="*/ 5 w 379"/>
                  <a:gd name="T7" fmla="*/ 9 h 402"/>
                  <a:gd name="T8" fmla="*/ 6 w 379"/>
                  <a:gd name="T9" fmla="*/ 9 h 402"/>
                  <a:gd name="T10" fmla="*/ 7 w 379"/>
                  <a:gd name="T11" fmla="*/ 9 h 402"/>
                  <a:gd name="T12" fmla="*/ 9 w 379"/>
                  <a:gd name="T13" fmla="*/ 8 h 402"/>
                  <a:gd name="T14" fmla="*/ 9 w 379"/>
                  <a:gd name="T15" fmla="*/ 8 h 402"/>
                  <a:gd name="T16" fmla="*/ 8 w 379"/>
                  <a:gd name="T17" fmla="*/ 6 h 402"/>
                  <a:gd name="T18" fmla="*/ 6 w 379"/>
                  <a:gd name="T19" fmla="*/ 4 h 402"/>
                  <a:gd name="T20" fmla="*/ 7 w 379"/>
                  <a:gd name="T21" fmla="*/ 2 h 402"/>
                  <a:gd name="T22" fmla="*/ 6 w 379"/>
                  <a:gd name="T23" fmla="*/ 1 h 402"/>
                  <a:gd name="T24" fmla="*/ 6 w 379"/>
                  <a:gd name="T25" fmla="*/ 0 h 402"/>
                  <a:gd name="T26" fmla="*/ 3 w 379"/>
                  <a:gd name="T27" fmla="*/ 0 h 402"/>
                  <a:gd name="T28" fmla="*/ 3 w 379"/>
                  <a:gd name="T29" fmla="*/ 1 h 402"/>
                  <a:gd name="T30" fmla="*/ 2 w 379"/>
                  <a:gd name="T31" fmla="*/ 3 h 402"/>
                  <a:gd name="T32" fmla="*/ 0 w 379"/>
                  <a:gd name="T33" fmla="*/ 5 h 4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79"/>
                  <a:gd name="T52" fmla="*/ 0 h 402"/>
                  <a:gd name="T53" fmla="*/ 379 w 379"/>
                  <a:gd name="T54" fmla="*/ 402 h 40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79" h="402">
                    <a:moveTo>
                      <a:pt x="0" y="195"/>
                    </a:moveTo>
                    <a:lnTo>
                      <a:pt x="18" y="253"/>
                    </a:lnTo>
                    <a:lnTo>
                      <a:pt x="191" y="342"/>
                    </a:lnTo>
                    <a:lnTo>
                      <a:pt x="192" y="373"/>
                    </a:lnTo>
                    <a:lnTo>
                      <a:pt x="235" y="396"/>
                    </a:lnTo>
                    <a:lnTo>
                      <a:pt x="301" y="402"/>
                    </a:lnTo>
                    <a:lnTo>
                      <a:pt x="360" y="360"/>
                    </a:lnTo>
                    <a:lnTo>
                      <a:pt x="379" y="356"/>
                    </a:lnTo>
                    <a:lnTo>
                      <a:pt x="329" y="243"/>
                    </a:lnTo>
                    <a:lnTo>
                      <a:pt x="258" y="176"/>
                    </a:lnTo>
                    <a:lnTo>
                      <a:pt x="290" y="70"/>
                    </a:lnTo>
                    <a:lnTo>
                      <a:pt x="260" y="58"/>
                    </a:lnTo>
                    <a:lnTo>
                      <a:pt x="236" y="0"/>
                    </a:lnTo>
                    <a:lnTo>
                      <a:pt x="151" y="4"/>
                    </a:lnTo>
                    <a:lnTo>
                      <a:pt x="109" y="41"/>
                    </a:lnTo>
                    <a:lnTo>
                      <a:pt x="93" y="139"/>
                    </a:lnTo>
                    <a:lnTo>
                      <a:pt x="0" y="19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2" name="Freeform 361"/>
              <p:cNvSpPr/>
              <p:nvPr/>
            </p:nvSpPr>
            <p:spPr bwMode="auto">
              <a:xfrm>
                <a:off x="1820" y="2445"/>
                <a:ext cx="127" cy="138"/>
              </a:xfrm>
              <a:custGeom>
                <a:avLst/>
                <a:gdLst>
                  <a:gd name="T0" fmla="*/ 0 w 446"/>
                  <a:gd name="T1" fmla="*/ 3 h 487"/>
                  <a:gd name="T2" fmla="*/ 0 w 446"/>
                  <a:gd name="T3" fmla="*/ 1 h 487"/>
                  <a:gd name="T4" fmla="*/ 1 w 446"/>
                  <a:gd name="T5" fmla="*/ 1 h 487"/>
                  <a:gd name="T6" fmla="*/ 2 w 446"/>
                  <a:gd name="T7" fmla="*/ 1 h 487"/>
                  <a:gd name="T8" fmla="*/ 3 w 446"/>
                  <a:gd name="T9" fmla="*/ 0 h 487"/>
                  <a:gd name="T10" fmla="*/ 5 w 446"/>
                  <a:gd name="T11" fmla="*/ 0 h 487"/>
                  <a:gd name="T12" fmla="*/ 6 w 446"/>
                  <a:gd name="T13" fmla="*/ 1 h 487"/>
                  <a:gd name="T14" fmla="*/ 6 w 446"/>
                  <a:gd name="T15" fmla="*/ 2 h 487"/>
                  <a:gd name="T16" fmla="*/ 5 w 446"/>
                  <a:gd name="T17" fmla="*/ 2 h 487"/>
                  <a:gd name="T18" fmla="*/ 5 w 446"/>
                  <a:gd name="T19" fmla="*/ 4 h 487"/>
                  <a:gd name="T20" fmla="*/ 7 w 446"/>
                  <a:gd name="T21" fmla="*/ 6 h 487"/>
                  <a:gd name="T22" fmla="*/ 8 w 446"/>
                  <a:gd name="T23" fmla="*/ 7 h 487"/>
                  <a:gd name="T24" fmla="*/ 8 w 446"/>
                  <a:gd name="T25" fmla="*/ 7 h 487"/>
                  <a:gd name="T26" fmla="*/ 10 w 446"/>
                  <a:gd name="T27" fmla="*/ 9 h 487"/>
                  <a:gd name="T28" fmla="*/ 9 w 446"/>
                  <a:gd name="T29" fmla="*/ 8 h 487"/>
                  <a:gd name="T30" fmla="*/ 9 w 446"/>
                  <a:gd name="T31" fmla="*/ 10 h 487"/>
                  <a:gd name="T32" fmla="*/ 8 w 446"/>
                  <a:gd name="T33" fmla="*/ 11 h 487"/>
                  <a:gd name="T34" fmla="*/ 8 w 446"/>
                  <a:gd name="T35" fmla="*/ 9 h 487"/>
                  <a:gd name="T36" fmla="*/ 4 w 446"/>
                  <a:gd name="T37" fmla="*/ 6 h 487"/>
                  <a:gd name="T38" fmla="*/ 3 w 446"/>
                  <a:gd name="T39" fmla="*/ 4 h 487"/>
                  <a:gd name="T40" fmla="*/ 2 w 446"/>
                  <a:gd name="T41" fmla="*/ 3 h 487"/>
                  <a:gd name="T42" fmla="*/ 1 w 446"/>
                  <a:gd name="T43" fmla="*/ 4 h 487"/>
                  <a:gd name="T44" fmla="*/ 0 w 446"/>
                  <a:gd name="T45" fmla="*/ 3 h 4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46"/>
                  <a:gd name="T70" fmla="*/ 0 h 487"/>
                  <a:gd name="T71" fmla="*/ 446 w 446"/>
                  <a:gd name="T72" fmla="*/ 487 h 4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46" h="487">
                    <a:moveTo>
                      <a:pt x="0" y="122"/>
                    </a:moveTo>
                    <a:lnTo>
                      <a:pt x="11" y="67"/>
                    </a:lnTo>
                    <a:lnTo>
                      <a:pt x="64" y="39"/>
                    </a:lnTo>
                    <a:lnTo>
                      <a:pt x="87" y="65"/>
                    </a:lnTo>
                    <a:lnTo>
                      <a:pt x="141" y="13"/>
                    </a:lnTo>
                    <a:lnTo>
                      <a:pt x="199" y="0"/>
                    </a:lnTo>
                    <a:lnTo>
                      <a:pt x="266" y="35"/>
                    </a:lnTo>
                    <a:lnTo>
                      <a:pt x="266" y="88"/>
                    </a:lnTo>
                    <a:lnTo>
                      <a:pt x="215" y="97"/>
                    </a:lnTo>
                    <a:lnTo>
                      <a:pt x="220" y="164"/>
                    </a:lnTo>
                    <a:lnTo>
                      <a:pt x="305" y="273"/>
                    </a:lnTo>
                    <a:lnTo>
                      <a:pt x="357" y="281"/>
                    </a:lnTo>
                    <a:lnTo>
                      <a:pt x="351" y="302"/>
                    </a:lnTo>
                    <a:lnTo>
                      <a:pt x="446" y="376"/>
                    </a:lnTo>
                    <a:lnTo>
                      <a:pt x="381" y="362"/>
                    </a:lnTo>
                    <a:lnTo>
                      <a:pt x="396" y="433"/>
                    </a:lnTo>
                    <a:lnTo>
                      <a:pt x="357" y="487"/>
                    </a:lnTo>
                    <a:lnTo>
                      <a:pt x="336" y="377"/>
                    </a:lnTo>
                    <a:lnTo>
                      <a:pt x="170" y="254"/>
                    </a:lnTo>
                    <a:lnTo>
                      <a:pt x="131" y="174"/>
                    </a:lnTo>
                    <a:lnTo>
                      <a:pt x="77" y="146"/>
                    </a:lnTo>
                    <a:lnTo>
                      <a:pt x="26" y="181"/>
                    </a:lnTo>
                    <a:lnTo>
                      <a:pt x="0" y="12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3" name="Freeform 362"/>
              <p:cNvSpPr/>
              <p:nvPr/>
            </p:nvSpPr>
            <p:spPr bwMode="auto">
              <a:xfrm>
                <a:off x="1836" y="2534"/>
                <a:ext cx="15" cy="34"/>
              </a:xfrm>
              <a:custGeom>
                <a:avLst/>
                <a:gdLst>
                  <a:gd name="T0" fmla="*/ 0 w 53"/>
                  <a:gd name="T1" fmla="*/ 0 h 119"/>
                  <a:gd name="T2" fmla="*/ 0 w 53"/>
                  <a:gd name="T3" fmla="*/ 3 h 119"/>
                  <a:gd name="T4" fmla="*/ 1 w 53"/>
                  <a:gd name="T5" fmla="*/ 3 h 119"/>
                  <a:gd name="T6" fmla="*/ 1 w 53"/>
                  <a:gd name="T7" fmla="*/ 1 h 119"/>
                  <a:gd name="T8" fmla="*/ 1 w 53"/>
                  <a:gd name="T9" fmla="*/ 0 h 119"/>
                  <a:gd name="T10" fmla="*/ 0 w 53"/>
                  <a:gd name="T11" fmla="*/ 0 h 119"/>
                  <a:gd name="T12" fmla="*/ 0 60000 65536"/>
                  <a:gd name="T13" fmla="*/ 0 60000 65536"/>
                  <a:gd name="T14" fmla="*/ 0 60000 65536"/>
                  <a:gd name="T15" fmla="*/ 0 60000 65536"/>
                  <a:gd name="T16" fmla="*/ 0 60000 65536"/>
                  <a:gd name="T17" fmla="*/ 0 60000 65536"/>
                  <a:gd name="T18" fmla="*/ 0 w 53"/>
                  <a:gd name="T19" fmla="*/ 0 h 119"/>
                  <a:gd name="T20" fmla="*/ 53 w 53"/>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53" h="119">
                    <a:moveTo>
                      <a:pt x="0" y="19"/>
                    </a:moveTo>
                    <a:lnTo>
                      <a:pt x="8" y="111"/>
                    </a:lnTo>
                    <a:lnTo>
                      <a:pt x="34" y="119"/>
                    </a:lnTo>
                    <a:lnTo>
                      <a:pt x="53" y="47"/>
                    </a:lnTo>
                    <a:lnTo>
                      <a:pt x="35" y="0"/>
                    </a:lnTo>
                    <a:lnTo>
                      <a:pt x="0" y="1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4" name="Freeform 363"/>
              <p:cNvSpPr/>
              <p:nvPr/>
            </p:nvSpPr>
            <p:spPr bwMode="auto">
              <a:xfrm>
                <a:off x="1883" y="2579"/>
                <a:ext cx="33" cy="22"/>
              </a:xfrm>
              <a:custGeom>
                <a:avLst/>
                <a:gdLst>
                  <a:gd name="T0" fmla="*/ 0 w 115"/>
                  <a:gd name="T1" fmla="*/ 0 h 76"/>
                  <a:gd name="T2" fmla="*/ 2 w 115"/>
                  <a:gd name="T3" fmla="*/ 2 h 76"/>
                  <a:gd name="T4" fmla="*/ 3 w 115"/>
                  <a:gd name="T5" fmla="*/ 0 h 76"/>
                  <a:gd name="T6" fmla="*/ 0 w 115"/>
                  <a:gd name="T7" fmla="*/ 0 h 76"/>
                  <a:gd name="T8" fmla="*/ 0 60000 65536"/>
                  <a:gd name="T9" fmla="*/ 0 60000 65536"/>
                  <a:gd name="T10" fmla="*/ 0 60000 65536"/>
                  <a:gd name="T11" fmla="*/ 0 60000 65536"/>
                  <a:gd name="T12" fmla="*/ 0 w 115"/>
                  <a:gd name="T13" fmla="*/ 0 h 76"/>
                  <a:gd name="T14" fmla="*/ 115 w 115"/>
                  <a:gd name="T15" fmla="*/ 76 h 76"/>
                </a:gdLst>
                <a:ahLst/>
                <a:cxnLst>
                  <a:cxn ang="T8">
                    <a:pos x="T0" y="T1"/>
                  </a:cxn>
                  <a:cxn ang="T9">
                    <a:pos x="T2" y="T3"/>
                  </a:cxn>
                  <a:cxn ang="T10">
                    <a:pos x="T4" y="T5"/>
                  </a:cxn>
                  <a:cxn ang="T11">
                    <a:pos x="T6" y="T7"/>
                  </a:cxn>
                </a:cxnLst>
                <a:rect l="T12" t="T13" r="T14" b="T15"/>
                <a:pathLst>
                  <a:path w="115" h="76">
                    <a:moveTo>
                      <a:pt x="0" y="15"/>
                    </a:moveTo>
                    <a:lnTo>
                      <a:pt x="97" y="76"/>
                    </a:lnTo>
                    <a:lnTo>
                      <a:pt x="115" y="0"/>
                    </a:lnTo>
                    <a:lnTo>
                      <a:pt x="0" y="1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5" name="Freeform 364"/>
              <p:cNvSpPr/>
              <p:nvPr/>
            </p:nvSpPr>
            <p:spPr bwMode="auto">
              <a:xfrm>
                <a:off x="3158" y="2643"/>
                <a:ext cx="26" cy="35"/>
              </a:xfrm>
              <a:custGeom>
                <a:avLst/>
                <a:gdLst>
                  <a:gd name="T0" fmla="*/ 0 w 90"/>
                  <a:gd name="T1" fmla="*/ 1 h 124"/>
                  <a:gd name="T2" fmla="*/ 0 w 90"/>
                  <a:gd name="T3" fmla="*/ 1 h 124"/>
                  <a:gd name="T4" fmla="*/ 1 w 90"/>
                  <a:gd name="T5" fmla="*/ 1 h 124"/>
                  <a:gd name="T6" fmla="*/ 1 w 90"/>
                  <a:gd name="T7" fmla="*/ 1 h 124"/>
                  <a:gd name="T8" fmla="*/ 1 w 90"/>
                  <a:gd name="T9" fmla="*/ 3 h 124"/>
                  <a:gd name="T10" fmla="*/ 1 w 90"/>
                  <a:gd name="T11" fmla="*/ 3 h 124"/>
                  <a:gd name="T12" fmla="*/ 2 w 90"/>
                  <a:gd name="T13" fmla="*/ 1 h 124"/>
                  <a:gd name="T14" fmla="*/ 2 w 90"/>
                  <a:gd name="T15" fmla="*/ 0 h 124"/>
                  <a:gd name="T16" fmla="*/ 1 w 90"/>
                  <a:gd name="T17" fmla="*/ 0 h 124"/>
                  <a:gd name="T18" fmla="*/ 0 w 90"/>
                  <a:gd name="T19" fmla="*/ 1 h 1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124"/>
                  <a:gd name="T32" fmla="*/ 90 w 90"/>
                  <a:gd name="T33" fmla="*/ 124 h 1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124">
                    <a:moveTo>
                      <a:pt x="0" y="32"/>
                    </a:moveTo>
                    <a:lnTo>
                      <a:pt x="4" y="64"/>
                    </a:lnTo>
                    <a:lnTo>
                      <a:pt x="25" y="32"/>
                    </a:lnTo>
                    <a:lnTo>
                      <a:pt x="35" y="51"/>
                    </a:lnTo>
                    <a:lnTo>
                      <a:pt x="24" y="124"/>
                    </a:lnTo>
                    <a:lnTo>
                      <a:pt x="64" y="121"/>
                    </a:lnTo>
                    <a:lnTo>
                      <a:pt x="90" y="48"/>
                    </a:lnTo>
                    <a:lnTo>
                      <a:pt x="77" y="5"/>
                    </a:lnTo>
                    <a:lnTo>
                      <a:pt x="36" y="0"/>
                    </a:lnTo>
                    <a:lnTo>
                      <a:pt x="0" y="3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6" name="Freeform 365"/>
              <p:cNvSpPr/>
              <p:nvPr/>
            </p:nvSpPr>
            <p:spPr bwMode="auto">
              <a:xfrm>
                <a:off x="3171" y="2533"/>
                <a:ext cx="123" cy="115"/>
              </a:xfrm>
              <a:custGeom>
                <a:avLst/>
                <a:gdLst>
                  <a:gd name="T0" fmla="*/ 0 w 433"/>
                  <a:gd name="T1" fmla="*/ 9 h 403"/>
                  <a:gd name="T2" fmla="*/ 2 w 433"/>
                  <a:gd name="T3" fmla="*/ 7 h 403"/>
                  <a:gd name="T4" fmla="*/ 4 w 433"/>
                  <a:gd name="T5" fmla="*/ 7 h 403"/>
                  <a:gd name="T6" fmla="*/ 5 w 433"/>
                  <a:gd name="T7" fmla="*/ 5 h 403"/>
                  <a:gd name="T8" fmla="*/ 6 w 433"/>
                  <a:gd name="T9" fmla="*/ 5 h 403"/>
                  <a:gd name="T10" fmla="*/ 6 w 433"/>
                  <a:gd name="T11" fmla="*/ 5 h 403"/>
                  <a:gd name="T12" fmla="*/ 7 w 433"/>
                  <a:gd name="T13" fmla="*/ 5 h 403"/>
                  <a:gd name="T14" fmla="*/ 8 w 433"/>
                  <a:gd name="T15" fmla="*/ 3 h 403"/>
                  <a:gd name="T16" fmla="*/ 8 w 433"/>
                  <a:gd name="T17" fmla="*/ 1 h 403"/>
                  <a:gd name="T18" fmla="*/ 9 w 433"/>
                  <a:gd name="T19" fmla="*/ 1 h 403"/>
                  <a:gd name="T20" fmla="*/ 9 w 433"/>
                  <a:gd name="T21" fmla="*/ 0 h 403"/>
                  <a:gd name="T22" fmla="*/ 9 w 433"/>
                  <a:gd name="T23" fmla="*/ 0 h 403"/>
                  <a:gd name="T24" fmla="*/ 10 w 433"/>
                  <a:gd name="T25" fmla="*/ 2 h 403"/>
                  <a:gd name="T26" fmla="*/ 9 w 433"/>
                  <a:gd name="T27" fmla="*/ 4 h 403"/>
                  <a:gd name="T28" fmla="*/ 9 w 433"/>
                  <a:gd name="T29" fmla="*/ 5 h 403"/>
                  <a:gd name="T30" fmla="*/ 9 w 433"/>
                  <a:gd name="T31" fmla="*/ 7 h 403"/>
                  <a:gd name="T32" fmla="*/ 8 w 433"/>
                  <a:gd name="T33" fmla="*/ 8 h 403"/>
                  <a:gd name="T34" fmla="*/ 8 w 433"/>
                  <a:gd name="T35" fmla="*/ 7 h 403"/>
                  <a:gd name="T36" fmla="*/ 7 w 433"/>
                  <a:gd name="T37" fmla="*/ 8 h 403"/>
                  <a:gd name="T38" fmla="*/ 5 w 433"/>
                  <a:gd name="T39" fmla="*/ 8 h 403"/>
                  <a:gd name="T40" fmla="*/ 5 w 433"/>
                  <a:gd name="T41" fmla="*/ 9 h 403"/>
                  <a:gd name="T42" fmla="*/ 4 w 433"/>
                  <a:gd name="T43" fmla="*/ 9 h 403"/>
                  <a:gd name="T44" fmla="*/ 4 w 433"/>
                  <a:gd name="T45" fmla="*/ 8 h 403"/>
                  <a:gd name="T46" fmla="*/ 0 w 433"/>
                  <a:gd name="T47" fmla="*/ 9 h 40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3"/>
                  <a:gd name="T73" fmla="*/ 0 h 403"/>
                  <a:gd name="T74" fmla="*/ 433 w 433"/>
                  <a:gd name="T75" fmla="*/ 403 h 40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3" h="403">
                    <a:moveTo>
                      <a:pt x="0" y="378"/>
                    </a:moveTo>
                    <a:lnTo>
                      <a:pt x="80" y="305"/>
                    </a:lnTo>
                    <a:lnTo>
                      <a:pt x="188" y="305"/>
                    </a:lnTo>
                    <a:lnTo>
                      <a:pt x="232" y="212"/>
                    </a:lnTo>
                    <a:lnTo>
                      <a:pt x="250" y="204"/>
                    </a:lnTo>
                    <a:lnTo>
                      <a:pt x="252" y="239"/>
                    </a:lnTo>
                    <a:lnTo>
                      <a:pt x="299" y="204"/>
                    </a:lnTo>
                    <a:lnTo>
                      <a:pt x="343" y="138"/>
                    </a:lnTo>
                    <a:lnTo>
                      <a:pt x="360" y="21"/>
                    </a:lnTo>
                    <a:lnTo>
                      <a:pt x="394" y="25"/>
                    </a:lnTo>
                    <a:lnTo>
                      <a:pt x="385" y="0"/>
                    </a:lnTo>
                    <a:lnTo>
                      <a:pt x="406" y="1"/>
                    </a:lnTo>
                    <a:lnTo>
                      <a:pt x="433" y="97"/>
                    </a:lnTo>
                    <a:lnTo>
                      <a:pt x="394" y="166"/>
                    </a:lnTo>
                    <a:lnTo>
                      <a:pt x="394" y="227"/>
                    </a:lnTo>
                    <a:lnTo>
                      <a:pt x="367" y="319"/>
                    </a:lnTo>
                    <a:lnTo>
                      <a:pt x="346" y="332"/>
                    </a:lnTo>
                    <a:lnTo>
                      <a:pt x="345" y="297"/>
                    </a:lnTo>
                    <a:lnTo>
                      <a:pt x="284" y="347"/>
                    </a:lnTo>
                    <a:lnTo>
                      <a:pt x="232" y="327"/>
                    </a:lnTo>
                    <a:lnTo>
                      <a:pt x="235" y="368"/>
                    </a:lnTo>
                    <a:lnTo>
                      <a:pt x="188" y="403"/>
                    </a:lnTo>
                    <a:lnTo>
                      <a:pt x="177" y="345"/>
                    </a:lnTo>
                    <a:lnTo>
                      <a:pt x="0" y="37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7" name="Freeform 366"/>
              <p:cNvSpPr/>
              <p:nvPr/>
            </p:nvSpPr>
            <p:spPr bwMode="auto">
              <a:xfrm>
                <a:off x="3185" y="2638"/>
                <a:ext cx="26" cy="21"/>
              </a:xfrm>
              <a:custGeom>
                <a:avLst/>
                <a:gdLst>
                  <a:gd name="T0" fmla="*/ 0 w 88"/>
                  <a:gd name="T1" fmla="*/ 1 h 73"/>
                  <a:gd name="T2" fmla="*/ 1 w 88"/>
                  <a:gd name="T3" fmla="*/ 2 h 73"/>
                  <a:gd name="T4" fmla="*/ 2 w 88"/>
                  <a:gd name="T5" fmla="*/ 1 h 73"/>
                  <a:gd name="T6" fmla="*/ 2 w 88"/>
                  <a:gd name="T7" fmla="*/ 0 h 73"/>
                  <a:gd name="T8" fmla="*/ 0 w 88"/>
                  <a:gd name="T9" fmla="*/ 1 h 73"/>
                  <a:gd name="T10" fmla="*/ 0 60000 65536"/>
                  <a:gd name="T11" fmla="*/ 0 60000 65536"/>
                  <a:gd name="T12" fmla="*/ 0 60000 65536"/>
                  <a:gd name="T13" fmla="*/ 0 60000 65536"/>
                  <a:gd name="T14" fmla="*/ 0 60000 65536"/>
                  <a:gd name="T15" fmla="*/ 0 w 88"/>
                  <a:gd name="T16" fmla="*/ 0 h 73"/>
                  <a:gd name="T17" fmla="*/ 88 w 88"/>
                  <a:gd name="T18" fmla="*/ 73 h 73"/>
                </a:gdLst>
                <a:ahLst/>
                <a:cxnLst>
                  <a:cxn ang="T10">
                    <a:pos x="T0" y="T1"/>
                  </a:cxn>
                  <a:cxn ang="T11">
                    <a:pos x="T2" y="T3"/>
                  </a:cxn>
                  <a:cxn ang="T12">
                    <a:pos x="T4" y="T5"/>
                  </a:cxn>
                  <a:cxn ang="T13">
                    <a:pos x="T6" y="T7"/>
                  </a:cxn>
                  <a:cxn ang="T14">
                    <a:pos x="T8" y="T9"/>
                  </a:cxn>
                </a:cxnLst>
                <a:rect l="T15" t="T16" r="T17" b="T18"/>
                <a:pathLst>
                  <a:path w="88" h="73">
                    <a:moveTo>
                      <a:pt x="0" y="37"/>
                    </a:moveTo>
                    <a:lnTo>
                      <a:pt x="33" y="73"/>
                    </a:lnTo>
                    <a:lnTo>
                      <a:pt x="83" y="46"/>
                    </a:lnTo>
                    <a:lnTo>
                      <a:pt x="88" y="0"/>
                    </a:lnTo>
                    <a:lnTo>
                      <a:pt x="0" y="3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8" name="Freeform 367"/>
              <p:cNvSpPr/>
              <p:nvPr/>
            </p:nvSpPr>
            <p:spPr bwMode="auto">
              <a:xfrm>
                <a:off x="3269" y="2472"/>
                <a:ext cx="64" cy="61"/>
              </a:xfrm>
              <a:custGeom>
                <a:avLst/>
                <a:gdLst>
                  <a:gd name="T0" fmla="*/ 0 w 226"/>
                  <a:gd name="T1" fmla="*/ 4 h 214"/>
                  <a:gd name="T2" fmla="*/ 0 w 226"/>
                  <a:gd name="T3" fmla="*/ 5 h 214"/>
                  <a:gd name="T4" fmla="*/ 1 w 226"/>
                  <a:gd name="T5" fmla="*/ 5 h 214"/>
                  <a:gd name="T6" fmla="*/ 1 w 226"/>
                  <a:gd name="T7" fmla="*/ 4 h 214"/>
                  <a:gd name="T8" fmla="*/ 3 w 226"/>
                  <a:gd name="T9" fmla="*/ 4 h 214"/>
                  <a:gd name="T10" fmla="*/ 3 w 226"/>
                  <a:gd name="T11" fmla="*/ 3 h 214"/>
                  <a:gd name="T12" fmla="*/ 5 w 226"/>
                  <a:gd name="T13" fmla="*/ 3 h 214"/>
                  <a:gd name="T14" fmla="*/ 5 w 226"/>
                  <a:gd name="T15" fmla="*/ 2 h 214"/>
                  <a:gd name="T16" fmla="*/ 5 w 226"/>
                  <a:gd name="T17" fmla="*/ 1 h 214"/>
                  <a:gd name="T18" fmla="*/ 3 w 226"/>
                  <a:gd name="T19" fmla="*/ 1 h 214"/>
                  <a:gd name="T20" fmla="*/ 2 w 226"/>
                  <a:gd name="T21" fmla="*/ 0 h 214"/>
                  <a:gd name="T22" fmla="*/ 1 w 226"/>
                  <a:gd name="T23" fmla="*/ 3 h 214"/>
                  <a:gd name="T24" fmla="*/ 1 w 226"/>
                  <a:gd name="T25" fmla="*/ 3 h 214"/>
                  <a:gd name="T26" fmla="*/ 0 w 226"/>
                  <a:gd name="T27" fmla="*/ 4 h 2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6"/>
                  <a:gd name="T43" fmla="*/ 0 h 214"/>
                  <a:gd name="T44" fmla="*/ 226 w 226"/>
                  <a:gd name="T45" fmla="*/ 214 h 2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6" h="214">
                    <a:moveTo>
                      <a:pt x="0" y="153"/>
                    </a:moveTo>
                    <a:lnTo>
                      <a:pt x="10" y="214"/>
                    </a:lnTo>
                    <a:lnTo>
                      <a:pt x="51" y="192"/>
                    </a:lnTo>
                    <a:lnTo>
                      <a:pt x="23" y="155"/>
                    </a:lnTo>
                    <a:lnTo>
                      <a:pt x="133" y="188"/>
                    </a:lnTo>
                    <a:lnTo>
                      <a:pt x="157" y="138"/>
                    </a:lnTo>
                    <a:lnTo>
                      <a:pt x="226" y="120"/>
                    </a:lnTo>
                    <a:lnTo>
                      <a:pt x="202" y="86"/>
                    </a:lnTo>
                    <a:lnTo>
                      <a:pt x="211" y="58"/>
                    </a:lnTo>
                    <a:lnTo>
                      <a:pt x="150" y="62"/>
                    </a:lnTo>
                    <a:lnTo>
                      <a:pt x="80" y="0"/>
                    </a:lnTo>
                    <a:lnTo>
                      <a:pt x="54" y="122"/>
                    </a:lnTo>
                    <a:lnTo>
                      <a:pt x="22" y="115"/>
                    </a:lnTo>
                    <a:lnTo>
                      <a:pt x="0" y="15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9" name="Freeform 368"/>
              <p:cNvSpPr/>
              <p:nvPr/>
            </p:nvSpPr>
            <p:spPr bwMode="auto">
              <a:xfrm>
                <a:off x="3101" y="2512"/>
                <a:ext cx="68" cy="76"/>
              </a:xfrm>
              <a:custGeom>
                <a:avLst/>
                <a:gdLst>
                  <a:gd name="T0" fmla="*/ 0 w 240"/>
                  <a:gd name="T1" fmla="*/ 3 h 268"/>
                  <a:gd name="T2" fmla="*/ 1 w 240"/>
                  <a:gd name="T3" fmla="*/ 4 h 268"/>
                  <a:gd name="T4" fmla="*/ 0 w 240"/>
                  <a:gd name="T5" fmla="*/ 6 h 268"/>
                  <a:gd name="T6" fmla="*/ 2 w 240"/>
                  <a:gd name="T7" fmla="*/ 6 h 268"/>
                  <a:gd name="T8" fmla="*/ 3 w 240"/>
                  <a:gd name="T9" fmla="*/ 5 h 268"/>
                  <a:gd name="T10" fmla="*/ 3 w 240"/>
                  <a:gd name="T11" fmla="*/ 4 h 268"/>
                  <a:gd name="T12" fmla="*/ 5 w 240"/>
                  <a:gd name="T13" fmla="*/ 2 h 268"/>
                  <a:gd name="T14" fmla="*/ 5 w 240"/>
                  <a:gd name="T15" fmla="*/ 1 h 268"/>
                  <a:gd name="T16" fmla="*/ 5 w 240"/>
                  <a:gd name="T17" fmla="*/ 0 h 268"/>
                  <a:gd name="T18" fmla="*/ 5 w 240"/>
                  <a:gd name="T19" fmla="*/ 0 h 268"/>
                  <a:gd name="T20" fmla="*/ 3 w 240"/>
                  <a:gd name="T21" fmla="*/ 1 h 268"/>
                  <a:gd name="T22" fmla="*/ 3 w 240"/>
                  <a:gd name="T23" fmla="*/ 2 h 268"/>
                  <a:gd name="T24" fmla="*/ 2 w 240"/>
                  <a:gd name="T25" fmla="*/ 1 h 268"/>
                  <a:gd name="T26" fmla="*/ 0 w 240"/>
                  <a:gd name="T27" fmla="*/ 3 h 2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0"/>
                  <a:gd name="T43" fmla="*/ 0 h 268"/>
                  <a:gd name="T44" fmla="*/ 240 w 240"/>
                  <a:gd name="T45" fmla="*/ 268 h 2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0" h="268">
                    <a:moveTo>
                      <a:pt x="0" y="151"/>
                    </a:moveTo>
                    <a:lnTo>
                      <a:pt x="43" y="173"/>
                    </a:lnTo>
                    <a:lnTo>
                      <a:pt x="15" y="251"/>
                    </a:lnTo>
                    <a:lnTo>
                      <a:pt x="84" y="268"/>
                    </a:lnTo>
                    <a:lnTo>
                      <a:pt x="155" y="223"/>
                    </a:lnTo>
                    <a:lnTo>
                      <a:pt x="122" y="159"/>
                    </a:lnTo>
                    <a:lnTo>
                      <a:pt x="202" y="101"/>
                    </a:lnTo>
                    <a:lnTo>
                      <a:pt x="240" y="24"/>
                    </a:lnTo>
                    <a:lnTo>
                      <a:pt x="237" y="13"/>
                    </a:lnTo>
                    <a:lnTo>
                      <a:pt x="223" y="0"/>
                    </a:lnTo>
                    <a:lnTo>
                      <a:pt x="147" y="50"/>
                    </a:lnTo>
                    <a:lnTo>
                      <a:pt x="147" y="77"/>
                    </a:lnTo>
                    <a:lnTo>
                      <a:pt x="94" y="68"/>
                    </a:lnTo>
                    <a:lnTo>
                      <a:pt x="0" y="15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0" name="Freeform 369"/>
              <p:cNvSpPr/>
              <p:nvPr/>
            </p:nvSpPr>
            <p:spPr bwMode="auto">
              <a:xfrm>
                <a:off x="3121" y="2575"/>
                <a:ext cx="36" cy="61"/>
              </a:xfrm>
              <a:custGeom>
                <a:avLst/>
                <a:gdLst>
                  <a:gd name="T0" fmla="*/ 0 w 128"/>
                  <a:gd name="T1" fmla="*/ 5 h 212"/>
                  <a:gd name="T2" fmla="*/ 0 w 128"/>
                  <a:gd name="T3" fmla="*/ 1 h 212"/>
                  <a:gd name="T4" fmla="*/ 2 w 128"/>
                  <a:gd name="T5" fmla="*/ 0 h 212"/>
                  <a:gd name="T6" fmla="*/ 3 w 128"/>
                  <a:gd name="T7" fmla="*/ 3 h 212"/>
                  <a:gd name="T8" fmla="*/ 2 w 128"/>
                  <a:gd name="T9" fmla="*/ 5 h 212"/>
                  <a:gd name="T10" fmla="*/ 0 w 128"/>
                  <a:gd name="T11" fmla="*/ 5 h 212"/>
                  <a:gd name="T12" fmla="*/ 0 60000 65536"/>
                  <a:gd name="T13" fmla="*/ 0 60000 65536"/>
                  <a:gd name="T14" fmla="*/ 0 60000 65536"/>
                  <a:gd name="T15" fmla="*/ 0 60000 65536"/>
                  <a:gd name="T16" fmla="*/ 0 60000 65536"/>
                  <a:gd name="T17" fmla="*/ 0 60000 65536"/>
                  <a:gd name="T18" fmla="*/ 0 w 128"/>
                  <a:gd name="T19" fmla="*/ 0 h 212"/>
                  <a:gd name="T20" fmla="*/ 128 w 128"/>
                  <a:gd name="T21" fmla="*/ 212 h 212"/>
                </a:gdLst>
                <a:ahLst/>
                <a:cxnLst>
                  <a:cxn ang="T12">
                    <a:pos x="T0" y="T1"/>
                  </a:cxn>
                  <a:cxn ang="T13">
                    <a:pos x="T2" y="T3"/>
                  </a:cxn>
                  <a:cxn ang="T14">
                    <a:pos x="T4" y="T5"/>
                  </a:cxn>
                  <a:cxn ang="T15">
                    <a:pos x="T6" y="T7"/>
                  </a:cxn>
                  <a:cxn ang="T16">
                    <a:pos x="T8" y="T9"/>
                  </a:cxn>
                  <a:cxn ang="T17">
                    <a:pos x="T10" y="T11"/>
                  </a:cxn>
                </a:cxnLst>
                <a:rect l="T18" t="T19" r="T20" b="T21"/>
                <a:pathLst>
                  <a:path w="128" h="212">
                    <a:moveTo>
                      <a:pt x="0" y="212"/>
                    </a:moveTo>
                    <a:lnTo>
                      <a:pt x="13" y="45"/>
                    </a:lnTo>
                    <a:lnTo>
                      <a:pt x="84" y="0"/>
                    </a:lnTo>
                    <a:lnTo>
                      <a:pt x="128" y="129"/>
                    </a:lnTo>
                    <a:lnTo>
                      <a:pt x="82" y="189"/>
                    </a:lnTo>
                    <a:lnTo>
                      <a:pt x="0" y="21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1" name="Freeform 370"/>
              <p:cNvSpPr/>
              <p:nvPr/>
            </p:nvSpPr>
            <p:spPr bwMode="auto">
              <a:xfrm>
                <a:off x="2838" y="2797"/>
                <a:ext cx="78" cy="105"/>
              </a:xfrm>
              <a:custGeom>
                <a:avLst/>
                <a:gdLst>
                  <a:gd name="T0" fmla="*/ 0 w 274"/>
                  <a:gd name="T1" fmla="*/ 2 h 369"/>
                  <a:gd name="T2" fmla="*/ 1 w 274"/>
                  <a:gd name="T3" fmla="*/ 3 h 369"/>
                  <a:gd name="T4" fmla="*/ 1 w 274"/>
                  <a:gd name="T5" fmla="*/ 5 h 369"/>
                  <a:gd name="T6" fmla="*/ 3 w 274"/>
                  <a:gd name="T7" fmla="*/ 4 h 369"/>
                  <a:gd name="T8" fmla="*/ 4 w 274"/>
                  <a:gd name="T9" fmla="*/ 5 h 369"/>
                  <a:gd name="T10" fmla="*/ 5 w 274"/>
                  <a:gd name="T11" fmla="*/ 7 h 369"/>
                  <a:gd name="T12" fmla="*/ 4 w 274"/>
                  <a:gd name="T13" fmla="*/ 9 h 369"/>
                  <a:gd name="T14" fmla="*/ 6 w 274"/>
                  <a:gd name="T15" fmla="*/ 8 h 369"/>
                  <a:gd name="T16" fmla="*/ 5 w 274"/>
                  <a:gd name="T17" fmla="*/ 5 h 369"/>
                  <a:gd name="T18" fmla="*/ 3 w 274"/>
                  <a:gd name="T19" fmla="*/ 3 h 369"/>
                  <a:gd name="T20" fmla="*/ 4 w 274"/>
                  <a:gd name="T21" fmla="*/ 2 h 369"/>
                  <a:gd name="T22" fmla="*/ 3 w 274"/>
                  <a:gd name="T23" fmla="*/ 1 h 369"/>
                  <a:gd name="T24" fmla="*/ 2 w 274"/>
                  <a:gd name="T25" fmla="*/ 0 h 369"/>
                  <a:gd name="T26" fmla="*/ 1 w 274"/>
                  <a:gd name="T27" fmla="*/ 0 h 369"/>
                  <a:gd name="T28" fmla="*/ 1 w 274"/>
                  <a:gd name="T29" fmla="*/ 1 h 369"/>
                  <a:gd name="T30" fmla="*/ 1 w 274"/>
                  <a:gd name="T31" fmla="*/ 1 h 369"/>
                  <a:gd name="T32" fmla="*/ 0 w 274"/>
                  <a:gd name="T33" fmla="*/ 2 h 3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4"/>
                  <a:gd name="T52" fmla="*/ 0 h 369"/>
                  <a:gd name="T53" fmla="*/ 274 w 274"/>
                  <a:gd name="T54" fmla="*/ 369 h 36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4" h="369">
                    <a:moveTo>
                      <a:pt x="0" y="79"/>
                    </a:moveTo>
                    <a:lnTo>
                      <a:pt x="36" y="132"/>
                    </a:lnTo>
                    <a:lnTo>
                      <a:pt x="25" y="223"/>
                    </a:lnTo>
                    <a:lnTo>
                      <a:pt x="123" y="184"/>
                    </a:lnTo>
                    <a:lnTo>
                      <a:pt x="160" y="223"/>
                    </a:lnTo>
                    <a:lnTo>
                      <a:pt x="198" y="313"/>
                    </a:lnTo>
                    <a:lnTo>
                      <a:pt x="188" y="369"/>
                    </a:lnTo>
                    <a:lnTo>
                      <a:pt x="274" y="353"/>
                    </a:lnTo>
                    <a:lnTo>
                      <a:pt x="231" y="234"/>
                    </a:lnTo>
                    <a:lnTo>
                      <a:pt x="138" y="147"/>
                    </a:lnTo>
                    <a:lnTo>
                      <a:pt x="165" y="94"/>
                    </a:lnTo>
                    <a:lnTo>
                      <a:pt x="112" y="67"/>
                    </a:lnTo>
                    <a:lnTo>
                      <a:pt x="73" y="0"/>
                    </a:lnTo>
                    <a:lnTo>
                      <a:pt x="50" y="1"/>
                    </a:lnTo>
                    <a:lnTo>
                      <a:pt x="52" y="48"/>
                    </a:lnTo>
                    <a:lnTo>
                      <a:pt x="36" y="36"/>
                    </a:lnTo>
                    <a:lnTo>
                      <a:pt x="0" y="7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2" name="Freeform 371"/>
              <p:cNvSpPr/>
              <p:nvPr/>
            </p:nvSpPr>
            <p:spPr bwMode="auto">
              <a:xfrm>
                <a:off x="1810" y="2395"/>
                <a:ext cx="5" cy="11"/>
              </a:xfrm>
              <a:custGeom>
                <a:avLst/>
                <a:gdLst>
                  <a:gd name="T0" fmla="*/ 0 w 18"/>
                  <a:gd name="T1" fmla="*/ 1 h 38"/>
                  <a:gd name="T2" fmla="*/ 0 w 18"/>
                  <a:gd name="T3" fmla="*/ 0 h 38"/>
                  <a:gd name="T4" fmla="*/ 0 w 18"/>
                  <a:gd name="T5" fmla="*/ 1 h 38"/>
                  <a:gd name="T6" fmla="*/ 0 w 18"/>
                  <a:gd name="T7" fmla="*/ 1 h 38"/>
                  <a:gd name="T8" fmla="*/ 0 60000 65536"/>
                  <a:gd name="T9" fmla="*/ 0 60000 65536"/>
                  <a:gd name="T10" fmla="*/ 0 60000 65536"/>
                  <a:gd name="T11" fmla="*/ 0 60000 65536"/>
                  <a:gd name="T12" fmla="*/ 0 w 18"/>
                  <a:gd name="T13" fmla="*/ 0 h 38"/>
                  <a:gd name="T14" fmla="*/ 18 w 18"/>
                  <a:gd name="T15" fmla="*/ 38 h 38"/>
                </a:gdLst>
                <a:ahLst/>
                <a:cxnLst>
                  <a:cxn ang="T8">
                    <a:pos x="T0" y="T1"/>
                  </a:cxn>
                  <a:cxn ang="T9">
                    <a:pos x="T2" y="T3"/>
                  </a:cxn>
                  <a:cxn ang="T10">
                    <a:pos x="T4" y="T5"/>
                  </a:cxn>
                  <a:cxn ang="T11">
                    <a:pos x="T6" y="T7"/>
                  </a:cxn>
                </a:cxnLst>
                <a:rect l="T12" t="T13" r="T14" b="T15"/>
                <a:pathLst>
                  <a:path w="18" h="38">
                    <a:moveTo>
                      <a:pt x="0" y="30"/>
                    </a:moveTo>
                    <a:lnTo>
                      <a:pt x="13" y="0"/>
                    </a:lnTo>
                    <a:lnTo>
                      <a:pt x="18" y="38"/>
                    </a:lnTo>
                    <a:lnTo>
                      <a:pt x="0" y="3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3" name="Freeform 372"/>
              <p:cNvSpPr/>
              <p:nvPr/>
            </p:nvSpPr>
            <p:spPr bwMode="auto">
              <a:xfrm>
                <a:off x="2838" y="3002"/>
                <a:ext cx="41" cy="63"/>
              </a:xfrm>
              <a:custGeom>
                <a:avLst/>
                <a:gdLst>
                  <a:gd name="T0" fmla="*/ 0 w 142"/>
                  <a:gd name="T1" fmla="*/ 0 h 221"/>
                  <a:gd name="T2" fmla="*/ 1 w 142"/>
                  <a:gd name="T3" fmla="*/ 0 h 221"/>
                  <a:gd name="T4" fmla="*/ 1 w 142"/>
                  <a:gd name="T5" fmla="*/ 1 h 221"/>
                  <a:gd name="T6" fmla="*/ 2 w 142"/>
                  <a:gd name="T7" fmla="*/ 0 h 221"/>
                  <a:gd name="T8" fmla="*/ 3 w 142"/>
                  <a:gd name="T9" fmla="*/ 1 h 221"/>
                  <a:gd name="T10" fmla="*/ 3 w 142"/>
                  <a:gd name="T11" fmla="*/ 5 h 221"/>
                  <a:gd name="T12" fmla="*/ 3 w 142"/>
                  <a:gd name="T13" fmla="*/ 5 h 221"/>
                  <a:gd name="T14" fmla="*/ 1 w 142"/>
                  <a:gd name="T15" fmla="*/ 4 h 221"/>
                  <a:gd name="T16" fmla="*/ 0 w 142"/>
                  <a:gd name="T17" fmla="*/ 0 h 2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
                  <a:gd name="T28" fmla="*/ 0 h 221"/>
                  <a:gd name="T29" fmla="*/ 142 w 142"/>
                  <a:gd name="T30" fmla="*/ 221 h 2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 h="221">
                    <a:moveTo>
                      <a:pt x="0" y="0"/>
                    </a:moveTo>
                    <a:lnTo>
                      <a:pt x="29" y="0"/>
                    </a:lnTo>
                    <a:lnTo>
                      <a:pt x="38" y="41"/>
                    </a:lnTo>
                    <a:lnTo>
                      <a:pt x="73" y="15"/>
                    </a:lnTo>
                    <a:lnTo>
                      <a:pt x="122" y="65"/>
                    </a:lnTo>
                    <a:lnTo>
                      <a:pt x="142" y="221"/>
                    </a:lnTo>
                    <a:lnTo>
                      <a:pt x="141" y="221"/>
                    </a:lnTo>
                    <a:lnTo>
                      <a:pt x="42" y="156"/>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4" name="Freeform 373"/>
              <p:cNvSpPr/>
              <p:nvPr/>
            </p:nvSpPr>
            <p:spPr bwMode="auto">
              <a:xfrm>
                <a:off x="2941" y="2996"/>
                <a:ext cx="103" cy="76"/>
              </a:xfrm>
              <a:custGeom>
                <a:avLst/>
                <a:gdLst>
                  <a:gd name="T0" fmla="*/ 0 w 362"/>
                  <a:gd name="T1" fmla="*/ 6 h 264"/>
                  <a:gd name="T2" fmla="*/ 1 w 362"/>
                  <a:gd name="T3" fmla="*/ 6 h 264"/>
                  <a:gd name="T4" fmla="*/ 3 w 362"/>
                  <a:gd name="T5" fmla="*/ 6 h 264"/>
                  <a:gd name="T6" fmla="*/ 4 w 362"/>
                  <a:gd name="T7" fmla="*/ 6 h 264"/>
                  <a:gd name="T8" fmla="*/ 5 w 362"/>
                  <a:gd name="T9" fmla="*/ 3 h 264"/>
                  <a:gd name="T10" fmla="*/ 7 w 362"/>
                  <a:gd name="T11" fmla="*/ 3 h 264"/>
                  <a:gd name="T12" fmla="*/ 8 w 362"/>
                  <a:gd name="T13" fmla="*/ 2 h 264"/>
                  <a:gd name="T14" fmla="*/ 7 w 362"/>
                  <a:gd name="T15" fmla="*/ 1 h 264"/>
                  <a:gd name="T16" fmla="*/ 7 w 362"/>
                  <a:gd name="T17" fmla="*/ 0 h 264"/>
                  <a:gd name="T18" fmla="*/ 5 w 362"/>
                  <a:gd name="T19" fmla="*/ 2 h 264"/>
                  <a:gd name="T20" fmla="*/ 4 w 362"/>
                  <a:gd name="T21" fmla="*/ 3 h 264"/>
                  <a:gd name="T22" fmla="*/ 4 w 362"/>
                  <a:gd name="T23" fmla="*/ 3 h 264"/>
                  <a:gd name="T24" fmla="*/ 3 w 362"/>
                  <a:gd name="T25" fmla="*/ 4 h 264"/>
                  <a:gd name="T26" fmla="*/ 2 w 362"/>
                  <a:gd name="T27" fmla="*/ 4 h 264"/>
                  <a:gd name="T28" fmla="*/ 1 w 362"/>
                  <a:gd name="T29" fmla="*/ 6 h 264"/>
                  <a:gd name="T30" fmla="*/ 0 w 362"/>
                  <a:gd name="T31" fmla="*/ 6 h 2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2"/>
                  <a:gd name="T49" fmla="*/ 0 h 264"/>
                  <a:gd name="T50" fmla="*/ 362 w 362"/>
                  <a:gd name="T51" fmla="*/ 264 h 2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2" h="264">
                    <a:moveTo>
                      <a:pt x="0" y="235"/>
                    </a:moveTo>
                    <a:lnTo>
                      <a:pt x="33" y="264"/>
                    </a:lnTo>
                    <a:lnTo>
                      <a:pt x="143" y="253"/>
                    </a:lnTo>
                    <a:lnTo>
                      <a:pt x="182" y="238"/>
                    </a:lnTo>
                    <a:lnTo>
                      <a:pt x="234" y="115"/>
                    </a:lnTo>
                    <a:lnTo>
                      <a:pt x="299" y="120"/>
                    </a:lnTo>
                    <a:lnTo>
                      <a:pt x="362" y="78"/>
                    </a:lnTo>
                    <a:lnTo>
                      <a:pt x="304" y="45"/>
                    </a:lnTo>
                    <a:lnTo>
                      <a:pt x="284" y="0"/>
                    </a:lnTo>
                    <a:lnTo>
                      <a:pt x="210" y="82"/>
                    </a:lnTo>
                    <a:lnTo>
                      <a:pt x="185" y="128"/>
                    </a:lnTo>
                    <a:lnTo>
                      <a:pt x="163" y="103"/>
                    </a:lnTo>
                    <a:lnTo>
                      <a:pt x="120" y="168"/>
                    </a:lnTo>
                    <a:lnTo>
                      <a:pt x="70" y="177"/>
                    </a:lnTo>
                    <a:lnTo>
                      <a:pt x="56" y="238"/>
                    </a:lnTo>
                    <a:lnTo>
                      <a:pt x="0" y="23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5" name="Freeform 374"/>
              <p:cNvSpPr/>
              <p:nvPr/>
            </p:nvSpPr>
            <p:spPr bwMode="auto">
              <a:xfrm>
                <a:off x="2702" y="2363"/>
                <a:ext cx="345" cy="167"/>
              </a:xfrm>
              <a:custGeom>
                <a:avLst/>
                <a:gdLst>
                  <a:gd name="T0" fmla="*/ 0 w 1209"/>
                  <a:gd name="T1" fmla="*/ 4 h 587"/>
                  <a:gd name="T2" fmla="*/ 1 w 1209"/>
                  <a:gd name="T3" fmla="*/ 6 h 587"/>
                  <a:gd name="T4" fmla="*/ 2 w 1209"/>
                  <a:gd name="T5" fmla="*/ 6 h 587"/>
                  <a:gd name="T6" fmla="*/ 3 w 1209"/>
                  <a:gd name="T7" fmla="*/ 9 h 587"/>
                  <a:gd name="T8" fmla="*/ 7 w 1209"/>
                  <a:gd name="T9" fmla="*/ 10 h 587"/>
                  <a:gd name="T10" fmla="*/ 8 w 1209"/>
                  <a:gd name="T11" fmla="*/ 12 h 587"/>
                  <a:gd name="T12" fmla="*/ 11 w 1209"/>
                  <a:gd name="T13" fmla="*/ 12 h 587"/>
                  <a:gd name="T14" fmla="*/ 15 w 1209"/>
                  <a:gd name="T15" fmla="*/ 14 h 587"/>
                  <a:gd name="T16" fmla="*/ 20 w 1209"/>
                  <a:gd name="T17" fmla="*/ 12 h 587"/>
                  <a:gd name="T18" fmla="*/ 21 w 1209"/>
                  <a:gd name="T19" fmla="*/ 11 h 587"/>
                  <a:gd name="T20" fmla="*/ 21 w 1209"/>
                  <a:gd name="T21" fmla="*/ 9 h 587"/>
                  <a:gd name="T22" fmla="*/ 23 w 1209"/>
                  <a:gd name="T23" fmla="*/ 10 h 587"/>
                  <a:gd name="T24" fmla="*/ 26 w 1209"/>
                  <a:gd name="T25" fmla="*/ 7 h 587"/>
                  <a:gd name="T26" fmla="*/ 28 w 1209"/>
                  <a:gd name="T27" fmla="*/ 7 h 587"/>
                  <a:gd name="T28" fmla="*/ 27 w 1209"/>
                  <a:gd name="T29" fmla="*/ 5 h 587"/>
                  <a:gd name="T30" fmla="*/ 25 w 1209"/>
                  <a:gd name="T31" fmla="*/ 6 h 587"/>
                  <a:gd name="T32" fmla="*/ 25 w 1209"/>
                  <a:gd name="T33" fmla="*/ 4 h 587"/>
                  <a:gd name="T34" fmla="*/ 25 w 1209"/>
                  <a:gd name="T35" fmla="*/ 3 h 587"/>
                  <a:gd name="T36" fmla="*/ 24 w 1209"/>
                  <a:gd name="T37" fmla="*/ 3 h 587"/>
                  <a:gd name="T38" fmla="*/ 19 w 1209"/>
                  <a:gd name="T39" fmla="*/ 4 h 587"/>
                  <a:gd name="T40" fmla="*/ 16 w 1209"/>
                  <a:gd name="T41" fmla="*/ 2 h 587"/>
                  <a:gd name="T42" fmla="*/ 13 w 1209"/>
                  <a:gd name="T43" fmla="*/ 2 h 587"/>
                  <a:gd name="T44" fmla="*/ 13 w 1209"/>
                  <a:gd name="T45" fmla="*/ 1 h 587"/>
                  <a:gd name="T46" fmla="*/ 10 w 1209"/>
                  <a:gd name="T47" fmla="*/ 0 h 587"/>
                  <a:gd name="T48" fmla="*/ 9 w 1209"/>
                  <a:gd name="T49" fmla="*/ 1 h 587"/>
                  <a:gd name="T50" fmla="*/ 9 w 1209"/>
                  <a:gd name="T51" fmla="*/ 3 h 587"/>
                  <a:gd name="T52" fmla="*/ 4 w 1209"/>
                  <a:gd name="T53" fmla="*/ 2 h 587"/>
                  <a:gd name="T54" fmla="*/ 0 w 1209"/>
                  <a:gd name="T55" fmla="*/ 4 h 5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09"/>
                  <a:gd name="T85" fmla="*/ 0 h 587"/>
                  <a:gd name="T86" fmla="*/ 1209 w 1209"/>
                  <a:gd name="T87" fmla="*/ 587 h 5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09" h="587">
                    <a:moveTo>
                      <a:pt x="0" y="184"/>
                    </a:moveTo>
                    <a:lnTo>
                      <a:pt x="39" y="242"/>
                    </a:lnTo>
                    <a:lnTo>
                      <a:pt x="94" y="265"/>
                    </a:lnTo>
                    <a:lnTo>
                      <a:pt x="113" y="389"/>
                    </a:lnTo>
                    <a:lnTo>
                      <a:pt x="282" y="439"/>
                    </a:lnTo>
                    <a:lnTo>
                      <a:pt x="353" y="526"/>
                    </a:lnTo>
                    <a:lnTo>
                      <a:pt x="494" y="522"/>
                    </a:lnTo>
                    <a:lnTo>
                      <a:pt x="651" y="587"/>
                    </a:lnTo>
                    <a:lnTo>
                      <a:pt x="856" y="526"/>
                    </a:lnTo>
                    <a:lnTo>
                      <a:pt x="920" y="477"/>
                    </a:lnTo>
                    <a:lnTo>
                      <a:pt x="920" y="408"/>
                    </a:lnTo>
                    <a:lnTo>
                      <a:pt x="979" y="416"/>
                    </a:lnTo>
                    <a:lnTo>
                      <a:pt x="1110" y="318"/>
                    </a:lnTo>
                    <a:lnTo>
                      <a:pt x="1209" y="312"/>
                    </a:lnTo>
                    <a:lnTo>
                      <a:pt x="1162" y="238"/>
                    </a:lnTo>
                    <a:lnTo>
                      <a:pt x="1065" y="257"/>
                    </a:lnTo>
                    <a:lnTo>
                      <a:pt x="1064" y="174"/>
                    </a:lnTo>
                    <a:lnTo>
                      <a:pt x="1088" y="127"/>
                    </a:lnTo>
                    <a:lnTo>
                      <a:pt x="1018" y="115"/>
                    </a:lnTo>
                    <a:lnTo>
                      <a:pt x="838" y="167"/>
                    </a:lnTo>
                    <a:lnTo>
                      <a:pt x="677" y="90"/>
                    </a:lnTo>
                    <a:lnTo>
                      <a:pt x="576" y="101"/>
                    </a:lnTo>
                    <a:lnTo>
                      <a:pt x="539" y="39"/>
                    </a:lnTo>
                    <a:lnTo>
                      <a:pt x="439" y="0"/>
                    </a:lnTo>
                    <a:lnTo>
                      <a:pt x="386" y="42"/>
                    </a:lnTo>
                    <a:lnTo>
                      <a:pt x="383" y="126"/>
                    </a:lnTo>
                    <a:lnTo>
                      <a:pt x="153" y="89"/>
                    </a:lnTo>
                    <a:lnTo>
                      <a:pt x="0" y="18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6" name="Freeform 375"/>
              <p:cNvSpPr/>
              <p:nvPr/>
            </p:nvSpPr>
            <p:spPr bwMode="auto">
              <a:xfrm>
                <a:off x="2313" y="2765"/>
                <a:ext cx="84" cy="109"/>
              </a:xfrm>
              <a:custGeom>
                <a:avLst/>
                <a:gdLst>
                  <a:gd name="T0" fmla="*/ 0 w 294"/>
                  <a:gd name="T1" fmla="*/ 6 h 383"/>
                  <a:gd name="T2" fmla="*/ 1 w 294"/>
                  <a:gd name="T3" fmla="*/ 9 h 383"/>
                  <a:gd name="T4" fmla="*/ 3 w 294"/>
                  <a:gd name="T5" fmla="*/ 9 h 383"/>
                  <a:gd name="T6" fmla="*/ 5 w 294"/>
                  <a:gd name="T7" fmla="*/ 6 h 383"/>
                  <a:gd name="T8" fmla="*/ 5 w 294"/>
                  <a:gd name="T9" fmla="*/ 5 h 383"/>
                  <a:gd name="T10" fmla="*/ 7 w 294"/>
                  <a:gd name="T11" fmla="*/ 3 h 383"/>
                  <a:gd name="T12" fmla="*/ 7 w 294"/>
                  <a:gd name="T13" fmla="*/ 3 h 383"/>
                  <a:gd name="T14" fmla="*/ 6 w 294"/>
                  <a:gd name="T15" fmla="*/ 1 h 383"/>
                  <a:gd name="T16" fmla="*/ 4 w 294"/>
                  <a:gd name="T17" fmla="*/ 0 h 383"/>
                  <a:gd name="T18" fmla="*/ 3 w 294"/>
                  <a:gd name="T19" fmla="*/ 0 h 383"/>
                  <a:gd name="T20" fmla="*/ 4 w 294"/>
                  <a:gd name="T21" fmla="*/ 1 h 383"/>
                  <a:gd name="T22" fmla="*/ 3 w 294"/>
                  <a:gd name="T23" fmla="*/ 2 h 383"/>
                  <a:gd name="T24" fmla="*/ 3 w 294"/>
                  <a:gd name="T25" fmla="*/ 3 h 383"/>
                  <a:gd name="T26" fmla="*/ 3 w 294"/>
                  <a:gd name="T27" fmla="*/ 5 h 383"/>
                  <a:gd name="T28" fmla="*/ 0 w 294"/>
                  <a:gd name="T29" fmla="*/ 6 h 3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4"/>
                  <a:gd name="T46" fmla="*/ 0 h 383"/>
                  <a:gd name="T47" fmla="*/ 294 w 294"/>
                  <a:gd name="T48" fmla="*/ 383 h 3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4" h="383">
                    <a:moveTo>
                      <a:pt x="0" y="270"/>
                    </a:moveTo>
                    <a:lnTo>
                      <a:pt x="40" y="383"/>
                    </a:lnTo>
                    <a:lnTo>
                      <a:pt x="109" y="364"/>
                    </a:lnTo>
                    <a:lnTo>
                      <a:pt x="218" y="269"/>
                    </a:lnTo>
                    <a:lnTo>
                      <a:pt x="217" y="223"/>
                    </a:lnTo>
                    <a:lnTo>
                      <a:pt x="289" y="139"/>
                    </a:lnTo>
                    <a:lnTo>
                      <a:pt x="294" y="114"/>
                    </a:lnTo>
                    <a:lnTo>
                      <a:pt x="255" y="64"/>
                    </a:lnTo>
                    <a:lnTo>
                      <a:pt x="164" y="0"/>
                    </a:lnTo>
                    <a:lnTo>
                      <a:pt x="141" y="1"/>
                    </a:lnTo>
                    <a:lnTo>
                      <a:pt x="153" y="36"/>
                    </a:lnTo>
                    <a:lnTo>
                      <a:pt x="122" y="101"/>
                    </a:lnTo>
                    <a:lnTo>
                      <a:pt x="141" y="134"/>
                    </a:lnTo>
                    <a:lnTo>
                      <a:pt x="111" y="226"/>
                    </a:lnTo>
                    <a:lnTo>
                      <a:pt x="0" y="27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7" name="Freeform 376"/>
              <p:cNvSpPr/>
              <p:nvPr/>
            </p:nvSpPr>
            <p:spPr bwMode="auto">
              <a:xfrm>
                <a:off x="2619" y="2692"/>
                <a:ext cx="86" cy="52"/>
              </a:xfrm>
              <a:custGeom>
                <a:avLst/>
                <a:gdLst>
                  <a:gd name="T0" fmla="*/ 0 w 305"/>
                  <a:gd name="T1" fmla="*/ 2 h 184"/>
                  <a:gd name="T2" fmla="*/ 1 w 305"/>
                  <a:gd name="T3" fmla="*/ 0 h 184"/>
                  <a:gd name="T4" fmla="*/ 4 w 305"/>
                  <a:gd name="T5" fmla="*/ 1 h 184"/>
                  <a:gd name="T6" fmla="*/ 5 w 305"/>
                  <a:gd name="T7" fmla="*/ 3 h 184"/>
                  <a:gd name="T8" fmla="*/ 7 w 305"/>
                  <a:gd name="T9" fmla="*/ 3 h 184"/>
                  <a:gd name="T10" fmla="*/ 7 w 305"/>
                  <a:gd name="T11" fmla="*/ 4 h 184"/>
                  <a:gd name="T12" fmla="*/ 2 w 305"/>
                  <a:gd name="T13" fmla="*/ 3 h 184"/>
                  <a:gd name="T14" fmla="*/ 0 w 305"/>
                  <a:gd name="T15" fmla="*/ 2 h 184"/>
                  <a:gd name="T16" fmla="*/ 0 60000 65536"/>
                  <a:gd name="T17" fmla="*/ 0 60000 65536"/>
                  <a:gd name="T18" fmla="*/ 0 60000 65536"/>
                  <a:gd name="T19" fmla="*/ 0 60000 65536"/>
                  <a:gd name="T20" fmla="*/ 0 60000 65536"/>
                  <a:gd name="T21" fmla="*/ 0 60000 65536"/>
                  <a:gd name="T22" fmla="*/ 0 60000 65536"/>
                  <a:gd name="T23" fmla="*/ 0 60000 65536"/>
                  <a:gd name="T24" fmla="*/ 0 w 305"/>
                  <a:gd name="T25" fmla="*/ 0 h 184"/>
                  <a:gd name="T26" fmla="*/ 305 w 305"/>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5" h="184">
                    <a:moveTo>
                      <a:pt x="0" y="72"/>
                    </a:moveTo>
                    <a:lnTo>
                      <a:pt x="39" y="0"/>
                    </a:lnTo>
                    <a:lnTo>
                      <a:pt x="158" y="46"/>
                    </a:lnTo>
                    <a:lnTo>
                      <a:pt x="223" y="117"/>
                    </a:lnTo>
                    <a:lnTo>
                      <a:pt x="305" y="117"/>
                    </a:lnTo>
                    <a:lnTo>
                      <a:pt x="302" y="184"/>
                    </a:lnTo>
                    <a:lnTo>
                      <a:pt x="102" y="141"/>
                    </a:lnTo>
                    <a:lnTo>
                      <a:pt x="0" y="7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8" name="Freeform 377"/>
              <p:cNvSpPr/>
              <p:nvPr/>
            </p:nvSpPr>
            <p:spPr bwMode="auto">
              <a:xfrm>
                <a:off x="1785" y="2344"/>
                <a:ext cx="39" cy="43"/>
              </a:xfrm>
              <a:custGeom>
                <a:avLst/>
                <a:gdLst>
                  <a:gd name="T0" fmla="*/ 0 w 138"/>
                  <a:gd name="T1" fmla="*/ 3 h 148"/>
                  <a:gd name="T2" fmla="*/ 1 w 138"/>
                  <a:gd name="T3" fmla="*/ 2 h 148"/>
                  <a:gd name="T4" fmla="*/ 1 w 138"/>
                  <a:gd name="T5" fmla="*/ 2 h 148"/>
                  <a:gd name="T6" fmla="*/ 1 w 138"/>
                  <a:gd name="T7" fmla="*/ 1 h 148"/>
                  <a:gd name="T8" fmla="*/ 2 w 138"/>
                  <a:gd name="T9" fmla="*/ 1 h 148"/>
                  <a:gd name="T10" fmla="*/ 2 w 138"/>
                  <a:gd name="T11" fmla="*/ 0 h 148"/>
                  <a:gd name="T12" fmla="*/ 3 w 138"/>
                  <a:gd name="T13" fmla="*/ 0 h 148"/>
                  <a:gd name="T14" fmla="*/ 3 w 138"/>
                  <a:gd name="T15" fmla="*/ 1 h 148"/>
                  <a:gd name="T16" fmla="*/ 2 w 138"/>
                  <a:gd name="T17" fmla="*/ 2 h 148"/>
                  <a:gd name="T18" fmla="*/ 2 w 138"/>
                  <a:gd name="T19" fmla="*/ 3 h 148"/>
                  <a:gd name="T20" fmla="*/ 1 w 138"/>
                  <a:gd name="T21" fmla="*/ 3 h 148"/>
                  <a:gd name="T22" fmla="*/ 0 w 138"/>
                  <a:gd name="T23" fmla="*/ 3 h 1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8"/>
                  <a:gd name="T37" fmla="*/ 0 h 148"/>
                  <a:gd name="T38" fmla="*/ 138 w 138"/>
                  <a:gd name="T39" fmla="*/ 148 h 1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8" h="148">
                    <a:moveTo>
                      <a:pt x="0" y="111"/>
                    </a:moveTo>
                    <a:lnTo>
                      <a:pt x="54" y="92"/>
                    </a:lnTo>
                    <a:lnTo>
                      <a:pt x="29" y="76"/>
                    </a:lnTo>
                    <a:lnTo>
                      <a:pt x="53" y="23"/>
                    </a:lnTo>
                    <a:lnTo>
                      <a:pt x="75" y="57"/>
                    </a:lnTo>
                    <a:lnTo>
                      <a:pt x="76" y="0"/>
                    </a:lnTo>
                    <a:lnTo>
                      <a:pt x="138" y="0"/>
                    </a:lnTo>
                    <a:lnTo>
                      <a:pt x="134" y="57"/>
                    </a:lnTo>
                    <a:lnTo>
                      <a:pt x="93" y="79"/>
                    </a:lnTo>
                    <a:lnTo>
                      <a:pt x="95" y="148"/>
                    </a:lnTo>
                    <a:lnTo>
                      <a:pt x="57" y="106"/>
                    </a:lnTo>
                    <a:lnTo>
                      <a:pt x="0" y="11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9" name="Freeform 378"/>
              <p:cNvSpPr/>
              <p:nvPr/>
            </p:nvSpPr>
            <p:spPr bwMode="auto">
              <a:xfrm>
                <a:off x="3558" y="3624"/>
                <a:ext cx="85" cy="91"/>
              </a:xfrm>
              <a:custGeom>
                <a:avLst/>
                <a:gdLst>
                  <a:gd name="T0" fmla="*/ 0 w 298"/>
                  <a:gd name="T1" fmla="*/ 6 h 322"/>
                  <a:gd name="T2" fmla="*/ 1 w 298"/>
                  <a:gd name="T3" fmla="*/ 4 h 322"/>
                  <a:gd name="T4" fmla="*/ 4 w 298"/>
                  <a:gd name="T5" fmla="*/ 3 h 322"/>
                  <a:gd name="T6" fmla="*/ 5 w 298"/>
                  <a:gd name="T7" fmla="*/ 0 h 322"/>
                  <a:gd name="T8" fmla="*/ 6 w 298"/>
                  <a:gd name="T9" fmla="*/ 1 h 322"/>
                  <a:gd name="T10" fmla="*/ 7 w 298"/>
                  <a:gd name="T11" fmla="*/ 0 h 322"/>
                  <a:gd name="T12" fmla="*/ 7 w 298"/>
                  <a:gd name="T13" fmla="*/ 1 h 322"/>
                  <a:gd name="T14" fmla="*/ 6 w 298"/>
                  <a:gd name="T15" fmla="*/ 3 h 322"/>
                  <a:gd name="T16" fmla="*/ 6 w 298"/>
                  <a:gd name="T17" fmla="*/ 4 h 322"/>
                  <a:gd name="T18" fmla="*/ 4 w 298"/>
                  <a:gd name="T19" fmla="*/ 4 h 322"/>
                  <a:gd name="T20" fmla="*/ 4 w 298"/>
                  <a:gd name="T21" fmla="*/ 6 h 322"/>
                  <a:gd name="T22" fmla="*/ 2 w 298"/>
                  <a:gd name="T23" fmla="*/ 7 h 322"/>
                  <a:gd name="T24" fmla="*/ 0 w 298"/>
                  <a:gd name="T25" fmla="*/ 6 h 3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8"/>
                  <a:gd name="T40" fmla="*/ 0 h 322"/>
                  <a:gd name="T41" fmla="*/ 298 w 298"/>
                  <a:gd name="T42" fmla="*/ 322 h 3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8" h="322">
                    <a:moveTo>
                      <a:pt x="0" y="281"/>
                    </a:moveTo>
                    <a:lnTo>
                      <a:pt x="63" y="182"/>
                    </a:lnTo>
                    <a:lnTo>
                      <a:pt x="172" y="109"/>
                    </a:lnTo>
                    <a:lnTo>
                      <a:pt x="223" y="0"/>
                    </a:lnTo>
                    <a:lnTo>
                      <a:pt x="256" y="32"/>
                    </a:lnTo>
                    <a:lnTo>
                      <a:pt x="293" y="17"/>
                    </a:lnTo>
                    <a:lnTo>
                      <a:pt x="298" y="55"/>
                    </a:lnTo>
                    <a:lnTo>
                      <a:pt x="242" y="134"/>
                    </a:lnTo>
                    <a:lnTo>
                      <a:pt x="252" y="167"/>
                    </a:lnTo>
                    <a:lnTo>
                      <a:pt x="190" y="180"/>
                    </a:lnTo>
                    <a:lnTo>
                      <a:pt x="161" y="289"/>
                    </a:lnTo>
                    <a:lnTo>
                      <a:pt x="96" y="322"/>
                    </a:lnTo>
                    <a:lnTo>
                      <a:pt x="0" y="28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0" name="Freeform 379"/>
              <p:cNvSpPr/>
              <p:nvPr/>
            </p:nvSpPr>
            <p:spPr bwMode="auto">
              <a:xfrm>
                <a:off x="3625" y="3534"/>
                <a:ext cx="63" cy="101"/>
              </a:xfrm>
              <a:custGeom>
                <a:avLst/>
                <a:gdLst>
                  <a:gd name="T0" fmla="*/ 0 w 221"/>
                  <a:gd name="T1" fmla="*/ 0 h 353"/>
                  <a:gd name="T2" fmla="*/ 1 w 221"/>
                  <a:gd name="T3" fmla="*/ 1 h 353"/>
                  <a:gd name="T4" fmla="*/ 2 w 221"/>
                  <a:gd name="T5" fmla="*/ 3 h 353"/>
                  <a:gd name="T6" fmla="*/ 3 w 221"/>
                  <a:gd name="T7" fmla="*/ 3 h 353"/>
                  <a:gd name="T8" fmla="*/ 3 w 221"/>
                  <a:gd name="T9" fmla="*/ 3 h 353"/>
                  <a:gd name="T10" fmla="*/ 3 w 221"/>
                  <a:gd name="T11" fmla="*/ 4 h 353"/>
                  <a:gd name="T12" fmla="*/ 5 w 221"/>
                  <a:gd name="T13" fmla="*/ 4 h 353"/>
                  <a:gd name="T14" fmla="*/ 5 w 221"/>
                  <a:gd name="T15" fmla="*/ 5 h 353"/>
                  <a:gd name="T16" fmla="*/ 4 w 221"/>
                  <a:gd name="T17" fmla="*/ 6 h 353"/>
                  <a:gd name="T18" fmla="*/ 3 w 221"/>
                  <a:gd name="T19" fmla="*/ 8 h 353"/>
                  <a:gd name="T20" fmla="*/ 2 w 221"/>
                  <a:gd name="T21" fmla="*/ 8 h 353"/>
                  <a:gd name="T22" fmla="*/ 2 w 221"/>
                  <a:gd name="T23" fmla="*/ 7 h 353"/>
                  <a:gd name="T24" fmla="*/ 1 w 221"/>
                  <a:gd name="T25" fmla="*/ 6 h 353"/>
                  <a:gd name="T26" fmla="*/ 2 w 221"/>
                  <a:gd name="T27" fmla="*/ 4 h 353"/>
                  <a:gd name="T28" fmla="*/ 2 w 221"/>
                  <a:gd name="T29" fmla="*/ 3 h 353"/>
                  <a:gd name="T30" fmla="*/ 0 w 221"/>
                  <a:gd name="T31" fmla="*/ 0 h 3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1"/>
                  <a:gd name="T49" fmla="*/ 0 h 353"/>
                  <a:gd name="T50" fmla="*/ 221 w 221"/>
                  <a:gd name="T51" fmla="*/ 353 h 3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1" h="353">
                    <a:moveTo>
                      <a:pt x="0" y="0"/>
                    </a:moveTo>
                    <a:lnTo>
                      <a:pt x="63" y="39"/>
                    </a:lnTo>
                    <a:lnTo>
                      <a:pt x="75" y="117"/>
                    </a:lnTo>
                    <a:lnTo>
                      <a:pt x="104" y="139"/>
                    </a:lnTo>
                    <a:lnTo>
                      <a:pt x="119" y="106"/>
                    </a:lnTo>
                    <a:lnTo>
                      <a:pt x="132" y="161"/>
                    </a:lnTo>
                    <a:lnTo>
                      <a:pt x="221" y="161"/>
                    </a:lnTo>
                    <a:lnTo>
                      <a:pt x="204" y="238"/>
                    </a:lnTo>
                    <a:lnTo>
                      <a:pt x="159" y="250"/>
                    </a:lnTo>
                    <a:lnTo>
                      <a:pt x="120" y="351"/>
                    </a:lnTo>
                    <a:lnTo>
                      <a:pt x="78" y="353"/>
                    </a:lnTo>
                    <a:lnTo>
                      <a:pt x="96" y="316"/>
                    </a:lnTo>
                    <a:lnTo>
                      <a:pt x="41" y="244"/>
                    </a:lnTo>
                    <a:lnTo>
                      <a:pt x="86" y="179"/>
                    </a:lnTo>
                    <a:lnTo>
                      <a:pt x="78" y="127"/>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1" name="Freeform 380"/>
              <p:cNvSpPr/>
              <p:nvPr/>
            </p:nvSpPr>
            <p:spPr bwMode="auto">
              <a:xfrm>
                <a:off x="1802" y="1995"/>
                <a:ext cx="281" cy="263"/>
              </a:xfrm>
              <a:custGeom>
                <a:avLst/>
                <a:gdLst>
                  <a:gd name="T0" fmla="*/ 0 w 989"/>
                  <a:gd name="T1" fmla="*/ 17 h 922"/>
                  <a:gd name="T2" fmla="*/ 2 w 989"/>
                  <a:gd name="T3" fmla="*/ 17 h 922"/>
                  <a:gd name="T4" fmla="*/ 1 w 989"/>
                  <a:gd name="T5" fmla="*/ 18 h 922"/>
                  <a:gd name="T6" fmla="*/ 2 w 989"/>
                  <a:gd name="T7" fmla="*/ 18 h 922"/>
                  <a:gd name="T8" fmla="*/ 1 w 989"/>
                  <a:gd name="T9" fmla="*/ 19 h 922"/>
                  <a:gd name="T10" fmla="*/ 3 w 989"/>
                  <a:gd name="T11" fmla="*/ 21 h 922"/>
                  <a:gd name="T12" fmla="*/ 5 w 989"/>
                  <a:gd name="T13" fmla="*/ 19 h 922"/>
                  <a:gd name="T14" fmla="*/ 7 w 989"/>
                  <a:gd name="T15" fmla="*/ 19 h 922"/>
                  <a:gd name="T16" fmla="*/ 7 w 989"/>
                  <a:gd name="T17" fmla="*/ 17 h 922"/>
                  <a:gd name="T18" fmla="*/ 6 w 989"/>
                  <a:gd name="T19" fmla="*/ 13 h 922"/>
                  <a:gd name="T20" fmla="*/ 8 w 989"/>
                  <a:gd name="T21" fmla="*/ 11 h 922"/>
                  <a:gd name="T22" fmla="*/ 10 w 989"/>
                  <a:gd name="T23" fmla="*/ 7 h 922"/>
                  <a:gd name="T24" fmla="*/ 11 w 989"/>
                  <a:gd name="T25" fmla="*/ 5 h 922"/>
                  <a:gd name="T26" fmla="*/ 13 w 989"/>
                  <a:gd name="T27" fmla="*/ 5 h 922"/>
                  <a:gd name="T28" fmla="*/ 14 w 989"/>
                  <a:gd name="T29" fmla="*/ 4 h 922"/>
                  <a:gd name="T30" fmla="*/ 15 w 989"/>
                  <a:gd name="T31" fmla="*/ 4 h 922"/>
                  <a:gd name="T32" fmla="*/ 18 w 989"/>
                  <a:gd name="T33" fmla="*/ 4 h 922"/>
                  <a:gd name="T34" fmla="*/ 20 w 989"/>
                  <a:gd name="T35" fmla="*/ 2 h 922"/>
                  <a:gd name="T36" fmla="*/ 21 w 989"/>
                  <a:gd name="T37" fmla="*/ 4 h 922"/>
                  <a:gd name="T38" fmla="*/ 22 w 989"/>
                  <a:gd name="T39" fmla="*/ 3 h 922"/>
                  <a:gd name="T40" fmla="*/ 21 w 989"/>
                  <a:gd name="T41" fmla="*/ 2 h 922"/>
                  <a:gd name="T42" fmla="*/ 21 w 989"/>
                  <a:gd name="T43" fmla="*/ 0 h 922"/>
                  <a:gd name="T44" fmla="*/ 20 w 989"/>
                  <a:gd name="T45" fmla="*/ 0 h 922"/>
                  <a:gd name="T46" fmla="*/ 19 w 989"/>
                  <a:gd name="T47" fmla="*/ 1 h 922"/>
                  <a:gd name="T48" fmla="*/ 19 w 989"/>
                  <a:gd name="T49" fmla="*/ 0 h 922"/>
                  <a:gd name="T50" fmla="*/ 18 w 989"/>
                  <a:gd name="T51" fmla="*/ 0 h 922"/>
                  <a:gd name="T52" fmla="*/ 16 w 989"/>
                  <a:gd name="T53" fmla="*/ 2 h 922"/>
                  <a:gd name="T54" fmla="*/ 15 w 989"/>
                  <a:gd name="T55" fmla="*/ 3 h 922"/>
                  <a:gd name="T56" fmla="*/ 13 w 989"/>
                  <a:gd name="T57" fmla="*/ 3 h 922"/>
                  <a:gd name="T58" fmla="*/ 13 w 989"/>
                  <a:gd name="T59" fmla="*/ 3 h 922"/>
                  <a:gd name="T60" fmla="*/ 13 w 989"/>
                  <a:gd name="T61" fmla="*/ 3 h 922"/>
                  <a:gd name="T62" fmla="*/ 11 w 989"/>
                  <a:gd name="T63" fmla="*/ 4 h 922"/>
                  <a:gd name="T64" fmla="*/ 11 w 989"/>
                  <a:gd name="T65" fmla="*/ 5 h 922"/>
                  <a:gd name="T66" fmla="*/ 9 w 989"/>
                  <a:gd name="T67" fmla="*/ 6 h 922"/>
                  <a:gd name="T68" fmla="*/ 7 w 989"/>
                  <a:gd name="T69" fmla="*/ 8 h 922"/>
                  <a:gd name="T70" fmla="*/ 4 w 989"/>
                  <a:gd name="T71" fmla="*/ 13 h 922"/>
                  <a:gd name="T72" fmla="*/ 5 w 989"/>
                  <a:gd name="T73" fmla="*/ 13 h 922"/>
                  <a:gd name="T74" fmla="*/ 2 w 989"/>
                  <a:gd name="T75" fmla="*/ 14 h 922"/>
                  <a:gd name="T76" fmla="*/ 1 w 989"/>
                  <a:gd name="T77" fmla="*/ 15 h 922"/>
                  <a:gd name="T78" fmla="*/ 0 w 989"/>
                  <a:gd name="T79" fmla="*/ 15 h 922"/>
                  <a:gd name="T80" fmla="*/ 0 w 989"/>
                  <a:gd name="T81" fmla="*/ 16 h 9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89"/>
                  <a:gd name="T124" fmla="*/ 0 h 922"/>
                  <a:gd name="T125" fmla="*/ 989 w 989"/>
                  <a:gd name="T126" fmla="*/ 922 h 9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89" h="922">
                    <a:moveTo>
                      <a:pt x="0" y="688"/>
                    </a:moveTo>
                    <a:lnTo>
                      <a:pt x="4" y="727"/>
                    </a:lnTo>
                    <a:lnTo>
                      <a:pt x="91" y="702"/>
                    </a:lnTo>
                    <a:lnTo>
                      <a:pt x="97" y="717"/>
                    </a:lnTo>
                    <a:lnTo>
                      <a:pt x="3" y="741"/>
                    </a:lnTo>
                    <a:lnTo>
                      <a:pt x="27" y="757"/>
                    </a:lnTo>
                    <a:lnTo>
                      <a:pt x="17" y="807"/>
                    </a:lnTo>
                    <a:lnTo>
                      <a:pt x="80" y="764"/>
                    </a:lnTo>
                    <a:lnTo>
                      <a:pt x="12" y="834"/>
                    </a:lnTo>
                    <a:lnTo>
                      <a:pt x="50" y="834"/>
                    </a:lnTo>
                    <a:lnTo>
                      <a:pt x="27" y="895"/>
                    </a:lnTo>
                    <a:lnTo>
                      <a:pt x="121" y="922"/>
                    </a:lnTo>
                    <a:lnTo>
                      <a:pt x="196" y="863"/>
                    </a:lnTo>
                    <a:lnTo>
                      <a:pt x="213" y="809"/>
                    </a:lnTo>
                    <a:lnTo>
                      <a:pt x="235" y="863"/>
                    </a:lnTo>
                    <a:lnTo>
                      <a:pt x="281" y="795"/>
                    </a:lnTo>
                    <a:lnTo>
                      <a:pt x="270" y="737"/>
                    </a:lnTo>
                    <a:lnTo>
                      <a:pt x="292" y="712"/>
                    </a:lnTo>
                    <a:lnTo>
                      <a:pt x="270" y="685"/>
                    </a:lnTo>
                    <a:lnTo>
                      <a:pt x="277" y="553"/>
                    </a:lnTo>
                    <a:lnTo>
                      <a:pt x="344" y="523"/>
                    </a:lnTo>
                    <a:lnTo>
                      <a:pt x="332" y="483"/>
                    </a:lnTo>
                    <a:lnTo>
                      <a:pt x="364" y="381"/>
                    </a:lnTo>
                    <a:lnTo>
                      <a:pt x="431" y="309"/>
                    </a:lnTo>
                    <a:lnTo>
                      <a:pt x="443" y="249"/>
                    </a:lnTo>
                    <a:lnTo>
                      <a:pt x="488" y="238"/>
                    </a:lnTo>
                    <a:lnTo>
                      <a:pt x="505" y="198"/>
                    </a:lnTo>
                    <a:lnTo>
                      <a:pt x="573" y="207"/>
                    </a:lnTo>
                    <a:lnTo>
                      <a:pt x="574" y="159"/>
                    </a:lnTo>
                    <a:lnTo>
                      <a:pt x="593" y="159"/>
                    </a:lnTo>
                    <a:lnTo>
                      <a:pt x="620" y="138"/>
                    </a:lnTo>
                    <a:lnTo>
                      <a:pt x="665" y="180"/>
                    </a:lnTo>
                    <a:lnTo>
                      <a:pt x="744" y="188"/>
                    </a:lnTo>
                    <a:lnTo>
                      <a:pt x="789" y="162"/>
                    </a:lnTo>
                    <a:lnTo>
                      <a:pt x="801" y="100"/>
                    </a:lnTo>
                    <a:lnTo>
                      <a:pt x="877" y="83"/>
                    </a:lnTo>
                    <a:lnTo>
                      <a:pt x="917" y="108"/>
                    </a:lnTo>
                    <a:lnTo>
                      <a:pt x="912" y="159"/>
                    </a:lnTo>
                    <a:lnTo>
                      <a:pt x="986" y="100"/>
                    </a:lnTo>
                    <a:lnTo>
                      <a:pt x="941" y="109"/>
                    </a:lnTo>
                    <a:lnTo>
                      <a:pt x="952" y="96"/>
                    </a:lnTo>
                    <a:lnTo>
                      <a:pt x="900" y="79"/>
                    </a:lnTo>
                    <a:lnTo>
                      <a:pt x="989" y="51"/>
                    </a:lnTo>
                    <a:lnTo>
                      <a:pt x="917" y="16"/>
                    </a:lnTo>
                    <a:lnTo>
                      <a:pt x="872" y="51"/>
                    </a:lnTo>
                    <a:lnTo>
                      <a:pt x="896" y="4"/>
                    </a:lnTo>
                    <a:lnTo>
                      <a:pt x="861" y="0"/>
                    </a:lnTo>
                    <a:lnTo>
                      <a:pt x="838" y="51"/>
                    </a:lnTo>
                    <a:lnTo>
                      <a:pt x="823" y="55"/>
                    </a:lnTo>
                    <a:lnTo>
                      <a:pt x="823" y="10"/>
                    </a:lnTo>
                    <a:lnTo>
                      <a:pt x="761" y="83"/>
                    </a:lnTo>
                    <a:lnTo>
                      <a:pt x="792" y="17"/>
                    </a:lnTo>
                    <a:lnTo>
                      <a:pt x="761" y="8"/>
                    </a:lnTo>
                    <a:lnTo>
                      <a:pt x="693" y="88"/>
                    </a:lnTo>
                    <a:lnTo>
                      <a:pt x="630" y="62"/>
                    </a:lnTo>
                    <a:lnTo>
                      <a:pt x="646" y="108"/>
                    </a:lnTo>
                    <a:lnTo>
                      <a:pt x="620" y="83"/>
                    </a:lnTo>
                    <a:lnTo>
                      <a:pt x="574" y="140"/>
                    </a:lnTo>
                    <a:lnTo>
                      <a:pt x="580" y="93"/>
                    </a:lnTo>
                    <a:lnTo>
                      <a:pt x="557" y="132"/>
                    </a:lnTo>
                    <a:lnTo>
                      <a:pt x="535" y="105"/>
                    </a:lnTo>
                    <a:lnTo>
                      <a:pt x="550" y="144"/>
                    </a:lnTo>
                    <a:lnTo>
                      <a:pt x="500" y="128"/>
                    </a:lnTo>
                    <a:lnTo>
                      <a:pt x="483" y="181"/>
                    </a:lnTo>
                    <a:lnTo>
                      <a:pt x="438" y="203"/>
                    </a:lnTo>
                    <a:lnTo>
                      <a:pt x="480" y="205"/>
                    </a:lnTo>
                    <a:lnTo>
                      <a:pt x="401" y="234"/>
                    </a:lnTo>
                    <a:lnTo>
                      <a:pt x="387" y="273"/>
                    </a:lnTo>
                    <a:lnTo>
                      <a:pt x="414" y="273"/>
                    </a:lnTo>
                    <a:lnTo>
                      <a:pt x="317" y="336"/>
                    </a:lnTo>
                    <a:lnTo>
                      <a:pt x="283" y="446"/>
                    </a:lnTo>
                    <a:lnTo>
                      <a:pt x="175" y="537"/>
                    </a:lnTo>
                    <a:lnTo>
                      <a:pt x="196" y="560"/>
                    </a:lnTo>
                    <a:lnTo>
                      <a:pt x="238" y="543"/>
                    </a:lnTo>
                    <a:lnTo>
                      <a:pt x="134" y="570"/>
                    </a:lnTo>
                    <a:lnTo>
                      <a:pt x="80" y="607"/>
                    </a:lnTo>
                    <a:lnTo>
                      <a:pt x="91" y="629"/>
                    </a:lnTo>
                    <a:lnTo>
                      <a:pt x="52" y="629"/>
                    </a:lnTo>
                    <a:lnTo>
                      <a:pt x="56" y="657"/>
                    </a:lnTo>
                    <a:lnTo>
                      <a:pt x="5" y="657"/>
                    </a:lnTo>
                    <a:lnTo>
                      <a:pt x="52" y="673"/>
                    </a:lnTo>
                    <a:lnTo>
                      <a:pt x="0" y="68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2" name="Freeform 381"/>
              <p:cNvSpPr/>
              <p:nvPr/>
            </p:nvSpPr>
            <p:spPr bwMode="auto">
              <a:xfrm>
                <a:off x="2410" y="2596"/>
                <a:ext cx="181" cy="184"/>
              </a:xfrm>
              <a:custGeom>
                <a:avLst/>
                <a:gdLst>
                  <a:gd name="T0" fmla="*/ 0 w 636"/>
                  <a:gd name="T1" fmla="*/ 8 h 645"/>
                  <a:gd name="T2" fmla="*/ 1 w 636"/>
                  <a:gd name="T3" fmla="*/ 9 h 645"/>
                  <a:gd name="T4" fmla="*/ 5 w 636"/>
                  <a:gd name="T5" fmla="*/ 8 h 645"/>
                  <a:gd name="T6" fmla="*/ 5 w 636"/>
                  <a:gd name="T7" fmla="*/ 7 h 645"/>
                  <a:gd name="T8" fmla="*/ 7 w 636"/>
                  <a:gd name="T9" fmla="*/ 6 h 645"/>
                  <a:gd name="T10" fmla="*/ 7 w 636"/>
                  <a:gd name="T11" fmla="*/ 5 h 645"/>
                  <a:gd name="T12" fmla="*/ 8 w 636"/>
                  <a:gd name="T13" fmla="*/ 4 h 645"/>
                  <a:gd name="T14" fmla="*/ 8 w 636"/>
                  <a:gd name="T15" fmla="*/ 4 h 645"/>
                  <a:gd name="T16" fmla="*/ 9 w 636"/>
                  <a:gd name="T17" fmla="*/ 3 h 645"/>
                  <a:gd name="T18" fmla="*/ 9 w 636"/>
                  <a:gd name="T19" fmla="*/ 2 h 645"/>
                  <a:gd name="T20" fmla="*/ 9 w 636"/>
                  <a:gd name="T21" fmla="*/ 1 h 645"/>
                  <a:gd name="T22" fmla="*/ 12 w 636"/>
                  <a:gd name="T23" fmla="*/ 0 h 645"/>
                  <a:gd name="T24" fmla="*/ 15 w 636"/>
                  <a:gd name="T25" fmla="*/ 2 h 645"/>
                  <a:gd name="T26" fmla="*/ 14 w 636"/>
                  <a:gd name="T27" fmla="*/ 3 h 645"/>
                  <a:gd name="T28" fmla="*/ 11 w 636"/>
                  <a:gd name="T29" fmla="*/ 3 h 645"/>
                  <a:gd name="T30" fmla="*/ 11 w 636"/>
                  <a:gd name="T31" fmla="*/ 4 h 645"/>
                  <a:gd name="T32" fmla="*/ 13 w 636"/>
                  <a:gd name="T33" fmla="*/ 5 h 645"/>
                  <a:gd name="T34" fmla="*/ 12 w 636"/>
                  <a:gd name="T35" fmla="*/ 6 h 645"/>
                  <a:gd name="T36" fmla="*/ 12 w 636"/>
                  <a:gd name="T37" fmla="*/ 7 h 645"/>
                  <a:gd name="T38" fmla="*/ 9 w 636"/>
                  <a:gd name="T39" fmla="*/ 11 h 645"/>
                  <a:gd name="T40" fmla="*/ 9 w 636"/>
                  <a:gd name="T41" fmla="*/ 10 h 645"/>
                  <a:gd name="T42" fmla="*/ 7 w 636"/>
                  <a:gd name="T43" fmla="*/ 11 h 645"/>
                  <a:gd name="T44" fmla="*/ 9 w 636"/>
                  <a:gd name="T45" fmla="*/ 14 h 645"/>
                  <a:gd name="T46" fmla="*/ 7 w 636"/>
                  <a:gd name="T47" fmla="*/ 14 h 645"/>
                  <a:gd name="T48" fmla="*/ 6 w 636"/>
                  <a:gd name="T49" fmla="*/ 15 h 645"/>
                  <a:gd name="T50" fmla="*/ 5 w 636"/>
                  <a:gd name="T51" fmla="*/ 13 h 645"/>
                  <a:gd name="T52" fmla="*/ 1 w 636"/>
                  <a:gd name="T53" fmla="*/ 13 h 645"/>
                  <a:gd name="T54" fmla="*/ 2 w 636"/>
                  <a:gd name="T55" fmla="*/ 11 h 645"/>
                  <a:gd name="T56" fmla="*/ 0 w 636"/>
                  <a:gd name="T57" fmla="*/ 8 h 6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36"/>
                  <a:gd name="T88" fmla="*/ 0 h 645"/>
                  <a:gd name="T89" fmla="*/ 636 w 636"/>
                  <a:gd name="T90" fmla="*/ 645 h 64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36" h="645">
                    <a:moveTo>
                      <a:pt x="0" y="354"/>
                    </a:moveTo>
                    <a:lnTo>
                      <a:pt x="59" y="377"/>
                    </a:lnTo>
                    <a:lnTo>
                      <a:pt x="198" y="354"/>
                    </a:lnTo>
                    <a:lnTo>
                      <a:pt x="225" y="289"/>
                    </a:lnTo>
                    <a:lnTo>
                      <a:pt x="319" y="253"/>
                    </a:lnTo>
                    <a:lnTo>
                      <a:pt x="326" y="197"/>
                    </a:lnTo>
                    <a:lnTo>
                      <a:pt x="361" y="182"/>
                    </a:lnTo>
                    <a:lnTo>
                      <a:pt x="347" y="154"/>
                    </a:lnTo>
                    <a:lnTo>
                      <a:pt x="379" y="150"/>
                    </a:lnTo>
                    <a:lnTo>
                      <a:pt x="404" y="96"/>
                    </a:lnTo>
                    <a:lnTo>
                      <a:pt x="394" y="40"/>
                    </a:lnTo>
                    <a:lnTo>
                      <a:pt x="524" y="0"/>
                    </a:lnTo>
                    <a:lnTo>
                      <a:pt x="636" y="84"/>
                    </a:lnTo>
                    <a:lnTo>
                      <a:pt x="607" y="119"/>
                    </a:lnTo>
                    <a:lnTo>
                      <a:pt x="497" y="119"/>
                    </a:lnTo>
                    <a:lnTo>
                      <a:pt x="499" y="191"/>
                    </a:lnTo>
                    <a:lnTo>
                      <a:pt x="548" y="237"/>
                    </a:lnTo>
                    <a:lnTo>
                      <a:pt x="521" y="261"/>
                    </a:lnTo>
                    <a:lnTo>
                      <a:pt x="528" y="300"/>
                    </a:lnTo>
                    <a:lnTo>
                      <a:pt x="412" y="449"/>
                    </a:lnTo>
                    <a:lnTo>
                      <a:pt x="364" y="444"/>
                    </a:lnTo>
                    <a:lnTo>
                      <a:pt x="326" y="481"/>
                    </a:lnTo>
                    <a:lnTo>
                      <a:pt x="387" y="617"/>
                    </a:lnTo>
                    <a:lnTo>
                      <a:pt x="302" y="617"/>
                    </a:lnTo>
                    <a:lnTo>
                      <a:pt x="271" y="645"/>
                    </a:lnTo>
                    <a:lnTo>
                      <a:pt x="207" y="564"/>
                    </a:lnTo>
                    <a:lnTo>
                      <a:pt x="27" y="580"/>
                    </a:lnTo>
                    <a:lnTo>
                      <a:pt x="86" y="487"/>
                    </a:lnTo>
                    <a:lnTo>
                      <a:pt x="0" y="35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3" name="Freeform 382"/>
              <p:cNvSpPr/>
              <p:nvPr/>
            </p:nvSpPr>
            <p:spPr bwMode="auto">
              <a:xfrm>
                <a:off x="3283" y="3117"/>
                <a:ext cx="109" cy="97"/>
              </a:xfrm>
              <a:custGeom>
                <a:avLst/>
                <a:gdLst>
                  <a:gd name="T0" fmla="*/ 0 w 380"/>
                  <a:gd name="T1" fmla="*/ 0 h 340"/>
                  <a:gd name="T2" fmla="*/ 0 w 380"/>
                  <a:gd name="T3" fmla="*/ 7 h 340"/>
                  <a:gd name="T4" fmla="*/ 2 w 380"/>
                  <a:gd name="T5" fmla="*/ 7 h 340"/>
                  <a:gd name="T6" fmla="*/ 3 w 380"/>
                  <a:gd name="T7" fmla="*/ 5 h 340"/>
                  <a:gd name="T8" fmla="*/ 5 w 380"/>
                  <a:gd name="T9" fmla="*/ 6 h 340"/>
                  <a:gd name="T10" fmla="*/ 6 w 380"/>
                  <a:gd name="T11" fmla="*/ 8 h 340"/>
                  <a:gd name="T12" fmla="*/ 9 w 380"/>
                  <a:gd name="T13" fmla="*/ 8 h 340"/>
                  <a:gd name="T14" fmla="*/ 6 w 380"/>
                  <a:gd name="T15" fmla="*/ 5 h 340"/>
                  <a:gd name="T16" fmla="*/ 6 w 380"/>
                  <a:gd name="T17" fmla="*/ 3 h 340"/>
                  <a:gd name="T18" fmla="*/ 4 w 380"/>
                  <a:gd name="T19" fmla="*/ 3 h 340"/>
                  <a:gd name="T20" fmla="*/ 3 w 380"/>
                  <a:gd name="T21" fmla="*/ 1 h 340"/>
                  <a:gd name="T22" fmla="*/ 0 w 380"/>
                  <a:gd name="T23" fmla="*/ 0 h 3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0"/>
                  <a:gd name="T37" fmla="*/ 0 h 340"/>
                  <a:gd name="T38" fmla="*/ 380 w 380"/>
                  <a:gd name="T39" fmla="*/ 340 h 3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0" h="340">
                    <a:moveTo>
                      <a:pt x="0" y="0"/>
                    </a:moveTo>
                    <a:lnTo>
                      <a:pt x="6" y="285"/>
                    </a:lnTo>
                    <a:lnTo>
                      <a:pt x="68" y="293"/>
                    </a:lnTo>
                    <a:lnTo>
                      <a:pt x="129" y="215"/>
                    </a:lnTo>
                    <a:lnTo>
                      <a:pt x="195" y="250"/>
                    </a:lnTo>
                    <a:lnTo>
                      <a:pt x="259" y="327"/>
                    </a:lnTo>
                    <a:lnTo>
                      <a:pt x="380" y="340"/>
                    </a:lnTo>
                    <a:lnTo>
                      <a:pt x="243" y="213"/>
                    </a:lnTo>
                    <a:lnTo>
                      <a:pt x="251" y="151"/>
                    </a:lnTo>
                    <a:lnTo>
                      <a:pt x="188" y="128"/>
                    </a:lnTo>
                    <a:lnTo>
                      <a:pt x="126" y="50"/>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4" name="Freeform 383"/>
              <p:cNvSpPr/>
              <p:nvPr/>
            </p:nvSpPr>
            <p:spPr bwMode="auto">
              <a:xfrm>
                <a:off x="3362" y="3137"/>
                <a:ext cx="45" cy="25"/>
              </a:xfrm>
              <a:custGeom>
                <a:avLst/>
                <a:gdLst>
                  <a:gd name="T0" fmla="*/ 0 w 159"/>
                  <a:gd name="T1" fmla="*/ 1 h 90"/>
                  <a:gd name="T2" fmla="*/ 2 w 159"/>
                  <a:gd name="T3" fmla="*/ 2 h 90"/>
                  <a:gd name="T4" fmla="*/ 4 w 159"/>
                  <a:gd name="T5" fmla="*/ 1 h 90"/>
                  <a:gd name="T6" fmla="*/ 3 w 159"/>
                  <a:gd name="T7" fmla="*/ 0 h 90"/>
                  <a:gd name="T8" fmla="*/ 3 w 159"/>
                  <a:gd name="T9" fmla="*/ 1 h 90"/>
                  <a:gd name="T10" fmla="*/ 0 w 159"/>
                  <a:gd name="T11" fmla="*/ 1 h 90"/>
                  <a:gd name="T12" fmla="*/ 0 60000 65536"/>
                  <a:gd name="T13" fmla="*/ 0 60000 65536"/>
                  <a:gd name="T14" fmla="*/ 0 60000 65536"/>
                  <a:gd name="T15" fmla="*/ 0 60000 65536"/>
                  <a:gd name="T16" fmla="*/ 0 60000 65536"/>
                  <a:gd name="T17" fmla="*/ 0 60000 65536"/>
                  <a:gd name="T18" fmla="*/ 0 w 159"/>
                  <a:gd name="T19" fmla="*/ 0 h 90"/>
                  <a:gd name="T20" fmla="*/ 159 w 159"/>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159" h="90">
                    <a:moveTo>
                      <a:pt x="0" y="57"/>
                    </a:moveTo>
                    <a:lnTo>
                      <a:pt x="93" y="90"/>
                    </a:lnTo>
                    <a:lnTo>
                      <a:pt x="159" y="27"/>
                    </a:lnTo>
                    <a:lnTo>
                      <a:pt x="132" y="0"/>
                    </a:lnTo>
                    <a:lnTo>
                      <a:pt x="114" y="35"/>
                    </a:lnTo>
                    <a:lnTo>
                      <a:pt x="0" y="5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5" name="Freeform 384"/>
              <p:cNvSpPr/>
              <p:nvPr/>
            </p:nvSpPr>
            <p:spPr bwMode="auto">
              <a:xfrm>
                <a:off x="3389" y="3118"/>
                <a:ext cx="23" cy="25"/>
              </a:xfrm>
              <a:custGeom>
                <a:avLst/>
                <a:gdLst>
                  <a:gd name="T0" fmla="*/ 0 w 80"/>
                  <a:gd name="T1" fmla="*/ 0 h 86"/>
                  <a:gd name="T2" fmla="*/ 1 w 80"/>
                  <a:gd name="T3" fmla="*/ 1 h 86"/>
                  <a:gd name="T4" fmla="*/ 2 w 80"/>
                  <a:gd name="T5" fmla="*/ 2 h 86"/>
                  <a:gd name="T6" fmla="*/ 2 w 80"/>
                  <a:gd name="T7" fmla="*/ 1 h 86"/>
                  <a:gd name="T8" fmla="*/ 0 w 80"/>
                  <a:gd name="T9" fmla="*/ 0 h 86"/>
                  <a:gd name="T10" fmla="*/ 0 60000 65536"/>
                  <a:gd name="T11" fmla="*/ 0 60000 65536"/>
                  <a:gd name="T12" fmla="*/ 0 60000 65536"/>
                  <a:gd name="T13" fmla="*/ 0 60000 65536"/>
                  <a:gd name="T14" fmla="*/ 0 60000 65536"/>
                  <a:gd name="T15" fmla="*/ 0 w 80"/>
                  <a:gd name="T16" fmla="*/ 0 h 86"/>
                  <a:gd name="T17" fmla="*/ 80 w 80"/>
                  <a:gd name="T18" fmla="*/ 86 h 86"/>
                </a:gdLst>
                <a:ahLst/>
                <a:cxnLst>
                  <a:cxn ang="T10">
                    <a:pos x="T0" y="T1"/>
                  </a:cxn>
                  <a:cxn ang="T11">
                    <a:pos x="T2" y="T3"/>
                  </a:cxn>
                  <a:cxn ang="T12">
                    <a:pos x="T4" y="T5"/>
                  </a:cxn>
                  <a:cxn ang="T13">
                    <a:pos x="T6" y="T7"/>
                  </a:cxn>
                  <a:cxn ang="T14">
                    <a:pos x="T8" y="T9"/>
                  </a:cxn>
                </a:cxnLst>
                <a:rect l="T15" t="T16" r="T17" b="T18"/>
                <a:pathLst>
                  <a:path w="80" h="86">
                    <a:moveTo>
                      <a:pt x="0" y="0"/>
                    </a:moveTo>
                    <a:lnTo>
                      <a:pt x="63" y="39"/>
                    </a:lnTo>
                    <a:lnTo>
                      <a:pt x="80" y="86"/>
                    </a:lnTo>
                    <a:lnTo>
                      <a:pt x="79" y="51"/>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6" name="Freeform 385"/>
              <p:cNvSpPr/>
              <p:nvPr/>
            </p:nvSpPr>
            <p:spPr bwMode="auto">
              <a:xfrm>
                <a:off x="3022" y="2941"/>
                <a:ext cx="26" cy="36"/>
              </a:xfrm>
              <a:custGeom>
                <a:avLst/>
                <a:gdLst>
                  <a:gd name="T0" fmla="*/ 0 w 89"/>
                  <a:gd name="T1" fmla="*/ 3 h 127"/>
                  <a:gd name="T2" fmla="*/ 2 w 89"/>
                  <a:gd name="T3" fmla="*/ 1 h 127"/>
                  <a:gd name="T4" fmla="*/ 2 w 89"/>
                  <a:gd name="T5" fmla="*/ 0 h 127"/>
                  <a:gd name="T6" fmla="*/ 0 w 89"/>
                  <a:gd name="T7" fmla="*/ 3 h 127"/>
                  <a:gd name="T8" fmla="*/ 0 60000 65536"/>
                  <a:gd name="T9" fmla="*/ 0 60000 65536"/>
                  <a:gd name="T10" fmla="*/ 0 60000 65536"/>
                  <a:gd name="T11" fmla="*/ 0 60000 65536"/>
                  <a:gd name="T12" fmla="*/ 0 w 89"/>
                  <a:gd name="T13" fmla="*/ 0 h 127"/>
                  <a:gd name="T14" fmla="*/ 89 w 89"/>
                  <a:gd name="T15" fmla="*/ 127 h 127"/>
                </a:gdLst>
                <a:ahLst/>
                <a:cxnLst>
                  <a:cxn ang="T8">
                    <a:pos x="T0" y="T1"/>
                  </a:cxn>
                  <a:cxn ang="T9">
                    <a:pos x="T2" y="T3"/>
                  </a:cxn>
                  <a:cxn ang="T10">
                    <a:pos x="T4" y="T5"/>
                  </a:cxn>
                  <a:cxn ang="T11">
                    <a:pos x="T6" y="T7"/>
                  </a:cxn>
                </a:cxnLst>
                <a:rect l="T12" t="T13" r="T14" b="T15"/>
                <a:pathLst>
                  <a:path w="89" h="127">
                    <a:moveTo>
                      <a:pt x="0" y="127"/>
                    </a:moveTo>
                    <a:lnTo>
                      <a:pt x="64" y="67"/>
                    </a:lnTo>
                    <a:lnTo>
                      <a:pt x="89" y="0"/>
                    </a:lnTo>
                    <a:lnTo>
                      <a:pt x="0" y="12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7" name="Freeform 386"/>
              <p:cNvSpPr/>
              <p:nvPr/>
            </p:nvSpPr>
            <p:spPr bwMode="auto">
              <a:xfrm>
                <a:off x="3052" y="2848"/>
                <a:ext cx="45" cy="77"/>
              </a:xfrm>
              <a:custGeom>
                <a:avLst/>
                <a:gdLst>
                  <a:gd name="T0" fmla="*/ 0 w 156"/>
                  <a:gd name="T1" fmla="*/ 3 h 269"/>
                  <a:gd name="T2" fmla="*/ 1 w 156"/>
                  <a:gd name="T3" fmla="*/ 0 h 269"/>
                  <a:gd name="T4" fmla="*/ 2 w 156"/>
                  <a:gd name="T5" fmla="*/ 0 h 269"/>
                  <a:gd name="T6" fmla="*/ 2 w 156"/>
                  <a:gd name="T7" fmla="*/ 2 h 269"/>
                  <a:gd name="T8" fmla="*/ 1 w 156"/>
                  <a:gd name="T9" fmla="*/ 3 h 269"/>
                  <a:gd name="T10" fmla="*/ 1 w 156"/>
                  <a:gd name="T11" fmla="*/ 4 h 269"/>
                  <a:gd name="T12" fmla="*/ 3 w 156"/>
                  <a:gd name="T13" fmla="*/ 5 h 269"/>
                  <a:gd name="T14" fmla="*/ 4 w 156"/>
                  <a:gd name="T15" fmla="*/ 6 h 269"/>
                  <a:gd name="T16" fmla="*/ 3 w 156"/>
                  <a:gd name="T17" fmla="*/ 5 h 269"/>
                  <a:gd name="T18" fmla="*/ 3 w 156"/>
                  <a:gd name="T19" fmla="*/ 6 h 269"/>
                  <a:gd name="T20" fmla="*/ 1 w 156"/>
                  <a:gd name="T21" fmla="*/ 5 h 269"/>
                  <a:gd name="T22" fmla="*/ 0 w 156"/>
                  <a:gd name="T23" fmla="*/ 3 h 2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6"/>
                  <a:gd name="T37" fmla="*/ 0 h 269"/>
                  <a:gd name="T38" fmla="*/ 156 w 156"/>
                  <a:gd name="T39" fmla="*/ 269 h 26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6" h="269">
                    <a:moveTo>
                      <a:pt x="0" y="106"/>
                    </a:moveTo>
                    <a:lnTo>
                      <a:pt x="28" y="0"/>
                    </a:lnTo>
                    <a:lnTo>
                      <a:pt x="85" y="4"/>
                    </a:lnTo>
                    <a:lnTo>
                      <a:pt x="97" y="72"/>
                    </a:lnTo>
                    <a:lnTo>
                      <a:pt x="55" y="145"/>
                    </a:lnTo>
                    <a:lnTo>
                      <a:pt x="65" y="188"/>
                    </a:lnTo>
                    <a:lnTo>
                      <a:pt x="148" y="212"/>
                    </a:lnTo>
                    <a:lnTo>
                      <a:pt x="156" y="269"/>
                    </a:lnTo>
                    <a:lnTo>
                      <a:pt x="103" y="212"/>
                    </a:lnTo>
                    <a:lnTo>
                      <a:pt x="103" y="240"/>
                    </a:lnTo>
                    <a:lnTo>
                      <a:pt x="28" y="212"/>
                    </a:lnTo>
                    <a:lnTo>
                      <a:pt x="0" y="10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8" name="Freeform 387"/>
              <p:cNvSpPr/>
              <p:nvPr/>
            </p:nvSpPr>
            <p:spPr bwMode="auto">
              <a:xfrm>
                <a:off x="3056" y="2913"/>
                <a:ext cx="12" cy="16"/>
              </a:xfrm>
              <a:custGeom>
                <a:avLst/>
                <a:gdLst>
                  <a:gd name="T0" fmla="*/ 0 w 43"/>
                  <a:gd name="T1" fmla="*/ 0 h 57"/>
                  <a:gd name="T2" fmla="*/ 1 w 43"/>
                  <a:gd name="T3" fmla="*/ 0 h 57"/>
                  <a:gd name="T4" fmla="*/ 1 w 43"/>
                  <a:gd name="T5" fmla="*/ 0 h 57"/>
                  <a:gd name="T6" fmla="*/ 1 w 43"/>
                  <a:gd name="T7" fmla="*/ 1 h 57"/>
                  <a:gd name="T8" fmla="*/ 0 w 43"/>
                  <a:gd name="T9" fmla="*/ 0 h 57"/>
                  <a:gd name="T10" fmla="*/ 0 60000 65536"/>
                  <a:gd name="T11" fmla="*/ 0 60000 65536"/>
                  <a:gd name="T12" fmla="*/ 0 60000 65536"/>
                  <a:gd name="T13" fmla="*/ 0 60000 65536"/>
                  <a:gd name="T14" fmla="*/ 0 60000 65536"/>
                  <a:gd name="T15" fmla="*/ 0 w 43"/>
                  <a:gd name="T16" fmla="*/ 0 h 57"/>
                  <a:gd name="T17" fmla="*/ 43 w 43"/>
                  <a:gd name="T18" fmla="*/ 57 h 57"/>
                </a:gdLst>
                <a:ahLst/>
                <a:cxnLst>
                  <a:cxn ang="T10">
                    <a:pos x="T0" y="T1"/>
                  </a:cxn>
                  <a:cxn ang="T11">
                    <a:pos x="T2" y="T3"/>
                  </a:cxn>
                  <a:cxn ang="T12">
                    <a:pos x="T4" y="T5"/>
                  </a:cxn>
                  <a:cxn ang="T13">
                    <a:pos x="T6" y="T7"/>
                  </a:cxn>
                  <a:cxn ang="T14">
                    <a:pos x="T8" y="T9"/>
                  </a:cxn>
                </a:cxnLst>
                <a:rect l="T15" t="T16" r="T17" b="T18"/>
                <a:pathLst>
                  <a:path w="43" h="57">
                    <a:moveTo>
                      <a:pt x="0" y="0"/>
                    </a:moveTo>
                    <a:lnTo>
                      <a:pt x="24" y="0"/>
                    </a:lnTo>
                    <a:lnTo>
                      <a:pt x="43" y="13"/>
                    </a:lnTo>
                    <a:lnTo>
                      <a:pt x="35" y="57"/>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9" name="Freeform 388"/>
              <p:cNvSpPr/>
              <p:nvPr/>
            </p:nvSpPr>
            <p:spPr bwMode="auto">
              <a:xfrm>
                <a:off x="3073" y="2933"/>
                <a:ext cx="12" cy="20"/>
              </a:xfrm>
              <a:custGeom>
                <a:avLst/>
                <a:gdLst>
                  <a:gd name="T0" fmla="*/ 0 w 40"/>
                  <a:gd name="T1" fmla="*/ 0 h 70"/>
                  <a:gd name="T2" fmla="*/ 0 w 40"/>
                  <a:gd name="T3" fmla="*/ 2 h 70"/>
                  <a:gd name="T4" fmla="*/ 1 w 40"/>
                  <a:gd name="T5" fmla="*/ 1 h 70"/>
                  <a:gd name="T6" fmla="*/ 0 w 40"/>
                  <a:gd name="T7" fmla="*/ 0 h 70"/>
                  <a:gd name="T8" fmla="*/ 0 60000 65536"/>
                  <a:gd name="T9" fmla="*/ 0 60000 65536"/>
                  <a:gd name="T10" fmla="*/ 0 60000 65536"/>
                  <a:gd name="T11" fmla="*/ 0 60000 65536"/>
                  <a:gd name="T12" fmla="*/ 0 w 40"/>
                  <a:gd name="T13" fmla="*/ 0 h 70"/>
                  <a:gd name="T14" fmla="*/ 40 w 40"/>
                  <a:gd name="T15" fmla="*/ 70 h 70"/>
                </a:gdLst>
                <a:ahLst/>
                <a:cxnLst>
                  <a:cxn ang="T8">
                    <a:pos x="T0" y="T1"/>
                  </a:cxn>
                  <a:cxn ang="T9">
                    <a:pos x="T2" y="T3"/>
                  </a:cxn>
                  <a:cxn ang="T10">
                    <a:pos x="T4" y="T5"/>
                  </a:cxn>
                  <a:cxn ang="T11">
                    <a:pos x="T6" y="T7"/>
                  </a:cxn>
                </a:cxnLst>
                <a:rect l="T12" t="T13" r="T14" b="T15"/>
                <a:pathLst>
                  <a:path w="40" h="70">
                    <a:moveTo>
                      <a:pt x="0" y="0"/>
                    </a:moveTo>
                    <a:lnTo>
                      <a:pt x="5" y="70"/>
                    </a:lnTo>
                    <a:lnTo>
                      <a:pt x="40" y="42"/>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0" name="Freeform 389"/>
              <p:cNvSpPr/>
              <p:nvPr/>
            </p:nvSpPr>
            <p:spPr bwMode="auto">
              <a:xfrm>
                <a:off x="3075" y="2960"/>
                <a:ext cx="47" cy="53"/>
              </a:xfrm>
              <a:custGeom>
                <a:avLst/>
                <a:gdLst>
                  <a:gd name="T0" fmla="*/ 0 w 167"/>
                  <a:gd name="T1" fmla="*/ 3 h 186"/>
                  <a:gd name="T2" fmla="*/ 1 w 167"/>
                  <a:gd name="T3" fmla="*/ 1 h 186"/>
                  <a:gd name="T4" fmla="*/ 2 w 167"/>
                  <a:gd name="T5" fmla="*/ 2 h 186"/>
                  <a:gd name="T6" fmla="*/ 3 w 167"/>
                  <a:gd name="T7" fmla="*/ 0 h 186"/>
                  <a:gd name="T8" fmla="*/ 4 w 167"/>
                  <a:gd name="T9" fmla="*/ 1 h 186"/>
                  <a:gd name="T10" fmla="*/ 4 w 167"/>
                  <a:gd name="T11" fmla="*/ 4 h 186"/>
                  <a:gd name="T12" fmla="*/ 3 w 167"/>
                  <a:gd name="T13" fmla="*/ 3 h 186"/>
                  <a:gd name="T14" fmla="*/ 3 w 167"/>
                  <a:gd name="T15" fmla="*/ 4 h 186"/>
                  <a:gd name="T16" fmla="*/ 2 w 167"/>
                  <a:gd name="T17" fmla="*/ 4 h 186"/>
                  <a:gd name="T18" fmla="*/ 1 w 167"/>
                  <a:gd name="T19" fmla="*/ 2 h 186"/>
                  <a:gd name="T20" fmla="*/ 0 w 167"/>
                  <a:gd name="T21" fmla="*/ 3 h 1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7"/>
                  <a:gd name="T34" fmla="*/ 0 h 186"/>
                  <a:gd name="T35" fmla="*/ 167 w 167"/>
                  <a:gd name="T36" fmla="*/ 186 h 18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7" h="186">
                    <a:moveTo>
                      <a:pt x="0" y="127"/>
                    </a:moveTo>
                    <a:lnTo>
                      <a:pt x="34" y="62"/>
                    </a:lnTo>
                    <a:lnTo>
                      <a:pt x="78" y="71"/>
                    </a:lnTo>
                    <a:lnTo>
                      <a:pt x="138" y="0"/>
                    </a:lnTo>
                    <a:lnTo>
                      <a:pt x="167" y="43"/>
                    </a:lnTo>
                    <a:lnTo>
                      <a:pt x="162" y="153"/>
                    </a:lnTo>
                    <a:lnTo>
                      <a:pt x="148" y="107"/>
                    </a:lnTo>
                    <a:lnTo>
                      <a:pt x="131" y="186"/>
                    </a:lnTo>
                    <a:lnTo>
                      <a:pt x="90" y="165"/>
                    </a:lnTo>
                    <a:lnTo>
                      <a:pt x="63" y="82"/>
                    </a:lnTo>
                    <a:lnTo>
                      <a:pt x="0" y="12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1" name="Freeform 390"/>
              <p:cNvSpPr/>
              <p:nvPr/>
            </p:nvSpPr>
            <p:spPr bwMode="auto">
              <a:xfrm>
                <a:off x="3080" y="2948"/>
                <a:ext cx="11" cy="21"/>
              </a:xfrm>
              <a:custGeom>
                <a:avLst/>
                <a:gdLst>
                  <a:gd name="T0" fmla="*/ 0 w 37"/>
                  <a:gd name="T1" fmla="*/ 1 h 74"/>
                  <a:gd name="T2" fmla="*/ 0 w 37"/>
                  <a:gd name="T3" fmla="*/ 1 h 74"/>
                  <a:gd name="T4" fmla="*/ 1 w 37"/>
                  <a:gd name="T5" fmla="*/ 0 h 74"/>
                  <a:gd name="T6" fmla="*/ 1 w 37"/>
                  <a:gd name="T7" fmla="*/ 2 h 74"/>
                  <a:gd name="T8" fmla="*/ 0 w 37"/>
                  <a:gd name="T9" fmla="*/ 1 h 74"/>
                  <a:gd name="T10" fmla="*/ 0 60000 65536"/>
                  <a:gd name="T11" fmla="*/ 0 60000 65536"/>
                  <a:gd name="T12" fmla="*/ 0 60000 65536"/>
                  <a:gd name="T13" fmla="*/ 0 60000 65536"/>
                  <a:gd name="T14" fmla="*/ 0 60000 65536"/>
                  <a:gd name="T15" fmla="*/ 0 w 37"/>
                  <a:gd name="T16" fmla="*/ 0 h 74"/>
                  <a:gd name="T17" fmla="*/ 37 w 37"/>
                  <a:gd name="T18" fmla="*/ 74 h 74"/>
                </a:gdLst>
                <a:ahLst/>
                <a:cxnLst>
                  <a:cxn ang="T10">
                    <a:pos x="T0" y="T1"/>
                  </a:cxn>
                  <a:cxn ang="T11">
                    <a:pos x="T2" y="T3"/>
                  </a:cxn>
                  <a:cxn ang="T12">
                    <a:pos x="T4" y="T5"/>
                  </a:cxn>
                  <a:cxn ang="T13">
                    <a:pos x="T6" y="T7"/>
                  </a:cxn>
                  <a:cxn ang="T14">
                    <a:pos x="T8" y="T9"/>
                  </a:cxn>
                </a:cxnLst>
                <a:rect l="T15" t="T16" r="T17" b="T18"/>
                <a:pathLst>
                  <a:path w="37" h="74">
                    <a:moveTo>
                      <a:pt x="0" y="46"/>
                    </a:moveTo>
                    <a:lnTo>
                      <a:pt x="8" y="34"/>
                    </a:lnTo>
                    <a:lnTo>
                      <a:pt x="37" y="0"/>
                    </a:lnTo>
                    <a:lnTo>
                      <a:pt x="25" y="74"/>
                    </a:lnTo>
                    <a:lnTo>
                      <a:pt x="0" y="4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2" name="Freeform 391"/>
              <p:cNvSpPr/>
              <p:nvPr/>
            </p:nvSpPr>
            <p:spPr bwMode="auto">
              <a:xfrm>
                <a:off x="1899" y="2318"/>
                <a:ext cx="110" cy="95"/>
              </a:xfrm>
              <a:custGeom>
                <a:avLst/>
                <a:gdLst>
                  <a:gd name="T0" fmla="*/ 0 w 383"/>
                  <a:gd name="T1" fmla="*/ 1 h 337"/>
                  <a:gd name="T2" fmla="*/ 1 w 383"/>
                  <a:gd name="T3" fmla="*/ 5 h 337"/>
                  <a:gd name="T4" fmla="*/ 5 w 383"/>
                  <a:gd name="T5" fmla="*/ 7 h 337"/>
                  <a:gd name="T6" fmla="*/ 7 w 383"/>
                  <a:gd name="T7" fmla="*/ 8 h 337"/>
                  <a:gd name="T8" fmla="*/ 9 w 383"/>
                  <a:gd name="T9" fmla="*/ 6 h 337"/>
                  <a:gd name="T10" fmla="*/ 8 w 383"/>
                  <a:gd name="T11" fmla="*/ 3 h 337"/>
                  <a:gd name="T12" fmla="*/ 9 w 383"/>
                  <a:gd name="T13" fmla="*/ 3 h 337"/>
                  <a:gd name="T14" fmla="*/ 9 w 383"/>
                  <a:gd name="T15" fmla="*/ 1 h 337"/>
                  <a:gd name="T16" fmla="*/ 5 w 383"/>
                  <a:gd name="T17" fmla="*/ 0 h 337"/>
                  <a:gd name="T18" fmla="*/ 3 w 383"/>
                  <a:gd name="T19" fmla="*/ 0 h 337"/>
                  <a:gd name="T20" fmla="*/ 0 w 383"/>
                  <a:gd name="T21" fmla="*/ 1 h 3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3"/>
                  <a:gd name="T34" fmla="*/ 0 h 337"/>
                  <a:gd name="T35" fmla="*/ 383 w 383"/>
                  <a:gd name="T36" fmla="*/ 337 h 3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3" h="337">
                    <a:moveTo>
                      <a:pt x="0" y="61"/>
                    </a:moveTo>
                    <a:lnTo>
                      <a:pt x="26" y="237"/>
                    </a:lnTo>
                    <a:lnTo>
                      <a:pt x="222" y="326"/>
                    </a:lnTo>
                    <a:lnTo>
                      <a:pt x="319" y="337"/>
                    </a:lnTo>
                    <a:lnTo>
                      <a:pt x="383" y="248"/>
                    </a:lnTo>
                    <a:lnTo>
                      <a:pt x="349" y="149"/>
                    </a:lnTo>
                    <a:lnTo>
                      <a:pt x="375" y="124"/>
                    </a:lnTo>
                    <a:lnTo>
                      <a:pt x="358" y="45"/>
                    </a:lnTo>
                    <a:lnTo>
                      <a:pt x="213" y="19"/>
                    </a:lnTo>
                    <a:lnTo>
                      <a:pt x="118" y="0"/>
                    </a:lnTo>
                    <a:lnTo>
                      <a:pt x="0" y="6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3" name="Freeform 392"/>
              <p:cNvSpPr/>
              <p:nvPr/>
            </p:nvSpPr>
            <p:spPr bwMode="auto">
              <a:xfrm>
                <a:off x="1647" y="2527"/>
                <a:ext cx="33" cy="69"/>
              </a:xfrm>
              <a:custGeom>
                <a:avLst/>
                <a:gdLst>
                  <a:gd name="T0" fmla="*/ 0 w 118"/>
                  <a:gd name="T1" fmla="*/ 4 h 245"/>
                  <a:gd name="T2" fmla="*/ 0 w 118"/>
                  <a:gd name="T3" fmla="*/ 0 h 245"/>
                  <a:gd name="T4" fmla="*/ 3 w 118"/>
                  <a:gd name="T5" fmla="*/ 0 h 245"/>
                  <a:gd name="T6" fmla="*/ 2 w 118"/>
                  <a:gd name="T7" fmla="*/ 3 h 245"/>
                  <a:gd name="T8" fmla="*/ 2 w 118"/>
                  <a:gd name="T9" fmla="*/ 5 h 245"/>
                  <a:gd name="T10" fmla="*/ 0 w 118"/>
                  <a:gd name="T11" fmla="*/ 5 h 245"/>
                  <a:gd name="T12" fmla="*/ 1 w 118"/>
                  <a:gd name="T13" fmla="*/ 4 h 245"/>
                  <a:gd name="T14" fmla="*/ 0 w 118"/>
                  <a:gd name="T15" fmla="*/ 4 h 245"/>
                  <a:gd name="T16" fmla="*/ 0 60000 65536"/>
                  <a:gd name="T17" fmla="*/ 0 60000 65536"/>
                  <a:gd name="T18" fmla="*/ 0 60000 65536"/>
                  <a:gd name="T19" fmla="*/ 0 60000 65536"/>
                  <a:gd name="T20" fmla="*/ 0 60000 65536"/>
                  <a:gd name="T21" fmla="*/ 0 60000 65536"/>
                  <a:gd name="T22" fmla="*/ 0 60000 65536"/>
                  <a:gd name="T23" fmla="*/ 0 60000 65536"/>
                  <a:gd name="T24" fmla="*/ 0 w 118"/>
                  <a:gd name="T25" fmla="*/ 0 h 245"/>
                  <a:gd name="T26" fmla="*/ 118 w 118"/>
                  <a:gd name="T27" fmla="*/ 245 h 2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8" h="245">
                    <a:moveTo>
                      <a:pt x="0" y="161"/>
                    </a:moveTo>
                    <a:lnTo>
                      <a:pt x="19" y="0"/>
                    </a:lnTo>
                    <a:lnTo>
                      <a:pt x="118" y="9"/>
                    </a:lnTo>
                    <a:lnTo>
                      <a:pt x="76" y="112"/>
                    </a:lnTo>
                    <a:lnTo>
                      <a:pt x="76" y="238"/>
                    </a:lnTo>
                    <a:lnTo>
                      <a:pt x="17" y="245"/>
                    </a:lnTo>
                    <a:lnTo>
                      <a:pt x="25" y="169"/>
                    </a:lnTo>
                    <a:lnTo>
                      <a:pt x="0" y="16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4" name="Freeform 393"/>
              <p:cNvSpPr/>
              <p:nvPr/>
            </p:nvSpPr>
            <p:spPr bwMode="auto">
              <a:xfrm>
                <a:off x="1966" y="2426"/>
                <a:ext cx="104" cy="70"/>
              </a:xfrm>
              <a:custGeom>
                <a:avLst/>
                <a:gdLst>
                  <a:gd name="T0" fmla="*/ 0 w 366"/>
                  <a:gd name="T1" fmla="*/ 3 h 247"/>
                  <a:gd name="T2" fmla="*/ 2 w 366"/>
                  <a:gd name="T3" fmla="*/ 5 h 247"/>
                  <a:gd name="T4" fmla="*/ 7 w 366"/>
                  <a:gd name="T5" fmla="*/ 6 h 247"/>
                  <a:gd name="T6" fmla="*/ 9 w 366"/>
                  <a:gd name="T7" fmla="*/ 4 h 247"/>
                  <a:gd name="T8" fmla="*/ 7 w 366"/>
                  <a:gd name="T9" fmla="*/ 4 h 247"/>
                  <a:gd name="T10" fmla="*/ 7 w 366"/>
                  <a:gd name="T11" fmla="*/ 2 h 247"/>
                  <a:gd name="T12" fmla="*/ 6 w 366"/>
                  <a:gd name="T13" fmla="*/ 0 h 247"/>
                  <a:gd name="T14" fmla="*/ 2 w 366"/>
                  <a:gd name="T15" fmla="*/ 0 h 247"/>
                  <a:gd name="T16" fmla="*/ 0 w 366"/>
                  <a:gd name="T17" fmla="*/ 3 h 2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6"/>
                  <a:gd name="T28" fmla="*/ 0 h 247"/>
                  <a:gd name="T29" fmla="*/ 366 w 366"/>
                  <a:gd name="T30" fmla="*/ 247 h 2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6" h="247">
                    <a:moveTo>
                      <a:pt x="0" y="123"/>
                    </a:moveTo>
                    <a:lnTo>
                      <a:pt x="100" y="223"/>
                    </a:lnTo>
                    <a:lnTo>
                      <a:pt x="324" y="247"/>
                    </a:lnTo>
                    <a:lnTo>
                      <a:pt x="366" y="162"/>
                    </a:lnTo>
                    <a:lnTo>
                      <a:pt x="308" y="158"/>
                    </a:lnTo>
                    <a:lnTo>
                      <a:pt x="301" y="81"/>
                    </a:lnTo>
                    <a:lnTo>
                      <a:pt x="251" y="0"/>
                    </a:lnTo>
                    <a:lnTo>
                      <a:pt x="100" y="18"/>
                    </a:lnTo>
                    <a:lnTo>
                      <a:pt x="0" y="12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5" name="Freeform 394"/>
              <p:cNvSpPr/>
              <p:nvPr/>
            </p:nvSpPr>
            <p:spPr bwMode="auto">
              <a:xfrm>
                <a:off x="2123" y="2666"/>
                <a:ext cx="230" cy="221"/>
              </a:xfrm>
              <a:custGeom>
                <a:avLst/>
                <a:gdLst>
                  <a:gd name="T0" fmla="*/ 0 w 805"/>
                  <a:gd name="T1" fmla="*/ 5 h 776"/>
                  <a:gd name="T2" fmla="*/ 0 w 805"/>
                  <a:gd name="T3" fmla="*/ 3 h 776"/>
                  <a:gd name="T4" fmla="*/ 1 w 805"/>
                  <a:gd name="T5" fmla="*/ 3 h 776"/>
                  <a:gd name="T6" fmla="*/ 3 w 805"/>
                  <a:gd name="T7" fmla="*/ 3 h 776"/>
                  <a:gd name="T8" fmla="*/ 3 w 805"/>
                  <a:gd name="T9" fmla="*/ 2 h 776"/>
                  <a:gd name="T10" fmla="*/ 2 w 805"/>
                  <a:gd name="T11" fmla="*/ 1 h 776"/>
                  <a:gd name="T12" fmla="*/ 4 w 805"/>
                  <a:gd name="T13" fmla="*/ 0 h 776"/>
                  <a:gd name="T14" fmla="*/ 8 w 805"/>
                  <a:gd name="T15" fmla="*/ 2 h 776"/>
                  <a:gd name="T16" fmla="*/ 8 w 805"/>
                  <a:gd name="T17" fmla="*/ 3 h 776"/>
                  <a:gd name="T18" fmla="*/ 9 w 805"/>
                  <a:gd name="T19" fmla="*/ 3 h 776"/>
                  <a:gd name="T20" fmla="*/ 10 w 805"/>
                  <a:gd name="T21" fmla="*/ 4 h 776"/>
                  <a:gd name="T22" fmla="*/ 11 w 805"/>
                  <a:gd name="T23" fmla="*/ 3 h 776"/>
                  <a:gd name="T24" fmla="*/ 12 w 805"/>
                  <a:gd name="T25" fmla="*/ 4 h 776"/>
                  <a:gd name="T26" fmla="*/ 14 w 805"/>
                  <a:gd name="T27" fmla="*/ 8 h 776"/>
                  <a:gd name="T28" fmla="*/ 15 w 805"/>
                  <a:gd name="T29" fmla="*/ 9 h 776"/>
                  <a:gd name="T30" fmla="*/ 15 w 805"/>
                  <a:gd name="T31" fmla="*/ 10 h 776"/>
                  <a:gd name="T32" fmla="*/ 18 w 805"/>
                  <a:gd name="T33" fmla="*/ 10 h 776"/>
                  <a:gd name="T34" fmla="*/ 19 w 805"/>
                  <a:gd name="T35" fmla="*/ 11 h 776"/>
                  <a:gd name="T36" fmla="*/ 18 w 805"/>
                  <a:gd name="T37" fmla="*/ 13 h 776"/>
                  <a:gd name="T38" fmla="*/ 15 w 805"/>
                  <a:gd name="T39" fmla="*/ 14 h 776"/>
                  <a:gd name="T40" fmla="*/ 13 w 805"/>
                  <a:gd name="T41" fmla="*/ 15 h 776"/>
                  <a:gd name="T42" fmla="*/ 10 w 805"/>
                  <a:gd name="T43" fmla="*/ 18 h 776"/>
                  <a:gd name="T44" fmla="*/ 10 w 805"/>
                  <a:gd name="T45" fmla="*/ 17 h 776"/>
                  <a:gd name="T46" fmla="*/ 9 w 805"/>
                  <a:gd name="T47" fmla="*/ 16 h 776"/>
                  <a:gd name="T48" fmla="*/ 7 w 805"/>
                  <a:gd name="T49" fmla="*/ 17 h 776"/>
                  <a:gd name="T50" fmla="*/ 5 w 805"/>
                  <a:gd name="T51" fmla="*/ 14 h 776"/>
                  <a:gd name="T52" fmla="*/ 4 w 805"/>
                  <a:gd name="T53" fmla="*/ 13 h 776"/>
                  <a:gd name="T54" fmla="*/ 3 w 805"/>
                  <a:gd name="T55" fmla="*/ 9 h 776"/>
                  <a:gd name="T56" fmla="*/ 0 w 805"/>
                  <a:gd name="T57" fmla="*/ 5 h 7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5"/>
                  <a:gd name="T88" fmla="*/ 0 h 776"/>
                  <a:gd name="T89" fmla="*/ 805 w 805"/>
                  <a:gd name="T90" fmla="*/ 776 h 7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5" h="776">
                    <a:moveTo>
                      <a:pt x="0" y="202"/>
                    </a:moveTo>
                    <a:lnTo>
                      <a:pt x="12" y="135"/>
                    </a:lnTo>
                    <a:lnTo>
                      <a:pt x="54" y="149"/>
                    </a:lnTo>
                    <a:lnTo>
                      <a:pt x="107" y="107"/>
                    </a:lnTo>
                    <a:lnTo>
                      <a:pt x="130" y="78"/>
                    </a:lnTo>
                    <a:lnTo>
                      <a:pt x="85" y="32"/>
                    </a:lnTo>
                    <a:lnTo>
                      <a:pt x="171" y="0"/>
                    </a:lnTo>
                    <a:lnTo>
                      <a:pt x="344" y="89"/>
                    </a:lnTo>
                    <a:lnTo>
                      <a:pt x="345" y="120"/>
                    </a:lnTo>
                    <a:lnTo>
                      <a:pt x="388" y="143"/>
                    </a:lnTo>
                    <a:lnTo>
                      <a:pt x="420" y="165"/>
                    </a:lnTo>
                    <a:lnTo>
                      <a:pt x="454" y="149"/>
                    </a:lnTo>
                    <a:lnTo>
                      <a:pt x="524" y="174"/>
                    </a:lnTo>
                    <a:lnTo>
                      <a:pt x="617" y="352"/>
                    </a:lnTo>
                    <a:lnTo>
                      <a:pt x="627" y="365"/>
                    </a:lnTo>
                    <a:lnTo>
                      <a:pt x="664" y="436"/>
                    </a:lnTo>
                    <a:lnTo>
                      <a:pt x="786" y="450"/>
                    </a:lnTo>
                    <a:lnTo>
                      <a:pt x="805" y="483"/>
                    </a:lnTo>
                    <a:lnTo>
                      <a:pt x="775" y="575"/>
                    </a:lnTo>
                    <a:lnTo>
                      <a:pt x="664" y="619"/>
                    </a:lnTo>
                    <a:lnTo>
                      <a:pt x="542" y="652"/>
                    </a:lnTo>
                    <a:lnTo>
                      <a:pt x="443" y="776"/>
                    </a:lnTo>
                    <a:lnTo>
                      <a:pt x="443" y="729"/>
                    </a:lnTo>
                    <a:lnTo>
                      <a:pt x="373" y="697"/>
                    </a:lnTo>
                    <a:lnTo>
                      <a:pt x="306" y="739"/>
                    </a:lnTo>
                    <a:lnTo>
                      <a:pt x="234" y="599"/>
                    </a:lnTo>
                    <a:lnTo>
                      <a:pt x="180" y="544"/>
                    </a:lnTo>
                    <a:lnTo>
                      <a:pt x="146" y="398"/>
                    </a:lnTo>
                    <a:lnTo>
                      <a:pt x="0" y="20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6" name="Freeform 395"/>
              <p:cNvSpPr/>
              <p:nvPr/>
            </p:nvSpPr>
            <p:spPr bwMode="auto">
              <a:xfrm>
                <a:off x="1960" y="1831"/>
                <a:ext cx="1858" cy="693"/>
              </a:xfrm>
              <a:custGeom>
                <a:avLst/>
                <a:gdLst>
                  <a:gd name="T0" fmla="*/ 3 w 6518"/>
                  <a:gd name="T1" fmla="*/ 35 h 2431"/>
                  <a:gd name="T2" fmla="*/ 8 w 6518"/>
                  <a:gd name="T3" fmla="*/ 31 h 2431"/>
                  <a:gd name="T4" fmla="*/ 8 w 6518"/>
                  <a:gd name="T5" fmla="*/ 18 h 2431"/>
                  <a:gd name="T6" fmla="*/ 14 w 6518"/>
                  <a:gd name="T7" fmla="*/ 17 h 2431"/>
                  <a:gd name="T8" fmla="*/ 16 w 6518"/>
                  <a:gd name="T9" fmla="*/ 26 h 2431"/>
                  <a:gd name="T10" fmla="*/ 18 w 6518"/>
                  <a:gd name="T11" fmla="*/ 23 h 2431"/>
                  <a:gd name="T12" fmla="*/ 23 w 6518"/>
                  <a:gd name="T13" fmla="*/ 20 h 2431"/>
                  <a:gd name="T14" fmla="*/ 35 w 6518"/>
                  <a:gd name="T15" fmla="*/ 17 h 2431"/>
                  <a:gd name="T16" fmla="*/ 44 w 6518"/>
                  <a:gd name="T17" fmla="*/ 17 h 2431"/>
                  <a:gd name="T18" fmla="*/ 44 w 6518"/>
                  <a:gd name="T19" fmla="*/ 10 h 2431"/>
                  <a:gd name="T20" fmla="*/ 47 w 6518"/>
                  <a:gd name="T21" fmla="*/ 19 h 2431"/>
                  <a:gd name="T22" fmla="*/ 49 w 6518"/>
                  <a:gd name="T23" fmla="*/ 17 h 2431"/>
                  <a:gd name="T24" fmla="*/ 51 w 6518"/>
                  <a:gd name="T25" fmla="*/ 17 h 2431"/>
                  <a:gd name="T26" fmla="*/ 49 w 6518"/>
                  <a:gd name="T27" fmla="*/ 13 h 2431"/>
                  <a:gd name="T28" fmla="*/ 56 w 6518"/>
                  <a:gd name="T29" fmla="*/ 12 h 2431"/>
                  <a:gd name="T30" fmla="*/ 59 w 6518"/>
                  <a:gd name="T31" fmla="*/ 8 h 2431"/>
                  <a:gd name="T32" fmla="*/ 67 w 6518"/>
                  <a:gd name="T33" fmla="*/ 3 h 2431"/>
                  <a:gd name="T34" fmla="*/ 72 w 6518"/>
                  <a:gd name="T35" fmla="*/ 1 h 2431"/>
                  <a:gd name="T36" fmla="*/ 83 w 6518"/>
                  <a:gd name="T37" fmla="*/ 4 h 2431"/>
                  <a:gd name="T38" fmla="*/ 77 w 6518"/>
                  <a:gd name="T39" fmla="*/ 9 h 2431"/>
                  <a:gd name="T40" fmla="*/ 84 w 6518"/>
                  <a:gd name="T41" fmla="*/ 9 h 2431"/>
                  <a:gd name="T42" fmla="*/ 92 w 6518"/>
                  <a:gd name="T43" fmla="*/ 8 h 2431"/>
                  <a:gd name="T44" fmla="*/ 102 w 6518"/>
                  <a:gd name="T45" fmla="*/ 12 h 2431"/>
                  <a:gd name="T46" fmla="*/ 114 w 6518"/>
                  <a:gd name="T47" fmla="*/ 12 h 2431"/>
                  <a:gd name="T48" fmla="*/ 126 w 6518"/>
                  <a:gd name="T49" fmla="*/ 16 h 2431"/>
                  <a:gd name="T50" fmla="*/ 133 w 6518"/>
                  <a:gd name="T51" fmla="*/ 15 h 2431"/>
                  <a:gd name="T52" fmla="*/ 148 w 6518"/>
                  <a:gd name="T53" fmla="*/ 21 h 2431"/>
                  <a:gd name="T54" fmla="*/ 147 w 6518"/>
                  <a:gd name="T55" fmla="*/ 25 h 2431"/>
                  <a:gd name="T56" fmla="*/ 143 w 6518"/>
                  <a:gd name="T57" fmla="*/ 22 h 2431"/>
                  <a:gd name="T58" fmla="*/ 141 w 6518"/>
                  <a:gd name="T59" fmla="*/ 28 h 2431"/>
                  <a:gd name="T60" fmla="*/ 129 w 6518"/>
                  <a:gd name="T61" fmla="*/ 31 h 2431"/>
                  <a:gd name="T62" fmla="*/ 126 w 6518"/>
                  <a:gd name="T63" fmla="*/ 37 h 2431"/>
                  <a:gd name="T64" fmla="*/ 121 w 6518"/>
                  <a:gd name="T65" fmla="*/ 45 h 2431"/>
                  <a:gd name="T66" fmla="*/ 128 w 6518"/>
                  <a:gd name="T67" fmla="*/ 29 h 2431"/>
                  <a:gd name="T68" fmla="*/ 119 w 6518"/>
                  <a:gd name="T69" fmla="*/ 32 h 2431"/>
                  <a:gd name="T70" fmla="*/ 109 w 6518"/>
                  <a:gd name="T71" fmla="*/ 33 h 2431"/>
                  <a:gd name="T72" fmla="*/ 105 w 6518"/>
                  <a:gd name="T73" fmla="*/ 41 h 2431"/>
                  <a:gd name="T74" fmla="*/ 107 w 6518"/>
                  <a:gd name="T75" fmla="*/ 45 h 2431"/>
                  <a:gd name="T76" fmla="*/ 99 w 6518"/>
                  <a:gd name="T77" fmla="*/ 55 h 2431"/>
                  <a:gd name="T78" fmla="*/ 94 w 6518"/>
                  <a:gd name="T79" fmla="*/ 42 h 2431"/>
                  <a:gd name="T80" fmla="*/ 84 w 6518"/>
                  <a:gd name="T81" fmla="*/ 46 h 2431"/>
                  <a:gd name="T82" fmla="*/ 69 w 6518"/>
                  <a:gd name="T83" fmla="*/ 46 h 2431"/>
                  <a:gd name="T84" fmla="*/ 53 w 6518"/>
                  <a:gd name="T85" fmla="*/ 46 h 2431"/>
                  <a:gd name="T86" fmla="*/ 46 w 6518"/>
                  <a:gd name="T87" fmla="*/ 42 h 2431"/>
                  <a:gd name="T88" fmla="*/ 38 w 6518"/>
                  <a:gd name="T89" fmla="*/ 39 h 2431"/>
                  <a:gd name="T90" fmla="*/ 32 w 6518"/>
                  <a:gd name="T91" fmla="*/ 40 h 2431"/>
                  <a:gd name="T92" fmla="*/ 33 w 6518"/>
                  <a:gd name="T93" fmla="*/ 45 h 2431"/>
                  <a:gd name="T94" fmla="*/ 29 w 6518"/>
                  <a:gd name="T95" fmla="*/ 44 h 2431"/>
                  <a:gd name="T96" fmla="*/ 24 w 6518"/>
                  <a:gd name="T97" fmla="*/ 46 h 2431"/>
                  <a:gd name="T98" fmla="*/ 23 w 6518"/>
                  <a:gd name="T99" fmla="*/ 48 h 2431"/>
                  <a:gd name="T100" fmla="*/ 25 w 6518"/>
                  <a:gd name="T101" fmla="*/ 51 h 2431"/>
                  <a:gd name="T102" fmla="*/ 23 w 6518"/>
                  <a:gd name="T103" fmla="*/ 55 h 2431"/>
                  <a:gd name="T104" fmla="*/ 17 w 6518"/>
                  <a:gd name="T105" fmla="*/ 54 h 2431"/>
                  <a:gd name="T106" fmla="*/ 17 w 6518"/>
                  <a:gd name="T107" fmla="*/ 47 h 2431"/>
                  <a:gd name="T108" fmla="*/ 12 w 6518"/>
                  <a:gd name="T109" fmla="*/ 43 h 2431"/>
                  <a:gd name="T110" fmla="*/ 10 w 6518"/>
                  <a:gd name="T111" fmla="*/ 42 h 2431"/>
                  <a:gd name="T112" fmla="*/ 6 w 6518"/>
                  <a:gd name="T113" fmla="*/ 38 h 2431"/>
                  <a:gd name="T114" fmla="*/ 4 w 6518"/>
                  <a:gd name="T115" fmla="*/ 41 h 243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518"/>
                  <a:gd name="T175" fmla="*/ 0 h 2431"/>
                  <a:gd name="T176" fmla="*/ 6518 w 6518"/>
                  <a:gd name="T177" fmla="*/ 2431 h 243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518" h="2431">
                    <a:moveTo>
                      <a:pt x="0" y="1726"/>
                    </a:moveTo>
                    <a:lnTo>
                      <a:pt x="55" y="1671"/>
                    </a:lnTo>
                    <a:lnTo>
                      <a:pt x="36" y="1694"/>
                    </a:lnTo>
                    <a:lnTo>
                      <a:pt x="61" y="1701"/>
                    </a:lnTo>
                    <a:lnTo>
                      <a:pt x="55" y="1587"/>
                    </a:lnTo>
                    <a:lnTo>
                      <a:pt x="77" y="1534"/>
                    </a:lnTo>
                    <a:lnTo>
                      <a:pt x="108" y="1526"/>
                    </a:lnTo>
                    <a:lnTo>
                      <a:pt x="171" y="1575"/>
                    </a:lnTo>
                    <a:lnTo>
                      <a:pt x="182" y="1482"/>
                    </a:lnTo>
                    <a:lnTo>
                      <a:pt x="158" y="1483"/>
                    </a:lnTo>
                    <a:lnTo>
                      <a:pt x="147" y="1429"/>
                    </a:lnTo>
                    <a:lnTo>
                      <a:pt x="405" y="1377"/>
                    </a:lnTo>
                    <a:lnTo>
                      <a:pt x="339" y="1358"/>
                    </a:lnTo>
                    <a:lnTo>
                      <a:pt x="343" y="1330"/>
                    </a:lnTo>
                    <a:lnTo>
                      <a:pt x="305" y="1340"/>
                    </a:lnTo>
                    <a:lnTo>
                      <a:pt x="452" y="1197"/>
                    </a:lnTo>
                    <a:lnTo>
                      <a:pt x="389" y="1047"/>
                    </a:lnTo>
                    <a:lnTo>
                      <a:pt x="401" y="976"/>
                    </a:lnTo>
                    <a:lnTo>
                      <a:pt x="361" y="896"/>
                    </a:lnTo>
                    <a:lnTo>
                      <a:pt x="398" y="850"/>
                    </a:lnTo>
                    <a:lnTo>
                      <a:pt x="339" y="786"/>
                    </a:lnTo>
                    <a:lnTo>
                      <a:pt x="355" y="736"/>
                    </a:lnTo>
                    <a:lnTo>
                      <a:pt x="429" y="677"/>
                    </a:lnTo>
                    <a:lnTo>
                      <a:pt x="469" y="670"/>
                    </a:lnTo>
                    <a:lnTo>
                      <a:pt x="516" y="683"/>
                    </a:lnTo>
                    <a:lnTo>
                      <a:pt x="475" y="696"/>
                    </a:lnTo>
                    <a:lnTo>
                      <a:pt x="505" y="719"/>
                    </a:lnTo>
                    <a:lnTo>
                      <a:pt x="620" y="727"/>
                    </a:lnTo>
                    <a:lnTo>
                      <a:pt x="819" y="847"/>
                    </a:lnTo>
                    <a:lnTo>
                      <a:pt x="824" y="907"/>
                    </a:lnTo>
                    <a:lnTo>
                      <a:pt x="738" y="958"/>
                    </a:lnTo>
                    <a:lnTo>
                      <a:pt x="471" y="886"/>
                    </a:lnTo>
                    <a:lnTo>
                      <a:pt x="578" y="972"/>
                    </a:lnTo>
                    <a:lnTo>
                      <a:pt x="574" y="1074"/>
                    </a:lnTo>
                    <a:lnTo>
                      <a:pt x="682" y="1122"/>
                    </a:lnTo>
                    <a:lnTo>
                      <a:pt x="712" y="1114"/>
                    </a:lnTo>
                    <a:lnTo>
                      <a:pt x="698" y="1074"/>
                    </a:lnTo>
                    <a:lnTo>
                      <a:pt x="647" y="1057"/>
                    </a:lnTo>
                    <a:lnTo>
                      <a:pt x="659" y="1023"/>
                    </a:lnTo>
                    <a:lnTo>
                      <a:pt x="710" y="1061"/>
                    </a:lnTo>
                    <a:lnTo>
                      <a:pt x="813" y="1074"/>
                    </a:lnTo>
                    <a:lnTo>
                      <a:pt x="768" y="993"/>
                    </a:lnTo>
                    <a:lnTo>
                      <a:pt x="867" y="926"/>
                    </a:lnTo>
                    <a:lnTo>
                      <a:pt x="937" y="972"/>
                    </a:lnTo>
                    <a:lnTo>
                      <a:pt x="934" y="792"/>
                    </a:lnTo>
                    <a:lnTo>
                      <a:pt x="903" y="765"/>
                    </a:lnTo>
                    <a:lnTo>
                      <a:pt x="1023" y="805"/>
                    </a:lnTo>
                    <a:lnTo>
                      <a:pt x="1032" y="827"/>
                    </a:lnTo>
                    <a:lnTo>
                      <a:pt x="969" y="859"/>
                    </a:lnTo>
                    <a:lnTo>
                      <a:pt x="1032" y="917"/>
                    </a:lnTo>
                    <a:lnTo>
                      <a:pt x="1086" y="850"/>
                    </a:lnTo>
                    <a:lnTo>
                      <a:pt x="1303" y="743"/>
                    </a:lnTo>
                    <a:lnTo>
                      <a:pt x="1337" y="739"/>
                    </a:lnTo>
                    <a:lnTo>
                      <a:pt x="1303" y="755"/>
                    </a:lnTo>
                    <a:lnTo>
                      <a:pt x="1340" y="807"/>
                    </a:lnTo>
                    <a:lnTo>
                      <a:pt x="1500" y="739"/>
                    </a:lnTo>
                    <a:lnTo>
                      <a:pt x="1536" y="789"/>
                    </a:lnTo>
                    <a:lnTo>
                      <a:pt x="1575" y="748"/>
                    </a:lnTo>
                    <a:lnTo>
                      <a:pt x="1553" y="693"/>
                    </a:lnTo>
                    <a:lnTo>
                      <a:pt x="1578" y="674"/>
                    </a:lnTo>
                    <a:lnTo>
                      <a:pt x="1699" y="701"/>
                    </a:lnTo>
                    <a:lnTo>
                      <a:pt x="1858" y="803"/>
                    </a:lnTo>
                    <a:lnTo>
                      <a:pt x="1888" y="754"/>
                    </a:lnTo>
                    <a:lnTo>
                      <a:pt x="1855" y="704"/>
                    </a:lnTo>
                    <a:lnTo>
                      <a:pt x="1807" y="688"/>
                    </a:lnTo>
                    <a:lnTo>
                      <a:pt x="1824" y="608"/>
                    </a:lnTo>
                    <a:lnTo>
                      <a:pt x="1795" y="597"/>
                    </a:lnTo>
                    <a:lnTo>
                      <a:pt x="1803" y="560"/>
                    </a:lnTo>
                    <a:lnTo>
                      <a:pt x="1861" y="521"/>
                    </a:lnTo>
                    <a:lnTo>
                      <a:pt x="1899" y="424"/>
                    </a:lnTo>
                    <a:lnTo>
                      <a:pt x="1981" y="425"/>
                    </a:lnTo>
                    <a:lnTo>
                      <a:pt x="2024" y="439"/>
                    </a:lnTo>
                    <a:lnTo>
                      <a:pt x="1990" y="543"/>
                    </a:lnTo>
                    <a:lnTo>
                      <a:pt x="2028" y="593"/>
                    </a:lnTo>
                    <a:lnTo>
                      <a:pt x="2017" y="736"/>
                    </a:lnTo>
                    <a:lnTo>
                      <a:pt x="2056" y="784"/>
                    </a:lnTo>
                    <a:lnTo>
                      <a:pt x="2039" y="836"/>
                    </a:lnTo>
                    <a:lnTo>
                      <a:pt x="1977" y="877"/>
                    </a:lnTo>
                    <a:lnTo>
                      <a:pt x="1996" y="896"/>
                    </a:lnTo>
                    <a:lnTo>
                      <a:pt x="1914" y="915"/>
                    </a:lnTo>
                    <a:lnTo>
                      <a:pt x="2002" y="949"/>
                    </a:lnTo>
                    <a:lnTo>
                      <a:pt x="2105" y="836"/>
                    </a:lnTo>
                    <a:lnTo>
                      <a:pt x="2091" y="765"/>
                    </a:lnTo>
                    <a:lnTo>
                      <a:pt x="2123" y="754"/>
                    </a:lnTo>
                    <a:lnTo>
                      <a:pt x="2176" y="740"/>
                    </a:lnTo>
                    <a:lnTo>
                      <a:pt x="2204" y="781"/>
                    </a:lnTo>
                    <a:lnTo>
                      <a:pt x="2201" y="835"/>
                    </a:lnTo>
                    <a:lnTo>
                      <a:pt x="2263" y="851"/>
                    </a:lnTo>
                    <a:lnTo>
                      <a:pt x="2212" y="834"/>
                    </a:lnTo>
                    <a:lnTo>
                      <a:pt x="2236" y="801"/>
                    </a:lnTo>
                    <a:lnTo>
                      <a:pt x="2214" y="754"/>
                    </a:lnTo>
                    <a:lnTo>
                      <a:pt x="2067" y="723"/>
                    </a:lnTo>
                    <a:lnTo>
                      <a:pt x="2091" y="612"/>
                    </a:lnTo>
                    <a:lnTo>
                      <a:pt x="2039" y="543"/>
                    </a:lnTo>
                    <a:lnTo>
                      <a:pt x="2112" y="479"/>
                    </a:lnTo>
                    <a:lnTo>
                      <a:pt x="2106" y="433"/>
                    </a:lnTo>
                    <a:lnTo>
                      <a:pt x="2137" y="459"/>
                    </a:lnTo>
                    <a:lnTo>
                      <a:pt x="2120" y="550"/>
                    </a:lnTo>
                    <a:lnTo>
                      <a:pt x="2145" y="560"/>
                    </a:lnTo>
                    <a:lnTo>
                      <a:pt x="2246" y="587"/>
                    </a:lnTo>
                    <a:lnTo>
                      <a:pt x="2153" y="514"/>
                    </a:lnTo>
                    <a:lnTo>
                      <a:pt x="2221" y="517"/>
                    </a:lnTo>
                    <a:lnTo>
                      <a:pt x="2206" y="487"/>
                    </a:lnTo>
                    <a:lnTo>
                      <a:pt x="2246" y="472"/>
                    </a:lnTo>
                    <a:lnTo>
                      <a:pt x="2429" y="532"/>
                    </a:lnTo>
                    <a:lnTo>
                      <a:pt x="2394" y="568"/>
                    </a:lnTo>
                    <a:lnTo>
                      <a:pt x="2389" y="628"/>
                    </a:lnTo>
                    <a:lnTo>
                      <a:pt x="2427" y="660"/>
                    </a:lnTo>
                    <a:lnTo>
                      <a:pt x="2446" y="532"/>
                    </a:lnTo>
                    <a:lnTo>
                      <a:pt x="2347" y="466"/>
                    </a:lnTo>
                    <a:lnTo>
                      <a:pt x="2325" y="375"/>
                    </a:lnTo>
                    <a:lnTo>
                      <a:pt x="2558" y="344"/>
                    </a:lnTo>
                    <a:lnTo>
                      <a:pt x="2529" y="260"/>
                    </a:lnTo>
                    <a:lnTo>
                      <a:pt x="2558" y="279"/>
                    </a:lnTo>
                    <a:lnTo>
                      <a:pt x="2599" y="247"/>
                    </a:lnTo>
                    <a:lnTo>
                      <a:pt x="2568" y="237"/>
                    </a:lnTo>
                    <a:lnTo>
                      <a:pt x="2816" y="171"/>
                    </a:lnTo>
                    <a:lnTo>
                      <a:pt x="2794" y="152"/>
                    </a:lnTo>
                    <a:lnTo>
                      <a:pt x="2909" y="145"/>
                    </a:lnTo>
                    <a:lnTo>
                      <a:pt x="2908" y="167"/>
                    </a:lnTo>
                    <a:lnTo>
                      <a:pt x="2934" y="167"/>
                    </a:lnTo>
                    <a:lnTo>
                      <a:pt x="3018" y="137"/>
                    </a:lnTo>
                    <a:lnTo>
                      <a:pt x="3057" y="153"/>
                    </a:lnTo>
                    <a:lnTo>
                      <a:pt x="3019" y="117"/>
                    </a:lnTo>
                    <a:lnTo>
                      <a:pt x="3113" y="110"/>
                    </a:lnTo>
                    <a:lnTo>
                      <a:pt x="3116" y="64"/>
                    </a:lnTo>
                    <a:lnTo>
                      <a:pt x="3223" y="0"/>
                    </a:lnTo>
                    <a:lnTo>
                      <a:pt x="3300" y="38"/>
                    </a:lnTo>
                    <a:lnTo>
                      <a:pt x="3235" y="71"/>
                    </a:lnTo>
                    <a:lnTo>
                      <a:pt x="3348" y="69"/>
                    </a:lnTo>
                    <a:lnTo>
                      <a:pt x="3301" y="117"/>
                    </a:lnTo>
                    <a:lnTo>
                      <a:pt x="3491" y="92"/>
                    </a:lnTo>
                    <a:lnTo>
                      <a:pt x="3593" y="167"/>
                    </a:lnTo>
                    <a:lnTo>
                      <a:pt x="3577" y="194"/>
                    </a:lnTo>
                    <a:lnTo>
                      <a:pt x="3543" y="176"/>
                    </a:lnTo>
                    <a:lnTo>
                      <a:pt x="3590" y="201"/>
                    </a:lnTo>
                    <a:lnTo>
                      <a:pt x="3568" y="244"/>
                    </a:lnTo>
                    <a:lnTo>
                      <a:pt x="3223" y="456"/>
                    </a:lnTo>
                    <a:lnTo>
                      <a:pt x="3335" y="428"/>
                    </a:lnTo>
                    <a:lnTo>
                      <a:pt x="3311" y="401"/>
                    </a:lnTo>
                    <a:lnTo>
                      <a:pt x="3485" y="362"/>
                    </a:lnTo>
                    <a:lnTo>
                      <a:pt x="3437" y="367"/>
                    </a:lnTo>
                    <a:lnTo>
                      <a:pt x="3448" y="332"/>
                    </a:lnTo>
                    <a:lnTo>
                      <a:pt x="3543" y="362"/>
                    </a:lnTo>
                    <a:lnTo>
                      <a:pt x="3560" y="332"/>
                    </a:lnTo>
                    <a:lnTo>
                      <a:pt x="3579" y="401"/>
                    </a:lnTo>
                    <a:lnTo>
                      <a:pt x="3626" y="406"/>
                    </a:lnTo>
                    <a:lnTo>
                      <a:pt x="3582" y="376"/>
                    </a:lnTo>
                    <a:lnTo>
                      <a:pt x="3675" y="362"/>
                    </a:lnTo>
                    <a:lnTo>
                      <a:pt x="3786" y="375"/>
                    </a:lnTo>
                    <a:lnTo>
                      <a:pt x="3778" y="401"/>
                    </a:lnTo>
                    <a:lnTo>
                      <a:pt x="3871" y="424"/>
                    </a:lnTo>
                    <a:lnTo>
                      <a:pt x="3954" y="418"/>
                    </a:lnTo>
                    <a:lnTo>
                      <a:pt x="3958" y="353"/>
                    </a:lnTo>
                    <a:lnTo>
                      <a:pt x="3983" y="347"/>
                    </a:lnTo>
                    <a:lnTo>
                      <a:pt x="4193" y="418"/>
                    </a:lnTo>
                    <a:lnTo>
                      <a:pt x="4167" y="532"/>
                    </a:lnTo>
                    <a:lnTo>
                      <a:pt x="4264" y="608"/>
                    </a:lnTo>
                    <a:lnTo>
                      <a:pt x="4319" y="504"/>
                    </a:lnTo>
                    <a:lnTo>
                      <a:pt x="4354" y="550"/>
                    </a:lnTo>
                    <a:lnTo>
                      <a:pt x="4424" y="532"/>
                    </a:lnTo>
                    <a:lnTo>
                      <a:pt x="4519" y="568"/>
                    </a:lnTo>
                    <a:lnTo>
                      <a:pt x="4593" y="547"/>
                    </a:lnTo>
                    <a:lnTo>
                      <a:pt x="4589" y="504"/>
                    </a:lnTo>
                    <a:lnTo>
                      <a:pt x="4640" y="431"/>
                    </a:lnTo>
                    <a:lnTo>
                      <a:pt x="4957" y="482"/>
                    </a:lnTo>
                    <a:lnTo>
                      <a:pt x="4978" y="516"/>
                    </a:lnTo>
                    <a:lnTo>
                      <a:pt x="4938" y="531"/>
                    </a:lnTo>
                    <a:lnTo>
                      <a:pt x="5042" y="547"/>
                    </a:lnTo>
                    <a:lnTo>
                      <a:pt x="5080" y="597"/>
                    </a:lnTo>
                    <a:lnTo>
                      <a:pt x="5319" y="587"/>
                    </a:lnTo>
                    <a:lnTo>
                      <a:pt x="5362" y="628"/>
                    </a:lnTo>
                    <a:lnTo>
                      <a:pt x="5345" y="677"/>
                    </a:lnTo>
                    <a:lnTo>
                      <a:pt x="5415" y="712"/>
                    </a:lnTo>
                    <a:lnTo>
                      <a:pt x="5451" y="685"/>
                    </a:lnTo>
                    <a:lnTo>
                      <a:pt x="5622" y="705"/>
                    </a:lnTo>
                    <a:lnTo>
                      <a:pt x="5655" y="677"/>
                    </a:lnTo>
                    <a:lnTo>
                      <a:pt x="5677" y="721"/>
                    </a:lnTo>
                    <a:lnTo>
                      <a:pt x="5747" y="757"/>
                    </a:lnTo>
                    <a:lnTo>
                      <a:pt x="5780" y="732"/>
                    </a:lnTo>
                    <a:lnTo>
                      <a:pt x="5744" y="693"/>
                    </a:lnTo>
                    <a:lnTo>
                      <a:pt x="5765" y="660"/>
                    </a:lnTo>
                    <a:lnTo>
                      <a:pt x="6062" y="711"/>
                    </a:lnTo>
                    <a:lnTo>
                      <a:pt x="6258" y="838"/>
                    </a:lnTo>
                    <a:lnTo>
                      <a:pt x="6302" y="838"/>
                    </a:lnTo>
                    <a:lnTo>
                      <a:pt x="6352" y="942"/>
                    </a:lnTo>
                    <a:lnTo>
                      <a:pt x="6328" y="886"/>
                    </a:lnTo>
                    <a:lnTo>
                      <a:pt x="6361" y="881"/>
                    </a:lnTo>
                    <a:lnTo>
                      <a:pt x="6383" y="903"/>
                    </a:lnTo>
                    <a:lnTo>
                      <a:pt x="6439" y="896"/>
                    </a:lnTo>
                    <a:lnTo>
                      <a:pt x="6518" y="954"/>
                    </a:lnTo>
                    <a:lnTo>
                      <a:pt x="6404" y="1020"/>
                    </a:lnTo>
                    <a:lnTo>
                      <a:pt x="6428" y="1039"/>
                    </a:lnTo>
                    <a:lnTo>
                      <a:pt x="6387" y="1051"/>
                    </a:lnTo>
                    <a:lnTo>
                      <a:pt x="6420" y="1076"/>
                    </a:lnTo>
                    <a:lnTo>
                      <a:pt x="6352" y="1077"/>
                    </a:lnTo>
                    <a:lnTo>
                      <a:pt x="6327" y="1039"/>
                    </a:lnTo>
                    <a:lnTo>
                      <a:pt x="6303" y="1054"/>
                    </a:lnTo>
                    <a:lnTo>
                      <a:pt x="6258" y="993"/>
                    </a:lnTo>
                    <a:lnTo>
                      <a:pt x="6179" y="995"/>
                    </a:lnTo>
                    <a:lnTo>
                      <a:pt x="6158" y="958"/>
                    </a:lnTo>
                    <a:lnTo>
                      <a:pt x="6178" y="942"/>
                    </a:lnTo>
                    <a:lnTo>
                      <a:pt x="6150" y="942"/>
                    </a:lnTo>
                    <a:lnTo>
                      <a:pt x="6124" y="954"/>
                    </a:lnTo>
                    <a:lnTo>
                      <a:pt x="6151" y="996"/>
                    </a:lnTo>
                    <a:lnTo>
                      <a:pt x="6135" y="1023"/>
                    </a:lnTo>
                    <a:lnTo>
                      <a:pt x="6069" y="1065"/>
                    </a:lnTo>
                    <a:lnTo>
                      <a:pt x="6024" y="1055"/>
                    </a:lnTo>
                    <a:lnTo>
                      <a:pt x="6099" y="1173"/>
                    </a:lnTo>
                    <a:lnTo>
                      <a:pt x="6085" y="1219"/>
                    </a:lnTo>
                    <a:lnTo>
                      <a:pt x="6009" y="1187"/>
                    </a:lnTo>
                    <a:lnTo>
                      <a:pt x="6012" y="1206"/>
                    </a:lnTo>
                    <a:lnTo>
                      <a:pt x="5875" y="1264"/>
                    </a:lnTo>
                    <a:lnTo>
                      <a:pt x="5751" y="1384"/>
                    </a:lnTo>
                    <a:lnTo>
                      <a:pt x="5669" y="1338"/>
                    </a:lnTo>
                    <a:lnTo>
                      <a:pt x="5593" y="1387"/>
                    </a:lnTo>
                    <a:lnTo>
                      <a:pt x="5593" y="1344"/>
                    </a:lnTo>
                    <a:lnTo>
                      <a:pt x="5549" y="1388"/>
                    </a:lnTo>
                    <a:lnTo>
                      <a:pt x="5493" y="1386"/>
                    </a:lnTo>
                    <a:lnTo>
                      <a:pt x="5436" y="1502"/>
                    </a:lnTo>
                    <a:lnTo>
                      <a:pt x="5483" y="1526"/>
                    </a:lnTo>
                    <a:lnTo>
                      <a:pt x="5465" y="1564"/>
                    </a:lnTo>
                    <a:lnTo>
                      <a:pt x="5486" y="1625"/>
                    </a:lnTo>
                    <a:lnTo>
                      <a:pt x="5446" y="1614"/>
                    </a:lnTo>
                    <a:lnTo>
                      <a:pt x="5423" y="1668"/>
                    </a:lnTo>
                    <a:lnTo>
                      <a:pt x="5437" y="1714"/>
                    </a:lnTo>
                    <a:lnTo>
                      <a:pt x="5353" y="1753"/>
                    </a:lnTo>
                    <a:lnTo>
                      <a:pt x="5362" y="1808"/>
                    </a:lnTo>
                    <a:lnTo>
                      <a:pt x="5306" y="1822"/>
                    </a:lnTo>
                    <a:lnTo>
                      <a:pt x="5293" y="1881"/>
                    </a:lnTo>
                    <a:lnTo>
                      <a:pt x="5241" y="1943"/>
                    </a:lnTo>
                    <a:lnTo>
                      <a:pt x="5196" y="1714"/>
                    </a:lnTo>
                    <a:lnTo>
                      <a:pt x="5200" y="1591"/>
                    </a:lnTo>
                    <a:lnTo>
                      <a:pt x="5241" y="1518"/>
                    </a:lnTo>
                    <a:lnTo>
                      <a:pt x="5299" y="1503"/>
                    </a:lnTo>
                    <a:lnTo>
                      <a:pt x="5434" y="1350"/>
                    </a:lnTo>
                    <a:lnTo>
                      <a:pt x="5498" y="1318"/>
                    </a:lnTo>
                    <a:lnTo>
                      <a:pt x="5520" y="1230"/>
                    </a:lnTo>
                    <a:lnTo>
                      <a:pt x="5549" y="1207"/>
                    </a:lnTo>
                    <a:lnTo>
                      <a:pt x="5497" y="1206"/>
                    </a:lnTo>
                    <a:lnTo>
                      <a:pt x="5482" y="1279"/>
                    </a:lnTo>
                    <a:lnTo>
                      <a:pt x="5367" y="1340"/>
                    </a:lnTo>
                    <a:lnTo>
                      <a:pt x="5378" y="1246"/>
                    </a:lnTo>
                    <a:lnTo>
                      <a:pt x="5254" y="1268"/>
                    </a:lnTo>
                    <a:lnTo>
                      <a:pt x="5138" y="1387"/>
                    </a:lnTo>
                    <a:lnTo>
                      <a:pt x="5161" y="1438"/>
                    </a:lnTo>
                    <a:lnTo>
                      <a:pt x="5037" y="1455"/>
                    </a:lnTo>
                    <a:lnTo>
                      <a:pt x="5021" y="1440"/>
                    </a:lnTo>
                    <a:lnTo>
                      <a:pt x="5063" y="1432"/>
                    </a:lnTo>
                    <a:lnTo>
                      <a:pt x="4959" y="1400"/>
                    </a:lnTo>
                    <a:lnTo>
                      <a:pt x="4929" y="1432"/>
                    </a:lnTo>
                    <a:lnTo>
                      <a:pt x="4694" y="1433"/>
                    </a:lnTo>
                    <a:lnTo>
                      <a:pt x="4417" y="1709"/>
                    </a:lnTo>
                    <a:lnTo>
                      <a:pt x="4473" y="1721"/>
                    </a:lnTo>
                    <a:lnTo>
                      <a:pt x="4473" y="1771"/>
                    </a:lnTo>
                    <a:lnTo>
                      <a:pt x="4507" y="1740"/>
                    </a:lnTo>
                    <a:lnTo>
                      <a:pt x="4497" y="1783"/>
                    </a:lnTo>
                    <a:lnTo>
                      <a:pt x="4537" y="1759"/>
                    </a:lnTo>
                    <a:lnTo>
                      <a:pt x="4535" y="1786"/>
                    </a:lnTo>
                    <a:lnTo>
                      <a:pt x="4546" y="1740"/>
                    </a:lnTo>
                    <a:lnTo>
                      <a:pt x="4589" y="1741"/>
                    </a:lnTo>
                    <a:lnTo>
                      <a:pt x="4647" y="1801"/>
                    </a:lnTo>
                    <a:lnTo>
                      <a:pt x="4592" y="1806"/>
                    </a:lnTo>
                    <a:lnTo>
                      <a:pt x="4641" y="1824"/>
                    </a:lnTo>
                    <a:lnTo>
                      <a:pt x="4653" y="1866"/>
                    </a:lnTo>
                    <a:lnTo>
                      <a:pt x="4614" y="1952"/>
                    </a:lnTo>
                    <a:lnTo>
                      <a:pt x="4606" y="2082"/>
                    </a:lnTo>
                    <a:lnTo>
                      <a:pt x="4411" y="2358"/>
                    </a:lnTo>
                    <a:lnTo>
                      <a:pt x="4342" y="2396"/>
                    </a:lnTo>
                    <a:lnTo>
                      <a:pt x="4287" y="2358"/>
                    </a:lnTo>
                    <a:lnTo>
                      <a:pt x="4240" y="2412"/>
                    </a:lnTo>
                    <a:lnTo>
                      <a:pt x="4237" y="2401"/>
                    </a:lnTo>
                    <a:lnTo>
                      <a:pt x="4262" y="2358"/>
                    </a:lnTo>
                    <a:lnTo>
                      <a:pt x="4249" y="2289"/>
                    </a:lnTo>
                    <a:lnTo>
                      <a:pt x="4334" y="2261"/>
                    </a:lnTo>
                    <a:lnTo>
                      <a:pt x="4403" y="2077"/>
                    </a:lnTo>
                    <a:lnTo>
                      <a:pt x="4257" y="2121"/>
                    </a:lnTo>
                    <a:lnTo>
                      <a:pt x="4237" y="2052"/>
                    </a:lnTo>
                    <a:lnTo>
                      <a:pt x="4120" y="2010"/>
                    </a:lnTo>
                    <a:lnTo>
                      <a:pt x="4050" y="1821"/>
                    </a:lnTo>
                    <a:lnTo>
                      <a:pt x="3972" y="1786"/>
                    </a:lnTo>
                    <a:lnTo>
                      <a:pt x="3834" y="1837"/>
                    </a:lnTo>
                    <a:lnTo>
                      <a:pt x="3859" y="1878"/>
                    </a:lnTo>
                    <a:lnTo>
                      <a:pt x="3802" y="1990"/>
                    </a:lnTo>
                    <a:lnTo>
                      <a:pt x="3748" y="2020"/>
                    </a:lnTo>
                    <a:lnTo>
                      <a:pt x="3691" y="1993"/>
                    </a:lnTo>
                    <a:lnTo>
                      <a:pt x="3621" y="1981"/>
                    </a:lnTo>
                    <a:lnTo>
                      <a:pt x="3441" y="2033"/>
                    </a:lnTo>
                    <a:lnTo>
                      <a:pt x="3280" y="1956"/>
                    </a:lnTo>
                    <a:lnTo>
                      <a:pt x="3179" y="1967"/>
                    </a:lnTo>
                    <a:lnTo>
                      <a:pt x="3142" y="1905"/>
                    </a:lnTo>
                    <a:lnTo>
                      <a:pt x="3042" y="1866"/>
                    </a:lnTo>
                    <a:lnTo>
                      <a:pt x="2989" y="1908"/>
                    </a:lnTo>
                    <a:lnTo>
                      <a:pt x="2986" y="1992"/>
                    </a:lnTo>
                    <a:lnTo>
                      <a:pt x="2756" y="1955"/>
                    </a:lnTo>
                    <a:lnTo>
                      <a:pt x="2633" y="2033"/>
                    </a:lnTo>
                    <a:lnTo>
                      <a:pt x="2568" y="2063"/>
                    </a:lnTo>
                    <a:lnTo>
                      <a:pt x="2488" y="2002"/>
                    </a:lnTo>
                    <a:lnTo>
                      <a:pt x="2435" y="2036"/>
                    </a:lnTo>
                    <a:lnTo>
                      <a:pt x="2339" y="1993"/>
                    </a:lnTo>
                    <a:lnTo>
                      <a:pt x="2302" y="1990"/>
                    </a:lnTo>
                    <a:lnTo>
                      <a:pt x="2275" y="1923"/>
                    </a:lnTo>
                    <a:lnTo>
                      <a:pt x="2221" y="1923"/>
                    </a:lnTo>
                    <a:lnTo>
                      <a:pt x="2202" y="1935"/>
                    </a:lnTo>
                    <a:lnTo>
                      <a:pt x="2159" y="1885"/>
                    </a:lnTo>
                    <a:lnTo>
                      <a:pt x="2130" y="1898"/>
                    </a:lnTo>
                    <a:lnTo>
                      <a:pt x="2106" y="1914"/>
                    </a:lnTo>
                    <a:lnTo>
                      <a:pt x="1996" y="1812"/>
                    </a:lnTo>
                    <a:lnTo>
                      <a:pt x="1965" y="1802"/>
                    </a:lnTo>
                    <a:lnTo>
                      <a:pt x="1893" y="1724"/>
                    </a:lnTo>
                    <a:lnTo>
                      <a:pt x="1825" y="1771"/>
                    </a:lnTo>
                    <a:lnTo>
                      <a:pt x="1813" y="1739"/>
                    </a:lnTo>
                    <a:lnTo>
                      <a:pt x="1713" y="1733"/>
                    </a:lnTo>
                    <a:lnTo>
                      <a:pt x="1674" y="1678"/>
                    </a:lnTo>
                    <a:lnTo>
                      <a:pt x="1622" y="1682"/>
                    </a:lnTo>
                    <a:lnTo>
                      <a:pt x="1601" y="1705"/>
                    </a:lnTo>
                    <a:lnTo>
                      <a:pt x="1536" y="1718"/>
                    </a:lnTo>
                    <a:lnTo>
                      <a:pt x="1517" y="1705"/>
                    </a:lnTo>
                    <a:lnTo>
                      <a:pt x="1493" y="1749"/>
                    </a:lnTo>
                    <a:lnTo>
                      <a:pt x="1471" y="1739"/>
                    </a:lnTo>
                    <a:lnTo>
                      <a:pt x="1392" y="1751"/>
                    </a:lnTo>
                    <a:lnTo>
                      <a:pt x="1367" y="1739"/>
                    </a:lnTo>
                    <a:lnTo>
                      <a:pt x="1357" y="1751"/>
                    </a:lnTo>
                    <a:lnTo>
                      <a:pt x="1398" y="1802"/>
                    </a:lnTo>
                    <a:lnTo>
                      <a:pt x="1369" y="1832"/>
                    </a:lnTo>
                    <a:lnTo>
                      <a:pt x="1370" y="1874"/>
                    </a:lnTo>
                    <a:lnTo>
                      <a:pt x="1416" y="1875"/>
                    </a:lnTo>
                    <a:lnTo>
                      <a:pt x="1438" y="1914"/>
                    </a:lnTo>
                    <a:lnTo>
                      <a:pt x="1424" y="1944"/>
                    </a:lnTo>
                    <a:lnTo>
                      <a:pt x="1392" y="1923"/>
                    </a:lnTo>
                    <a:lnTo>
                      <a:pt x="1367" y="1943"/>
                    </a:lnTo>
                    <a:lnTo>
                      <a:pt x="1339" y="1927"/>
                    </a:lnTo>
                    <a:lnTo>
                      <a:pt x="1325" y="1898"/>
                    </a:lnTo>
                    <a:lnTo>
                      <a:pt x="1295" y="1914"/>
                    </a:lnTo>
                    <a:lnTo>
                      <a:pt x="1273" y="1900"/>
                    </a:lnTo>
                    <a:lnTo>
                      <a:pt x="1245" y="1923"/>
                    </a:lnTo>
                    <a:lnTo>
                      <a:pt x="1211" y="1929"/>
                    </a:lnTo>
                    <a:lnTo>
                      <a:pt x="1190" y="1898"/>
                    </a:lnTo>
                    <a:lnTo>
                      <a:pt x="1066" y="1890"/>
                    </a:lnTo>
                    <a:lnTo>
                      <a:pt x="1054" y="1905"/>
                    </a:lnTo>
                    <a:lnTo>
                      <a:pt x="1042" y="1904"/>
                    </a:lnTo>
                    <a:lnTo>
                      <a:pt x="1020" y="1937"/>
                    </a:lnTo>
                    <a:lnTo>
                      <a:pt x="1023" y="1970"/>
                    </a:lnTo>
                    <a:lnTo>
                      <a:pt x="1008" y="1973"/>
                    </a:lnTo>
                    <a:lnTo>
                      <a:pt x="999" y="1944"/>
                    </a:lnTo>
                    <a:lnTo>
                      <a:pt x="980" y="1947"/>
                    </a:lnTo>
                    <a:lnTo>
                      <a:pt x="975" y="2042"/>
                    </a:lnTo>
                    <a:lnTo>
                      <a:pt x="993" y="2070"/>
                    </a:lnTo>
                    <a:lnTo>
                      <a:pt x="993" y="2096"/>
                    </a:lnTo>
                    <a:lnTo>
                      <a:pt x="1015" y="2092"/>
                    </a:lnTo>
                    <a:lnTo>
                      <a:pt x="1042" y="2079"/>
                    </a:lnTo>
                    <a:lnTo>
                      <a:pt x="1064" y="2121"/>
                    </a:lnTo>
                    <a:lnTo>
                      <a:pt x="1078" y="2148"/>
                    </a:lnTo>
                    <a:lnTo>
                      <a:pt x="1097" y="2184"/>
                    </a:lnTo>
                    <a:lnTo>
                      <a:pt x="1126" y="2193"/>
                    </a:lnTo>
                    <a:lnTo>
                      <a:pt x="1089" y="2221"/>
                    </a:lnTo>
                    <a:lnTo>
                      <a:pt x="1065" y="2194"/>
                    </a:lnTo>
                    <a:lnTo>
                      <a:pt x="1040" y="2300"/>
                    </a:lnTo>
                    <a:lnTo>
                      <a:pt x="1070" y="2328"/>
                    </a:lnTo>
                    <a:lnTo>
                      <a:pt x="1095" y="2431"/>
                    </a:lnTo>
                    <a:lnTo>
                      <a:pt x="1071" y="2412"/>
                    </a:lnTo>
                    <a:lnTo>
                      <a:pt x="1047" y="2401"/>
                    </a:lnTo>
                    <a:lnTo>
                      <a:pt x="1015" y="2396"/>
                    </a:lnTo>
                    <a:lnTo>
                      <a:pt x="993" y="2384"/>
                    </a:lnTo>
                    <a:lnTo>
                      <a:pt x="973" y="2381"/>
                    </a:lnTo>
                    <a:lnTo>
                      <a:pt x="958" y="2345"/>
                    </a:lnTo>
                    <a:lnTo>
                      <a:pt x="918" y="2366"/>
                    </a:lnTo>
                    <a:lnTo>
                      <a:pt x="883" y="2365"/>
                    </a:lnTo>
                    <a:lnTo>
                      <a:pt x="856" y="2334"/>
                    </a:lnTo>
                    <a:lnTo>
                      <a:pt x="796" y="2303"/>
                    </a:lnTo>
                    <a:lnTo>
                      <a:pt x="737" y="2309"/>
                    </a:lnTo>
                    <a:lnTo>
                      <a:pt x="671" y="2258"/>
                    </a:lnTo>
                    <a:lnTo>
                      <a:pt x="722" y="2212"/>
                    </a:lnTo>
                    <a:lnTo>
                      <a:pt x="727" y="2170"/>
                    </a:lnTo>
                    <a:lnTo>
                      <a:pt x="726" y="2131"/>
                    </a:lnTo>
                    <a:lnTo>
                      <a:pt x="733" y="2098"/>
                    </a:lnTo>
                    <a:lnTo>
                      <a:pt x="765" y="2088"/>
                    </a:lnTo>
                    <a:lnTo>
                      <a:pt x="745" y="2027"/>
                    </a:lnTo>
                    <a:lnTo>
                      <a:pt x="708" y="2010"/>
                    </a:lnTo>
                    <a:lnTo>
                      <a:pt x="688" y="2000"/>
                    </a:lnTo>
                    <a:lnTo>
                      <a:pt x="660" y="2009"/>
                    </a:lnTo>
                    <a:lnTo>
                      <a:pt x="605" y="1992"/>
                    </a:lnTo>
                    <a:lnTo>
                      <a:pt x="562" y="1931"/>
                    </a:lnTo>
                    <a:lnTo>
                      <a:pt x="524" y="1913"/>
                    </a:lnTo>
                    <a:lnTo>
                      <a:pt x="505" y="1858"/>
                    </a:lnTo>
                    <a:lnTo>
                      <a:pt x="475" y="1851"/>
                    </a:lnTo>
                    <a:lnTo>
                      <a:pt x="444" y="1870"/>
                    </a:lnTo>
                    <a:lnTo>
                      <a:pt x="423" y="1881"/>
                    </a:lnTo>
                    <a:lnTo>
                      <a:pt x="412" y="1856"/>
                    </a:lnTo>
                    <a:lnTo>
                      <a:pt x="399" y="1831"/>
                    </a:lnTo>
                    <a:lnTo>
                      <a:pt x="441" y="1825"/>
                    </a:lnTo>
                    <a:lnTo>
                      <a:pt x="439" y="1810"/>
                    </a:lnTo>
                    <a:lnTo>
                      <a:pt x="429" y="1797"/>
                    </a:lnTo>
                    <a:lnTo>
                      <a:pt x="412" y="1785"/>
                    </a:lnTo>
                    <a:lnTo>
                      <a:pt x="391" y="1718"/>
                    </a:lnTo>
                    <a:lnTo>
                      <a:pt x="355" y="1686"/>
                    </a:lnTo>
                    <a:lnTo>
                      <a:pt x="322" y="1684"/>
                    </a:lnTo>
                    <a:lnTo>
                      <a:pt x="287" y="1684"/>
                    </a:lnTo>
                    <a:lnTo>
                      <a:pt x="265" y="1664"/>
                    </a:lnTo>
                    <a:lnTo>
                      <a:pt x="241" y="1660"/>
                    </a:lnTo>
                    <a:lnTo>
                      <a:pt x="222" y="1660"/>
                    </a:lnTo>
                    <a:lnTo>
                      <a:pt x="210" y="1678"/>
                    </a:lnTo>
                    <a:lnTo>
                      <a:pt x="186" y="1703"/>
                    </a:lnTo>
                    <a:lnTo>
                      <a:pt x="181" y="1730"/>
                    </a:lnTo>
                    <a:lnTo>
                      <a:pt x="173" y="1739"/>
                    </a:lnTo>
                    <a:lnTo>
                      <a:pt x="159" y="1783"/>
                    </a:lnTo>
                    <a:lnTo>
                      <a:pt x="150" y="1768"/>
                    </a:lnTo>
                    <a:lnTo>
                      <a:pt x="145" y="1752"/>
                    </a:lnTo>
                    <a:lnTo>
                      <a:pt x="0" y="172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7" name="Freeform 396"/>
              <p:cNvSpPr/>
              <p:nvPr/>
            </p:nvSpPr>
            <p:spPr bwMode="auto">
              <a:xfrm>
                <a:off x="2254" y="1741"/>
                <a:ext cx="54" cy="28"/>
              </a:xfrm>
              <a:custGeom>
                <a:avLst/>
                <a:gdLst>
                  <a:gd name="T0" fmla="*/ 0 w 190"/>
                  <a:gd name="T1" fmla="*/ 2 h 94"/>
                  <a:gd name="T2" fmla="*/ 1 w 190"/>
                  <a:gd name="T3" fmla="*/ 1 h 94"/>
                  <a:gd name="T4" fmla="*/ 0 w 190"/>
                  <a:gd name="T5" fmla="*/ 1 h 94"/>
                  <a:gd name="T6" fmla="*/ 3 w 190"/>
                  <a:gd name="T7" fmla="*/ 0 h 94"/>
                  <a:gd name="T8" fmla="*/ 4 w 190"/>
                  <a:gd name="T9" fmla="*/ 0 h 94"/>
                  <a:gd name="T10" fmla="*/ 3 w 190"/>
                  <a:gd name="T11" fmla="*/ 1 h 94"/>
                  <a:gd name="T12" fmla="*/ 4 w 190"/>
                  <a:gd name="T13" fmla="*/ 1 h 94"/>
                  <a:gd name="T14" fmla="*/ 1 w 190"/>
                  <a:gd name="T15" fmla="*/ 2 h 94"/>
                  <a:gd name="T16" fmla="*/ 1 w 190"/>
                  <a:gd name="T17" fmla="*/ 2 h 94"/>
                  <a:gd name="T18" fmla="*/ 1 w 190"/>
                  <a:gd name="T19" fmla="*/ 2 h 94"/>
                  <a:gd name="T20" fmla="*/ 0 w 190"/>
                  <a:gd name="T21" fmla="*/ 2 h 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0"/>
                  <a:gd name="T34" fmla="*/ 0 h 94"/>
                  <a:gd name="T35" fmla="*/ 190 w 190"/>
                  <a:gd name="T36" fmla="*/ 94 h 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0" h="94">
                    <a:moveTo>
                      <a:pt x="0" y="67"/>
                    </a:moveTo>
                    <a:lnTo>
                      <a:pt x="39" y="46"/>
                    </a:lnTo>
                    <a:lnTo>
                      <a:pt x="11" y="27"/>
                    </a:lnTo>
                    <a:lnTo>
                      <a:pt x="146" y="0"/>
                    </a:lnTo>
                    <a:lnTo>
                      <a:pt x="168" y="1"/>
                    </a:lnTo>
                    <a:lnTo>
                      <a:pt x="142" y="25"/>
                    </a:lnTo>
                    <a:lnTo>
                      <a:pt x="190" y="23"/>
                    </a:lnTo>
                    <a:lnTo>
                      <a:pt x="66" y="79"/>
                    </a:lnTo>
                    <a:lnTo>
                      <a:pt x="39" y="94"/>
                    </a:lnTo>
                    <a:lnTo>
                      <a:pt x="45" y="71"/>
                    </a:lnTo>
                    <a:lnTo>
                      <a:pt x="0" y="6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8" name="Freeform 397"/>
              <p:cNvSpPr/>
              <p:nvPr/>
            </p:nvSpPr>
            <p:spPr bwMode="auto">
              <a:xfrm>
                <a:off x="2270" y="2032"/>
                <a:ext cx="22" cy="14"/>
              </a:xfrm>
              <a:custGeom>
                <a:avLst/>
                <a:gdLst>
                  <a:gd name="T0" fmla="*/ 0 w 75"/>
                  <a:gd name="T1" fmla="*/ 1 h 49"/>
                  <a:gd name="T2" fmla="*/ 1 w 75"/>
                  <a:gd name="T3" fmla="*/ 0 h 49"/>
                  <a:gd name="T4" fmla="*/ 2 w 75"/>
                  <a:gd name="T5" fmla="*/ 1 h 49"/>
                  <a:gd name="T6" fmla="*/ 0 w 75"/>
                  <a:gd name="T7" fmla="*/ 1 h 49"/>
                  <a:gd name="T8" fmla="*/ 0 60000 65536"/>
                  <a:gd name="T9" fmla="*/ 0 60000 65536"/>
                  <a:gd name="T10" fmla="*/ 0 60000 65536"/>
                  <a:gd name="T11" fmla="*/ 0 60000 65536"/>
                  <a:gd name="T12" fmla="*/ 0 w 75"/>
                  <a:gd name="T13" fmla="*/ 0 h 49"/>
                  <a:gd name="T14" fmla="*/ 75 w 75"/>
                  <a:gd name="T15" fmla="*/ 49 h 49"/>
                </a:gdLst>
                <a:ahLst/>
                <a:cxnLst>
                  <a:cxn ang="T8">
                    <a:pos x="T0" y="T1"/>
                  </a:cxn>
                  <a:cxn ang="T9">
                    <a:pos x="T2" y="T3"/>
                  </a:cxn>
                  <a:cxn ang="T10">
                    <a:pos x="T4" y="T5"/>
                  </a:cxn>
                  <a:cxn ang="T11">
                    <a:pos x="T6" y="T7"/>
                  </a:cxn>
                </a:cxnLst>
                <a:rect l="T12" t="T13" r="T14" b="T15"/>
                <a:pathLst>
                  <a:path w="75" h="49">
                    <a:moveTo>
                      <a:pt x="0" y="49"/>
                    </a:moveTo>
                    <a:lnTo>
                      <a:pt x="22" y="0"/>
                    </a:lnTo>
                    <a:lnTo>
                      <a:pt x="75" y="27"/>
                    </a:lnTo>
                    <a:lnTo>
                      <a:pt x="0" y="4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9" name="Freeform 398"/>
              <p:cNvSpPr/>
              <p:nvPr/>
            </p:nvSpPr>
            <p:spPr bwMode="auto">
              <a:xfrm>
                <a:off x="2308" y="1945"/>
                <a:ext cx="66" cy="58"/>
              </a:xfrm>
              <a:custGeom>
                <a:avLst/>
                <a:gdLst>
                  <a:gd name="T0" fmla="*/ 0 w 229"/>
                  <a:gd name="T1" fmla="*/ 2 h 204"/>
                  <a:gd name="T2" fmla="*/ 0 w 229"/>
                  <a:gd name="T3" fmla="*/ 3 h 204"/>
                  <a:gd name="T4" fmla="*/ 1 w 229"/>
                  <a:gd name="T5" fmla="*/ 3 h 204"/>
                  <a:gd name="T6" fmla="*/ 2 w 229"/>
                  <a:gd name="T7" fmla="*/ 4 h 204"/>
                  <a:gd name="T8" fmla="*/ 2 w 229"/>
                  <a:gd name="T9" fmla="*/ 3 h 204"/>
                  <a:gd name="T10" fmla="*/ 2 w 229"/>
                  <a:gd name="T11" fmla="*/ 5 h 204"/>
                  <a:gd name="T12" fmla="*/ 5 w 229"/>
                  <a:gd name="T13" fmla="*/ 5 h 204"/>
                  <a:gd name="T14" fmla="*/ 4 w 229"/>
                  <a:gd name="T15" fmla="*/ 4 h 204"/>
                  <a:gd name="T16" fmla="*/ 3 w 229"/>
                  <a:gd name="T17" fmla="*/ 3 h 204"/>
                  <a:gd name="T18" fmla="*/ 3 w 229"/>
                  <a:gd name="T19" fmla="*/ 1 h 204"/>
                  <a:gd name="T20" fmla="*/ 5 w 229"/>
                  <a:gd name="T21" fmla="*/ 0 h 204"/>
                  <a:gd name="T22" fmla="*/ 1 w 229"/>
                  <a:gd name="T23" fmla="*/ 0 h 204"/>
                  <a:gd name="T24" fmla="*/ 1 w 229"/>
                  <a:gd name="T25" fmla="*/ 2 h 204"/>
                  <a:gd name="T26" fmla="*/ 0 w 229"/>
                  <a:gd name="T27" fmla="*/ 2 h 2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9"/>
                  <a:gd name="T43" fmla="*/ 0 h 204"/>
                  <a:gd name="T44" fmla="*/ 229 w 229"/>
                  <a:gd name="T45" fmla="*/ 204 h 20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9" h="204">
                    <a:moveTo>
                      <a:pt x="0" y="103"/>
                    </a:moveTo>
                    <a:lnTo>
                      <a:pt x="16" y="146"/>
                    </a:lnTo>
                    <a:lnTo>
                      <a:pt x="41" y="131"/>
                    </a:lnTo>
                    <a:lnTo>
                      <a:pt x="71" y="159"/>
                    </a:lnTo>
                    <a:lnTo>
                      <a:pt x="91" y="146"/>
                    </a:lnTo>
                    <a:lnTo>
                      <a:pt x="82" y="196"/>
                    </a:lnTo>
                    <a:lnTo>
                      <a:pt x="229" y="204"/>
                    </a:lnTo>
                    <a:lnTo>
                      <a:pt x="175" y="167"/>
                    </a:lnTo>
                    <a:lnTo>
                      <a:pt x="147" y="105"/>
                    </a:lnTo>
                    <a:lnTo>
                      <a:pt x="148" y="38"/>
                    </a:lnTo>
                    <a:lnTo>
                      <a:pt x="186" y="0"/>
                    </a:lnTo>
                    <a:lnTo>
                      <a:pt x="57" y="13"/>
                    </a:lnTo>
                    <a:lnTo>
                      <a:pt x="25" y="103"/>
                    </a:lnTo>
                    <a:lnTo>
                      <a:pt x="0" y="10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0" name="Freeform 399"/>
              <p:cNvSpPr/>
              <p:nvPr/>
            </p:nvSpPr>
            <p:spPr bwMode="auto">
              <a:xfrm>
                <a:off x="2330" y="1851"/>
                <a:ext cx="168" cy="94"/>
              </a:xfrm>
              <a:custGeom>
                <a:avLst/>
                <a:gdLst>
                  <a:gd name="T0" fmla="*/ 0 w 587"/>
                  <a:gd name="T1" fmla="*/ 7 h 330"/>
                  <a:gd name="T2" fmla="*/ 1 w 587"/>
                  <a:gd name="T3" fmla="*/ 7 h 330"/>
                  <a:gd name="T4" fmla="*/ 0 w 587"/>
                  <a:gd name="T5" fmla="*/ 7 h 330"/>
                  <a:gd name="T6" fmla="*/ 3 w 587"/>
                  <a:gd name="T7" fmla="*/ 8 h 330"/>
                  <a:gd name="T8" fmla="*/ 3 w 587"/>
                  <a:gd name="T9" fmla="*/ 7 h 330"/>
                  <a:gd name="T10" fmla="*/ 3 w 587"/>
                  <a:gd name="T11" fmla="*/ 7 h 330"/>
                  <a:gd name="T12" fmla="*/ 3 w 587"/>
                  <a:gd name="T13" fmla="*/ 7 h 330"/>
                  <a:gd name="T14" fmla="*/ 4 w 587"/>
                  <a:gd name="T15" fmla="*/ 7 h 330"/>
                  <a:gd name="T16" fmla="*/ 3 w 587"/>
                  <a:gd name="T17" fmla="*/ 6 h 330"/>
                  <a:gd name="T18" fmla="*/ 4 w 587"/>
                  <a:gd name="T19" fmla="*/ 6 h 330"/>
                  <a:gd name="T20" fmla="*/ 5 w 587"/>
                  <a:gd name="T21" fmla="*/ 6 h 330"/>
                  <a:gd name="T22" fmla="*/ 4 w 587"/>
                  <a:gd name="T23" fmla="*/ 5 h 330"/>
                  <a:gd name="T24" fmla="*/ 5 w 587"/>
                  <a:gd name="T25" fmla="*/ 5 h 330"/>
                  <a:gd name="T26" fmla="*/ 5 w 587"/>
                  <a:gd name="T27" fmla="*/ 5 h 330"/>
                  <a:gd name="T28" fmla="*/ 6 w 587"/>
                  <a:gd name="T29" fmla="*/ 5 h 330"/>
                  <a:gd name="T30" fmla="*/ 6 w 587"/>
                  <a:gd name="T31" fmla="*/ 4 h 330"/>
                  <a:gd name="T32" fmla="*/ 13 w 587"/>
                  <a:gd name="T33" fmla="*/ 2 h 330"/>
                  <a:gd name="T34" fmla="*/ 14 w 587"/>
                  <a:gd name="T35" fmla="*/ 1 h 330"/>
                  <a:gd name="T36" fmla="*/ 13 w 587"/>
                  <a:gd name="T37" fmla="*/ 0 h 330"/>
                  <a:gd name="T38" fmla="*/ 9 w 587"/>
                  <a:gd name="T39" fmla="*/ 1 h 330"/>
                  <a:gd name="T40" fmla="*/ 7 w 587"/>
                  <a:gd name="T41" fmla="*/ 1 h 330"/>
                  <a:gd name="T42" fmla="*/ 3 w 587"/>
                  <a:gd name="T43" fmla="*/ 4 h 330"/>
                  <a:gd name="T44" fmla="*/ 2 w 587"/>
                  <a:gd name="T45" fmla="*/ 4 h 330"/>
                  <a:gd name="T46" fmla="*/ 2 w 587"/>
                  <a:gd name="T47" fmla="*/ 5 h 330"/>
                  <a:gd name="T48" fmla="*/ 3 w 587"/>
                  <a:gd name="T49" fmla="*/ 5 h 330"/>
                  <a:gd name="T50" fmla="*/ 2 w 587"/>
                  <a:gd name="T51" fmla="*/ 5 h 330"/>
                  <a:gd name="T52" fmla="*/ 2 w 587"/>
                  <a:gd name="T53" fmla="*/ 5 h 330"/>
                  <a:gd name="T54" fmla="*/ 1 w 587"/>
                  <a:gd name="T55" fmla="*/ 6 h 330"/>
                  <a:gd name="T56" fmla="*/ 2 w 587"/>
                  <a:gd name="T57" fmla="*/ 6 h 330"/>
                  <a:gd name="T58" fmla="*/ 0 w 587"/>
                  <a:gd name="T59" fmla="*/ 7 h 3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7"/>
                  <a:gd name="T91" fmla="*/ 0 h 330"/>
                  <a:gd name="T92" fmla="*/ 587 w 587"/>
                  <a:gd name="T93" fmla="*/ 330 h 3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7" h="330">
                    <a:moveTo>
                      <a:pt x="0" y="284"/>
                    </a:moveTo>
                    <a:lnTo>
                      <a:pt x="58" y="293"/>
                    </a:lnTo>
                    <a:lnTo>
                      <a:pt x="18" y="321"/>
                    </a:lnTo>
                    <a:lnTo>
                      <a:pt x="117" y="330"/>
                    </a:lnTo>
                    <a:lnTo>
                      <a:pt x="120" y="293"/>
                    </a:lnTo>
                    <a:lnTo>
                      <a:pt x="149" y="298"/>
                    </a:lnTo>
                    <a:lnTo>
                      <a:pt x="119" y="279"/>
                    </a:lnTo>
                    <a:lnTo>
                      <a:pt x="158" y="286"/>
                    </a:lnTo>
                    <a:lnTo>
                      <a:pt x="149" y="244"/>
                    </a:lnTo>
                    <a:lnTo>
                      <a:pt x="167" y="270"/>
                    </a:lnTo>
                    <a:lnTo>
                      <a:pt x="196" y="245"/>
                    </a:lnTo>
                    <a:lnTo>
                      <a:pt x="177" y="217"/>
                    </a:lnTo>
                    <a:lnTo>
                      <a:pt x="239" y="222"/>
                    </a:lnTo>
                    <a:lnTo>
                      <a:pt x="221" y="205"/>
                    </a:lnTo>
                    <a:lnTo>
                      <a:pt x="249" y="209"/>
                    </a:lnTo>
                    <a:lnTo>
                      <a:pt x="265" y="175"/>
                    </a:lnTo>
                    <a:lnTo>
                      <a:pt x="558" y="71"/>
                    </a:lnTo>
                    <a:lnTo>
                      <a:pt x="587" y="30"/>
                    </a:lnTo>
                    <a:lnTo>
                      <a:pt x="530" y="0"/>
                    </a:lnTo>
                    <a:lnTo>
                      <a:pt x="409" y="67"/>
                    </a:lnTo>
                    <a:lnTo>
                      <a:pt x="282" y="67"/>
                    </a:lnTo>
                    <a:lnTo>
                      <a:pt x="147" y="155"/>
                    </a:lnTo>
                    <a:lnTo>
                      <a:pt x="71" y="165"/>
                    </a:lnTo>
                    <a:lnTo>
                      <a:pt x="76" y="205"/>
                    </a:lnTo>
                    <a:lnTo>
                      <a:pt x="116" y="209"/>
                    </a:lnTo>
                    <a:lnTo>
                      <a:pt x="70" y="210"/>
                    </a:lnTo>
                    <a:lnTo>
                      <a:pt x="91" y="226"/>
                    </a:lnTo>
                    <a:lnTo>
                      <a:pt x="58" y="245"/>
                    </a:lnTo>
                    <a:lnTo>
                      <a:pt x="97" y="263"/>
                    </a:lnTo>
                    <a:lnTo>
                      <a:pt x="0" y="28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1" name="Freeform 400"/>
              <p:cNvSpPr/>
              <p:nvPr/>
            </p:nvSpPr>
            <p:spPr bwMode="auto">
              <a:xfrm>
                <a:off x="2427" y="1727"/>
                <a:ext cx="32" cy="19"/>
              </a:xfrm>
              <a:custGeom>
                <a:avLst/>
                <a:gdLst>
                  <a:gd name="T0" fmla="*/ 0 w 115"/>
                  <a:gd name="T1" fmla="*/ 1 h 66"/>
                  <a:gd name="T2" fmla="*/ 1 w 115"/>
                  <a:gd name="T3" fmla="*/ 1 h 66"/>
                  <a:gd name="T4" fmla="*/ 3 w 115"/>
                  <a:gd name="T5" fmla="*/ 1 h 66"/>
                  <a:gd name="T6" fmla="*/ 1 w 115"/>
                  <a:gd name="T7" fmla="*/ 0 h 66"/>
                  <a:gd name="T8" fmla="*/ 0 w 115"/>
                  <a:gd name="T9" fmla="*/ 1 h 66"/>
                  <a:gd name="T10" fmla="*/ 0 60000 65536"/>
                  <a:gd name="T11" fmla="*/ 0 60000 65536"/>
                  <a:gd name="T12" fmla="*/ 0 60000 65536"/>
                  <a:gd name="T13" fmla="*/ 0 60000 65536"/>
                  <a:gd name="T14" fmla="*/ 0 60000 65536"/>
                  <a:gd name="T15" fmla="*/ 0 w 115"/>
                  <a:gd name="T16" fmla="*/ 0 h 66"/>
                  <a:gd name="T17" fmla="*/ 115 w 115"/>
                  <a:gd name="T18" fmla="*/ 66 h 66"/>
                </a:gdLst>
                <a:ahLst/>
                <a:cxnLst>
                  <a:cxn ang="T10">
                    <a:pos x="T0" y="T1"/>
                  </a:cxn>
                  <a:cxn ang="T11">
                    <a:pos x="T2" y="T3"/>
                  </a:cxn>
                  <a:cxn ang="T12">
                    <a:pos x="T4" y="T5"/>
                  </a:cxn>
                  <a:cxn ang="T13">
                    <a:pos x="T6" y="T7"/>
                  </a:cxn>
                  <a:cxn ang="T14">
                    <a:pos x="T8" y="T9"/>
                  </a:cxn>
                </a:cxnLst>
                <a:rect l="T15" t="T16" r="T17" b="T18"/>
                <a:pathLst>
                  <a:path w="115" h="66">
                    <a:moveTo>
                      <a:pt x="0" y="47"/>
                    </a:moveTo>
                    <a:lnTo>
                      <a:pt x="32" y="66"/>
                    </a:lnTo>
                    <a:lnTo>
                      <a:pt x="115" y="43"/>
                    </a:lnTo>
                    <a:lnTo>
                      <a:pt x="66" y="0"/>
                    </a:lnTo>
                    <a:lnTo>
                      <a:pt x="0" y="4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2" name="Freeform 401"/>
              <p:cNvSpPr/>
              <p:nvPr/>
            </p:nvSpPr>
            <p:spPr bwMode="auto">
              <a:xfrm>
                <a:off x="2737" y="1765"/>
                <a:ext cx="29" cy="12"/>
              </a:xfrm>
              <a:custGeom>
                <a:avLst/>
                <a:gdLst>
                  <a:gd name="T0" fmla="*/ 0 w 103"/>
                  <a:gd name="T1" fmla="*/ 0 h 42"/>
                  <a:gd name="T2" fmla="*/ 1 w 103"/>
                  <a:gd name="T3" fmla="*/ 1 h 42"/>
                  <a:gd name="T4" fmla="*/ 1 w 103"/>
                  <a:gd name="T5" fmla="*/ 1 h 42"/>
                  <a:gd name="T6" fmla="*/ 2 w 103"/>
                  <a:gd name="T7" fmla="*/ 1 h 42"/>
                  <a:gd name="T8" fmla="*/ 2 w 103"/>
                  <a:gd name="T9" fmla="*/ 1 h 42"/>
                  <a:gd name="T10" fmla="*/ 0 w 103"/>
                  <a:gd name="T11" fmla="*/ 0 h 42"/>
                  <a:gd name="T12" fmla="*/ 0 60000 65536"/>
                  <a:gd name="T13" fmla="*/ 0 60000 65536"/>
                  <a:gd name="T14" fmla="*/ 0 60000 65536"/>
                  <a:gd name="T15" fmla="*/ 0 60000 65536"/>
                  <a:gd name="T16" fmla="*/ 0 60000 65536"/>
                  <a:gd name="T17" fmla="*/ 0 60000 65536"/>
                  <a:gd name="T18" fmla="*/ 0 w 103"/>
                  <a:gd name="T19" fmla="*/ 0 h 42"/>
                  <a:gd name="T20" fmla="*/ 103 w 103"/>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103" h="42">
                    <a:moveTo>
                      <a:pt x="0" y="0"/>
                    </a:moveTo>
                    <a:lnTo>
                      <a:pt x="46" y="34"/>
                    </a:lnTo>
                    <a:lnTo>
                      <a:pt x="31" y="42"/>
                    </a:lnTo>
                    <a:lnTo>
                      <a:pt x="70" y="41"/>
                    </a:lnTo>
                    <a:lnTo>
                      <a:pt x="103" y="20"/>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3" name="Freeform 402"/>
              <p:cNvSpPr/>
              <p:nvPr/>
            </p:nvSpPr>
            <p:spPr bwMode="auto">
              <a:xfrm>
                <a:off x="2743" y="1731"/>
                <a:ext cx="69" cy="35"/>
              </a:xfrm>
              <a:custGeom>
                <a:avLst/>
                <a:gdLst>
                  <a:gd name="T0" fmla="*/ 0 w 242"/>
                  <a:gd name="T1" fmla="*/ 2 h 123"/>
                  <a:gd name="T2" fmla="*/ 1 w 242"/>
                  <a:gd name="T3" fmla="*/ 1 h 123"/>
                  <a:gd name="T4" fmla="*/ 4 w 242"/>
                  <a:gd name="T5" fmla="*/ 0 h 123"/>
                  <a:gd name="T6" fmla="*/ 6 w 242"/>
                  <a:gd name="T7" fmla="*/ 1 h 123"/>
                  <a:gd name="T8" fmla="*/ 5 w 242"/>
                  <a:gd name="T9" fmla="*/ 2 h 123"/>
                  <a:gd name="T10" fmla="*/ 5 w 242"/>
                  <a:gd name="T11" fmla="*/ 2 h 123"/>
                  <a:gd name="T12" fmla="*/ 2 w 242"/>
                  <a:gd name="T13" fmla="*/ 3 h 123"/>
                  <a:gd name="T14" fmla="*/ 0 w 242"/>
                  <a:gd name="T15" fmla="*/ 2 h 123"/>
                  <a:gd name="T16" fmla="*/ 0 60000 65536"/>
                  <a:gd name="T17" fmla="*/ 0 60000 65536"/>
                  <a:gd name="T18" fmla="*/ 0 60000 65536"/>
                  <a:gd name="T19" fmla="*/ 0 60000 65536"/>
                  <a:gd name="T20" fmla="*/ 0 60000 65536"/>
                  <a:gd name="T21" fmla="*/ 0 60000 65536"/>
                  <a:gd name="T22" fmla="*/ 0 60000 65536"/>
                  <a:gd name="T23" fmla="*/ 0 60000 65536"/>
                  <a:gd name="T24" fmla="*/ 0 w 242"/>
                  <a:gd name="T25" fmla="*/ 0 h 123"/>
                  <a:gd name="T26" fmla="*/ 242 w 242"/>
                  <a:gd name="T27" fmla="*/ 123 h 1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2" h="123">
                    <a:moveTo>
                      <a:pt x="0" y="100"/>
                    </a:moveTo>
                    <a:lnTo>
                      <a:pt x="65" y="33"/>
                    </a:lnTo>
                    <a:lnTo>
                      <a:pt x="156" y="0"/>
                    </a:lnTo>
                    <a:lnTo>
                      <a:pt x="242" y="59"/>
                    </a:lnTo>
                    <a:lnTo>
                      <a:pt x="212" y="71"/>
                    </a:lnTo>
                    <a:lnTo>
                      <a:pt x="220" y="98"/>
                    </a:lnTo>
                    <a:lnTo>
                      <a:pt x="95" y="123"/>
                    </a:lnTo>
                    <a:lnTo>
                      <a:pt x="0" y="10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4" name="Freeform 403"/>
              <p:cNvSpPr/>
              <p:nvPr/>
            </p:nvSpPr>
            <p:spPr bwMode="auto">
              <a:xfrm>
                <a:off x="2757" y="1762"/>
                <a:ext cx="78" cy="40"/>
              </a:xfrm>
              <a:custGeom>
                <a:avLst/>
                <a:gdLst>
                  <a:gd name="T0" fmla="*/ 0 w 274"/>
                  <a:gd name="T1" fmla="*/ 1 h 142"/>
                  <a:gd name="T2" fmla="*/ 1 w 274"/>
                  <a:gd name="T3" fmla="*/ 1 h 142"/>
                  <a:gd name="T4" fmla="*/ 2 w 274"/>
                  <a:gd name="T5" fmla="*/ 3 h 142"/>
                  <a:gd name="T6" fmla="*/ 3 w 274"/>
                  <a:gd name="T7" fmla="*/ 2 h 142"/>
                  <a:gd name="T8" fmla="*/ 5 w 274"/>
                  <a:gd name="T9" fmla="*/ 3 h 142"/>
                  <a:gd name="T10" fmla="*/ 6 w 274"/>
                  <a:gd name="T11" fmla="*/ 3 h 142"/>
                  <a:gd name="T12" fmla="*/ 5 w 274"/>
                  <a:gd name="T13" fmla="*/ 2 h 142"/>
                  <a:gd name="T14" fmla="*/ 6 w 274"/>
                  <a:gd name="T15" fmla="*/ 2 h 142"/>
                  <a:gd name="T16" fmla="*/ 6 w 274"/>
                  <a:gd name="T17" fmla="*/ 1 h 142"/>
                  <a:gd name="T18" fmla="*/ 5 w 274"/>
                  <a:gd name="T19" fmla="*/ 0 h 142"/>
                  <a:gd name="T20" fmla="*/ 4 w 274"/>
                  <a:gd name="T21" fmla="*/ 1 h 142"/>
                  <a:gd name="T22" fmla="*/ 5 w 274"/>
                  <a:gd name="T23" fmla="*/ 1 h 142"/>
                  <a:gd name="T24" fmla="*/ 4 w 274"/>
                  <a:gd name="T25" fmla="*/ 0 h 142"/>
                  <a:gd name="T26" fmla="*/ 2 w 274"/>
                  <a:gd name="T27" fmla="*/ 0 h 142"/>
                  <a:gd name="T28" fmla="*/ 0 w 274"/>
                  <a:gd name="T29" fmla="*/ 1 h 1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4"/>
                  <a:gd name="T46" fmla="*/ 0 h 142"/>
                  <a:gd name="T47" fmla="*/ 274 w 274"/>
                  <a:gd name="T48" fmla="*/ 142 h 1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4" h="142">
                    <a:moveTo>
                      <a:pt x="0" y="61"/>
                    </a:moveTo>
                    <a:lnTo>
                      <a:pt x="50" y="68"/>
                    </a:lnTo>
                    <a:lnTo>
                      <a:pt x="85" y="118"/>
                    </a:lnTo>
                    <a:lnTo>
                      <a:pt x="114" y="103"/>
                    </a:lnTo>
                    <a:lnTo>
                      <a:pt x="225" y="142"/>
                    </a:lnTo>
                    <a:lnTo>
                      <a:pt x="264" y="126"/>
                    </a:lnTo>
                    <a:lnTo>
                      <a:pt x="235" y="88"/>
                    </a:lnTo>
                    <a:lnTo>
                      <a:pt x="258" y="98"/>
                    </a:lnTo>
                    <a:lnTo>
                      <a:pt x="274" y="39"/>
                    </a:lnTo>
                    <a:lnTo>
                      <a:pt x="215" y="12"/>
                    </a:lnTo>
                    <a:lnTo>
                      <a:pt x="156" y="52"/>
                    </a:lnTo>
                    <a:lnTo>
                      <a:pt x="203" y="31"/>
                    </a:lnTo>
                    <a:lnTo>
                      <a:pt x="173" y="0"/>
                    </a:lnTo>
                    <a:lnTo>
                      <a:pt x="79" y="11"/>
                    </a:lnTo>
                    <a:lnTo>
                      <a:pt x="0" y="6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5" name="Freeform 404"/>
              <p:cNvSpPr/>
              <p:nvPr/>
            </p:nvSpPr>
            <p:spPr bwMode="auto">
              <a:xfrm>
                <a:off x="2830" y="1782"/>
                <a:ext cx="65" cy="42"/>
              </a:xfrm>
              <a:custGeom>
                <a:avLst/>
                <a:gdLst>
                  <a:gd name="T0" fmla="*/ 0 w 226"/>
                  <a:gd name="T1" fmla="*/ 3 h 145"/>
                  <a:gd name="T2" fmla="*/ 0 w 226"/>
                  <a:gd name="T3" fmla="*/ 3 h 145"/>
                  <a:gd name="T4" fmla="*/ 5 w 226"/>
                  <a:gd name="T5" fmla="*/ 3 h 145"/>
                  <a:gd name="T6" fmla="*/ 5 w 226"/>
                  <a:gd name="T7" fmla="*/ 2 h 145"/>
                  <a:gd name="T8" fmla="*/ 4 w 226"/>
                  <a:gd name="T9" fmla="*/ 1 h 145"/>
                  <a:gd name="T10" fmla="*/ 3 w 226"/>
                  <a:gd name="T11" fmla="*/ 1 h 145"/>
                  <a:gd name="T12" fmla="*/ 3 w 226"/>
                  <a:gd name="T13" fmla="*/ 0 h 145"/>
                  <a:gd name="T14" fmla="*/ 3 w 226"/>
                  <a:gd name="T15" fmla="*/ 0 h 145"/>
                  <a:gd name="T16" fmla="*/ 1 w 226"/>
                  <a:gd name="T17" fmla="*/ 3 h 145"/>
                  <a:gd name="T18" fmla="*/ 0 w 226"/>
                  <a:gd name="T19" fmla="*/ 3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6"/>
                  <a:gd name="T31" fmla="*/ 0 h 145"/>
                  <a:gd name="T32" fmla="*/ 226 w 226"/>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6" h="145">
                    <a:moveTo>
                      <a:pt x="0" y="125"/>
                    </a:moveTo>
                    <a:lnTo>
                      <a:pt x="17" y="145"/>
                    </a:lnTo>
                    <a:lnTo>
                      <a:pt x="209" y="117"/>
                    </a:lnTo>
                    <a:lnTo>
                      <a:pt x="226" y="69"/>
                    </a:lnTo>
                    <a:lnTo>
                      <a:pt x="172" y="30"/>
                    </a:lnTo>
                    <a:lnTo>
                      <a:pt x="126" y="45"/>
                    </a:lnTo>
                    <a:lnTo>
                      <a:pt x="134" y="12"/>
                    </a:lnTo>
                    <a:lnTo>
                      <a:pt x="110" y="0"/>
                    </a:lnTo>
                    <a:lnTo>
                      <a:pt x="20" y="108"/>
                    </a:lnTo>
                    <a:lnTo>
                      <a:pt x="0" y="12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6" name="Freeform 405"/>
              <p:cNvSpPr/>
              <p:nvPr/>
            </p:nvSpPr>
            <p:spPr bwMode="auto">
              <a:xfrm>
                <a:off x="3233" y="1870"/>
                <a:ext cx="74" cy="40"/>
              </a:xfrm>
              <a:custGeom>
                <a:avLst/>
                <a:gdLst>
                  <a:gd name="T0" fmla="*/ 0 w 258"/>
                  <a:gd name="T1" fmla="*/ 2 h 136"/>
                  <a:gd name="T2" fmla="*/ 1 w 258"/>
                  <a:gd name="T3" fmla="*/ 0 h 136"/>
                  <a:gd name="T4" fmla="*/ 2 w 258"/>
                  <a:gd name="T5" fmla="*/ 0 h 136"/>
                  <a:gd name="T6" fmla="*/ 3 w 258"/>
                  <a:gd name="T7" fmla="*/ 1 h 136"/>
                  <a:gd name="T8" fmla="*/ 4 w 258"/>
                  <a:gd name="T9" fmla="*/ 0 h 136"/>
                  <a:gd name="T10" fmla="*/ 5 w 258"/>
                  <a:gd name="T11" fmla="*/ 1 h 136"/>
                  <a:gd name="T12" fmla="*/ 5 w 258"/>
                  <a:gd name="T13" fmla="*/ 2 h 136"/>
                  <a:gd name="T14" fmla="*/ 6 w 258"/>
                  <a:gd name="T15" fmla="*/ 3 h 136"/>
                  <a:gd name="T16" fmla="*/ 3 w 258"/>
                  <a:gd name="T17" fmla="*/ 3 h 136"/>
                  <a:gd name="T18" fmla="*/ 3 w 258"/>
                  <a:gd name="T19" fmla="*/ 3 h 136"/>
                  <a:gd name="T20" fmla="*/ 2 w 258"/>
                  <a:gd name="T21" fmla="*/ 4 h 136"/>
                  <a:gd name="T22" fmla="*/ 0 w 258"/>
                  <a:gd name="T23" fmla="*/ 2 h 1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8"/>
                  <a:gd name="T37" fmla="*/ 0 h 136"/>
                  <a:gd name="T38" fmla="*/ 258 w 258"/>
                  <a:gd name="T39" fmla="*/ 136 h 1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8" h="136">
                    <a:moveTo>
                      <a:pt x="0" y="73"/>
                    </a:moveTo>
                    <a:lnTo>
                      <a:pt x="53" y="5"/>
                    </a:lnTo>
                    <a:lnTo>
                      <a:pt x="88" y="0"/>
                    </a:lnTo>
                    <a:lnTo>
                      <a:pt x="147" y="50"/>
                    </a:lnTo>
                    <a:lnTo>
                      <a:pt x="157" y="13"/>
                    </a:lnTo>
                    <a:lnTo>
                      <a:pt x="220" y="44"/>
                    </a:lnTo>
                    <a:lnTo>
                      <a:pt x="216" y="93"/>
                    </a:lnTo>
                    <a:lnTo>
                      <a:pt x="258" y="112"/>
                    </a:lnTo>
                    <a:lnTo>
                      <a:pt x="123" y="120"/>
                    </a:lnTo>
                    <a:lnTo>
                      <a:pt x="115" y="98"/>
                    </a:lnTo>
                    <a:lnTo>
                      <a:pt x="92" y="136"/>
                    </a:lnTo>
                    <a:lnTo>
                      <a:pt x="0" y="7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7" name="Freeform 406"/>
              <p:cNvSpPr/>
              <p:nvPr/>
            </p:nvSpPr>
            <p:spPr bwMode="auto">
              <a:xfrm>
                <a:off x="3285" y="1872"/>
                <a:ext cx="45" cy="27"/>
              </a:xfrm>
              <a:custGeom>
                <a:avLst/>
                <a:gdLst>
                  <a:gd name="T0" fmla="*/ 0 w 158"/>
                  <a:gd name="T1" fmla="*/ 0 h 92"/>
                  <a:gd name="T2" fmla="*/ 1 w 158"/>
                  <a:gd name="T3" fmla="*/ 1 h 92"/>
                  <a:gd name="T4" fmla="*/ 1 w 158"/>
                  <a:gd name="T5" fmla="*/ 2 h 92"/>
                  <a:gd name="T6" fmla="*/ 1 w 158"/>
                  <a:gd name="T7" fmla="*/ 2 h 92"/>
                  <a:gd name="T8" fmla="*/ 3 w 158"/>
                  <a:gd name="T9" fmla="*/ 2 h 92"/>
                  <a:gd name="T10" fmla="*/ 4 w 158"/>
                  <a:gd name="T11" fmla="*/ 1 h 92"/>
                  <a:gd name="T12" fmla="*/ 0 w 158"/>
                  <a:gd name="T13" fmla="*/ 0 h 92"/>
                  <a:gd name="T14" fmla="*/ 0 60000 65536"/>
                  <a:gd name="T15" fmla="*/ 0 60000 65536"/>
                  <a:gd name="T16" fmla="*/ 0 60000 65536"/>
                  <a:gd name="T17" fmla="*/ 0 60000 65536"/>
                  <a:gd name="T18" fmla="*/ 0 60000 65536"/>
                  <a:gd name="T19" fmla="*/ 0 60000 65536"/>
                  <a:gd name="T20" fmla="*/ 0 60000 65536"/>
                  <a:gd name="T21" fmla="*/ 0 w 158"/>
                  <a:gd name="T22" fmla="*/ 0 h 92"/>
                  <a:gd name="T23" fmla="*/ 158 w 158"/>
                  <a:gd name="T24" fmla="*/ 92 h 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92">
                    <a:moveTo>
                      <a:pt x="0" y="0"/>
                    </a:moveTo>
                    <a:lnTo>
                      <a:pt x="50" y="33"/>
                    </a:lnTo>
                    <a:lnTo>
                      <a:pt x="39" y="65"/>
                    </a:lnTo>
                    <a:lnTo>
                      <a:pt x="64" y="92"/>
                    </a:lnTo>
                    <a:lnTo>
                      <a:pt x="110" y="92"/>
                    </a:lnTo>
                    <a:lnTo>
                      <a:pt x="158" y="57"/>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8" name="Freeform 407"/>
              <p:cNvSpPr/>
              <p:nvPr/>
            </p:nvSpPr>
            <p:spPr bwMode="auto">
              <a:xfrm>
                <a:off x="3290" y="2325"/>
                <a:ext cx="32" cy="138"/>
              </a:xfrm>
              <a:custGeom>
                <a:avLst/>
                <a:gdLst>
                  <a:gd name="T0" fmla="*/ 0 w 115"/>
                  <a:gd name="T1" fmla="*/ 3 h 483"/>
                  <a:gd name="T2" fmla="*/ 0 w 115"/>
                  <a:gd name="T3" fmla="*/ 4 h 483"/>
                  <a:gd name="T4" fmla="*/ 0 w 115"/>
                  <a:gd name="T5" fmla="*/ 11 h 483"/>
                  <a:gd name="T6" fmla="*/ 1 w 115"/>
                  <a:gd name="T7" fmla="*/ 10 h 483"/>
                  <a:gd name="T8" fmla="*/ 1 w 115"/>
                  <a:gd name="T9" fmla="*/ 11 h 483"/>
                  <a:gd name="T10" fmla="*/ 1 w 115"/>
                  <a:gd name="T11" fmla="*/ 9 h 483"/>
                  <a:gd name="T12" fmla="*/ 1 w 115"/>
                  <a:gd name="T13" fmla="*/ 7 h 483"/>
                  <a:gd name="T14" fmla="*/ 3 w 115"/>
                  <a:gd name="T15" fmla="*/ 8 h 483"/>
                  <a:gd name="T16" fmla="*/ 1 w 115"/>
                  <a:gd name="T17" fmla="*/ 4 h 483"/>
                  <a:gd name="T18" fmla="*/ 1 w 115"/>
                  <a:gd name="T19" fmla="*/ 0 h 483"/>
                  <a:gd name="T20" fmla="*/ 0 w 115"/>
                  <a:gd name="T21" fmla="*/ 3 h 4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
                  <a:gd name="T34" fmla="*/ 0 h 483"/>
                  <a:gd name="T35" fmla="*/ 115 w 115"/>
                  <a:gd name="T36" fmla="*/ 483 h 4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 h="483">
                    <a:moveTo>
                      <a:pt x="0" y="123"/>
                    </a:moveTo>
                    <a:lnTo>
                      <a:pt x="19" y="182"/>
                    </a:lnTo>
                    <a:lnTo>
                      <a:pt x="19" y="483"/>
                    </a:lnTo>
                    <a:lnTo>
                      <a:pt x="39" y="446"/>
                    </a:lnTo>
                    <a:lnTo>
                      <a:pt x="70" y="469"/>
                    </a:lnTo>
                    <a:lnTo>
                      <a:pt x="32" y="387"/>
                    </a:lnTo>
                    <a:lnTo>
                      <a:pt x="53" y="304"/>
                    </a:lnTo>
                    <a:lnTo>
                      <a:pt x="115" y="329"/>
                    </a:lnTo>
                    <a:lnTo>
                      <a:pt x="57" y="169"/>
                    </a:lnTo>
                    <a:lnTo>
                      <a:pt x="39" y="0"/>
                    </a:lnTo>
                    <a:lnTo>
                      <a:pt x="0" y="12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9" name="Freeform 408"/>
              <p:cNvSpPr/>
              <p:nvPr/>
            </p:nvSpPr>
            <p:spPr bwMode="auto">
              <a:xfrm>
                <a:off x="3339" y="1887"/>
                <a:ext cx="50" cy="20"/>
              </a:xfrm>
              <a:custGeom>
                <a:avLst/>
                <a:gdLst>
                  <a:gd name="T0" fmla="*/ 0 w 179"/>
                  <a:gd name="T1" fmla="*/ 0 h 70"/>
                  <a:gd name="T2" fmla="*/ 1 w 179"/>
                  <a:gd name="T3" fmla="*/ 1 h 70"/>
                  <a:gd name="T4" fmla="*/ 3 w 179"/>
                  <a:gd name="T5" fmla="*/ 2 h 70"/>
                  <a:gd name="T6" fmla="*/ 4 w 179"/>
                  <a:gd name="T7" fmla="*/ 1 h 70"/>
                  <a:gd name="T8" fmla="*/ 0 w 179"/>
                  <a:gd name="T9" fmla="*/ 0 h 70"/>
                  <a:gd name="T10" fmla="*/ 0 60000 65536"/>
                  <a:gd name="T11" fmla="*/ 0 60000 65536"/>
                  <a:gd name="T12" fmla="*/ 0 60000 65536"/>
                  <a:gd name="T13" fmla="*/ 0 60000 65536"/>
                  <a:gd name="T14" fmla="*/ 0 60000 65536"/>
                  <a:gd name="T15" fmla="*/ 0 w 179"/>
                  <a:gd name="T16" fmla="*/ 0 h 70"/>
                  <a:gd name="T17" fmla="*/ 179 w 179"/>
                  <a:gd name="T18" fmla="*/ 70 h 70"/>
                </a:gdLst>
                <a:ahLst/>
                <a:cxnLst>
                  <a:cxn ang="T10">
                    <a:pos x="T0" y="T1"/>
                  </a:cxn>
                  <a:cxn ang="T11">
                    <a:pos x="T2" y="T3"/>
                  </a:cxn>
                  <a:cxn ang="T12">
                    <a:pos x="T4" y="T5"/>
                  </a:cxn>
                  <a:cxn ang="T13">
                    <a:pos x="T6" y="T7"/>
                  </a:cxn>
                  <a:cxn ang="T14">
                    <a:pos x="T8" y="T9"/>
                  </a:cxn>
                </a:cxnLst>
                <a:rect l="T15" t="T16" r="T17" b="T18"/>
                <a:pathLst>
                  <a:path w="179" h="70">
                    <a:moveTo>
                      <a:pt x="0" y="0"/>
                    </a:moveTo>
                    <a:lnTo>
                      <a:pt x="31" y="47"/>
                    </a:lnTo>
                    <a:lnTo>
                      <a:pt x="112" y="70"/>
                    </a:lnTo>
                    <a:lnTo>
                      <a:pt x="179" y="55"/>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0" name="Freeform 409"/>
              <p:cNvSpPr/>
              <p:nvPr/>
            </p:nvSpPr>
            <p:spPr bwMode="auto">
              <a:xfrm>
                <a:off x="1649" y="2499"/>
                <a:ext cx="133" cy="112"/>
              </a:xfrm>
              <a:custGeom>
                <a:avLst/>
                <a:gdLst>
                  <a:gd name="T0" fmla="*/ 0 w 469"/>
                  <a:gd name="T1" fmla="*/ 1 h 392"/>
                  <a:gd name="T2" fmla="*/ 0 w 469"/>
                  <a:gd name="T3" fmla="*/ 2 h 392"/>
                  <a:gd name="T4" fmla="*/ 3 w 469"/>
                  <a:gd name="T5" fmla="*/ 3 h 392"/>
                  <a:gd name="T6" fmla="*/ 2 w 469"/>
                  <a:gd name="T7" fmla="*/ 5 h 392"/>
                  <a:gd name="T8" fmla="*/ 2 w 469"/>
                  <a:gd name="T9" fmla="*/ 8 h 392"/>
                  <a:gd name="T10" fmla="*/ 3 w 469"/>
                  <a:gd name="T11" fmla="*/ 9 h 392"/>
                  <a:gd name="T12" fmla="*/ 6 w 469"/>
                  <a:gd name="T13" fmla="*/ 8 h 392"/>
                  <a:gd name="T14" fmla="*/ 8 w 469"/>
                  <a:gd name="T15" fmla="*/ 6 h 392"/>
                  <a:gd name="T16" fmla="*/ 8 w 469"/>
                  <a:gd name="T17" fmla="*/ 5 h 392"/>
                  <a:gd name="T18" fmla="*/ 9 w 469"/>
                  <a:gd name="T19" fmla="*/ 3 h 392"/>
                  <a:gd name="T20" fmla="*/ 11 w 469"/>
                  <a:gd name="T21" fmla="*/ 2 h 392"/>
                  <a:gd name="T22" fmla="*/ 11 w 469"/>
                  <a:gd name="T23" fmla="*/ 1 h 392"/>
                  <a:gd name="T24" fmla="*/ 9 w 469"/>
                  <a:gd name="T25" fmla="*/ 1 h 392"/>
                  <a:gd name="T26" fmla="*/ 9 w 469"/>
                  <a:gd name="T27" fmla="*/ 1 h 392"/>
                  <a:gd name="T28" fmla="*/ 6 w 469"/>
                  <a:gd name="T29" fmla="*/ 0 h 392"/>
                  <a:gd name="T30" fmla="*/ 1 w 469"/>
                  <a:gd name="T31" fmla="*/ 0 h 392"/>
                  <a:gd name="T32" fmla="*/ 0 w 469"/>
                  <a:gd name="T33" fmla="*/ 1 h 39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9"/>
                  <a:gd name="T52" fmla="*/ 0 h 392"/>
                  <a:gd name="T53" fmla="*/ 469 w 469"/>
                  <a:gd name="T54" fmla="*/ 392 h 39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9" h="392">
                    <a:moveTo>
                      <a:pt x="0" y="33"/>
                    </a:moveTo>
                    <a:lnTo>
                      <a:pt x="13" y="97"/>
                    </a:lnTo>
                    <a:lnTo>
                      <a:pt x="112" y="106"/>
                    </a:lnTo>
                    <a:lnTo>
                      <a:pt x="70" y="209"/>
                    </a:lnTo>
                    <a:lnTo>
                      <a:pt x="70" y="335"/>
                    </a:lnTo>
                    <a:lnTo>
                      <a:pt x="138" y="392"/>
                    </a:lnTo>
                    <a:lnTo>
                      <a:pt x="275" y="355"/>
                    </a:lnTo>
                    <a:lnTo>
                      <a:pt x="354" y="261"/>
                    </a:lnTo>
                    <a:lnTo>
                      <a:pt x="338" y="223"/>
                    </a:lnTo>
                    <a:lnTo>
                      <a:pt x="379" y="152"/>
                    </a:lnTo>
                    <a:lnTo>
                      <a:pt x="468" y="98"/>
                    </a:lnTo>
                    <a:lnTo>
                      <a:pt x="469" y="67"/>
                    </a:lnTo>
                    <a:lnTo>
                      <a:pt x="412" y="60"/>
                    </a:lnTo>
                    <a:lnTo>
                      <a:pt x="400" y="55"/>
                    </a:lnTo>
                    <a:lnTo>
                      <a:pt x="279" y="13"/>
                    </a:lnTo>
                    <a:lnTo>
                      <a:pt x="39" y="0"/>
                    </a:lnTo>
                    <a:lnTo>
                      <a:pt x="0" y="3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1" name="Freeform 410"/>
              <p:cNvSpPr/>
              <p:nvPr/>
            </p:nvSpPr>
            <p:spPr bwMode="auto">
              <a:xfrm>
                <a:off x="1864" y="1765"/>
                <a:ext cx="115" cy="95"/>
              </a:xfrm>
              <a:custGeom>
                <a:avLst/>
                <a:gdLst>
                  <a:gd name="T0" fmla="*/ 0 w 404"/>
                  <a:gd name="T1" fmla="*/ 1 h 334"/>
                  <a:gd name="T2" fmla="*/ 0 w 404"/>
                  <a:gd name="T3" fmla="*/ 2 h 334"/>
                  <a:gd name="T4" fmla="*/ 1 w 404"/>
                  <a:gd name="T5" fmla="*/ 2 h 334"/>
                  <a:gd name="T6" fmla="*/ 1 w 404"/>
                  <a:gd name="T7" fmla="*/ 2 h 334"/>
                  <a:gd name="T8" fmla="*/ 1 w 404"/>
                  <a:gd name="T9" fmla="*/ 3 h 334"/>
                  <a:gd name="T10" fmla="*/ 0 w 404"/>
                  <a:gd name="T11" fmla="*/ 3 h 334"/>
                  <a:gd name="T12" fmla="*/ 2 w 404"/>
                  <a:gd name="T13" fmla="*/ 3 h 334"/>
                  <a:gd name="T14" fmla="*/ 1 w 404"/>
                  <a:gd name="T15" fmla="*/ 4 h 334"/>
                  <a:gd name="T16" fmla="*/ 2 w 404"/>
                  <a:gd name="T17" fmla="*/ 4 h 334"/>
                  <a:gd name="T18" fmla="*/ 3 w 404"/>
                  <a:gd name="T19" fmla="*/ 4 h 334"/>
                  <a:gd name="T20" fmla="*/ 3 w 404"/>
                  <a:gd name="T21" fmla="*/ 3 h 334"/>
                  <a:gd name="T22" fmla="*/ 4 w 404"/>
                  <a:gd name="T23" fmla="*/ 3 h 334"/>
                  <a:gd name="T24" fmla="*/ 4 w 404"/>
                  <a:gd name="T25" fmla="*/ 4 h 334"/>
                  <a:gd name="T26" fmla="*/ 5 w 404"/>
                  <a:gd name="T27" fmla="*/ 3 h 334"/>
                  <a:gd name="T28" fmla="*/ 5 w 404"/>
                  <a:gd name="T29" fmla="*/ 4 h 334"/>
                  <a:gd name="T30" fmla="*/ 6 w 404"/>
                  <a:gd name="T31" fmla="*/ 4 h 334"/>
                  <a:gd name="T32" fmla="*/ 3 w 404"/>
                  <a:gd name="T33" fmla="*/ 5 h 334"/>
                  <a:gd name="T34" fmla="*/ 3 w 404"/>
                  <a:gd name="T35" fmla="*/ 5 h 334"/>
                  <a:gd name="T36" fmla="*/ 5 w 404"/>
                  <a:gd name="T37" fmla="*/ 5 h 334"/>
                  <a:gd name="T38" fmla="*/ 4 w 404"/>
                  <a:gd name="T39" fmla="*/ 5 h 334"/>
                  <a:gd name="T40" fmla="*/ 5 w 404"/>
                  <a:gd name="T41" fmla="*/ 6 h 334"/>
                  <a:gd name="T42" fmla="*/ 3 w 404"/>
                  <a:gd name="T43" fmla="*/ 6 h 334"/>
                  <a:gd name="T44" fmla="*/ 5 w 404"/>
                  <a:gd name="T45" fmla="*/ 8 h 334"/>
                  <a:gd name="T46" fmla="*/ 7 w 404"/>
                  <a:gd name="T47" fmla="*/ 4 h 334"/>
                  <a:gd name="T48" fmla="*/ 9 w 404"/>
                  <a:gd name="T49" fmla="*/ 3 h 334"/>
                  <a:gd name="T50" fmla="*/ 7 w 404"/>
                  <a:gd name="T51" fmla="*/ 2 h 334"/>
                  <a:gd name="T52" fmla="*/ 7 w 404"/>
                  <a:gd name="T53" fmla="*/ 1 h 334"/>
                  <a:gd name="T54" fmla="*/ 6 w 404"/>
                  <a:gd name="T55" fmla="*/ 2 h 334"/>
                  <a:gd name="T56" fmla="*/ 6 w 404"/>
                  <a:gd name="T57" fmla="*/ 1 h 334"/>
                  <a:gd name="T58" fmla="*/ 5 w 404"/>
                  <a:gd name="T59" fmla="*/ 0 h 334"/>
                  <a:gd name="T60" fmla="*/ 4 w 404"/>
                  <a:gd name="T61" fmla="*/ 1 h 334"/>
                  <a:gd name="T62" fmla="*/ 5 w 404"/>
                  <a:gd name="T63" fmla="*/ 3 h 334"/>
                  <a:gd name="T64" fmla="*/ 3 w 404"/>
                  <a:gd name="T65" fmla="*/ 1 h 334"/>
                  <a:gd name="T66" fmla="*/ 3 w 404"/>
                  <a:gd name="T67" fmla="*/ 1 h 334"/>
                  <a:gd name="T68" fmla="*/ 3 w 404"/>
                  <a:gd name="T69" fmla="*/ 2 h 334"/>
                  <a:gd name="T70" fmla="*/ 1 w 404"/>
                  <a:gd name="T71" fmla="*/ 1 h 334"/>
                  <a:gd name="T72" fmla="*/ 3 w 404"/>
                  <a:gd name="T73" fmla="*/ 1 h 334"/>
                  <a:gd name="T74" fmla="*/ 0 w 404"/>
                  <a:gd name="T75" fmla="*/ 1 h 3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4"/>
                  <a:gd name="T115" fmla="*/ 0 h 334"/>
                  <a:gd name="T116" fmla="*/ 404 w 404"/>
                  <a:gd name="T117" fmla="*/ 334 h 3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4" h="334">
                    <a:moveTo>
                      <a:pt x="0" y="41"/>
                    </a:moveTo>
                    <a:lnTo>
                      <a:pt x="2" y="81"/>
                    </a:lnTo>
                    <a:lnTo>
                      <a:pt x="43" y="81"/>
                    </a:lnTo>
                    <a:lnTo>
                      <a:pt x="30" y="100"/>
                    </a:lnTo>
                    <a:lnTo>
                      <a:pt x="64" y="115"/>
                    </a:lnTo>
                    <a:lnTo>
                      <a:pt x="19" y="112"/>
                    </a:lnTo>
                    <a:lnTo>
                      <a:pt x="94" y="147"/>
                    </a:lnTo>
                    <a:lnTo>
                      <a:pt x="66" y="160"/>
                    </a:lnTo>
                    <a:lnTo>
                      <a:pt x="86" y="187"/>
                    </a:lnTo>
                    <a:lnTo>
                      <a:pt x="151" y="170"/>
                    </a:lnTo>
                    <a:lnTo>
                      <a:pt x="150" y="135"/>
                    </a:lnTo>
                    <a:lnTo>
                      <a:pt x="176" y="123"/>
                    </a:lnTo>
                    <a:lnTo>
                      <a:pt x="182" y="162"/>
                    </a:lnTo>
                    <a:lnTo>
                      <a:pt x="224" y="135"/>
                    </a:lnTo>
                    <a:lnTo>
                      <a:pt x="215" y="162"/>
                    </a:lnTo>
                    <a:lnTo>
                      <a:pt x="250" y="164"/>
                    </a:lnTo>
                    <a:lnTo>
                      <a:pt x="113" y="203"/>
                    </a:lnTo>
                    <a:lnTo>
                      <a:pt x="118" y="230"/>
                    </a:lnTo>
                    <a:lnTo>
                      <a:pt x="235" y="211"/>
                    </a:lnTo>
                    <a:lnTo>
                      <a:pt x="157" y="237"/>
                    </a:lnTo>
                    <a:lnTo>
                      <a:pt x="201" y="252"/>
                    </a:lnTo>
                    <a:lnTo>
                      <a:pt x="120" y="265"/>
                    </a:lnTo>
                    <a:lnTo>
                      <a:pt x="238" y="334"/>
                    </a:lnTo>
                    <a:lnTo>
                      <a:pt x="314" y="162"/>
                    </a:lnTo>
                    <a:lnTo>
                      <a:pt x="404" y="122"/>
                    </a:lnTo>
                    <a:lnTo>
                      <a:pt x="306" y="92"/>
                    </a:lnTo>
                    <a:lnTo>
                      <a:pt x="291" y="47"/>
                    </a:lnTo>
                    <a:lnTo>
                      <a:pt x="261" y="73"/>
                    </a:lnTo>
                    <a:lnTo>
                      <a:pt x="276" y="34"/>
                    </a:lnTo>
                    <a:lnTo>
                      <a:pt x="208" y="0"/>
                    </a:lnTo>
                    <a:lnTo>
                      <a:pt x="185" y="34"/>
                    </a:lnTo>
                    <a:lnTo>
                      <a:pt x="216" y="115"/>
                    </a:lnTo>
                    <a:lnTo>
                      <a:pt x="143" y="30"/>
                    </a:lnTo>
                    <a:lnTo>
                      <a:pt x="118" y="47"/>
                    </a:lnTo>
                    <a:lnTo>
                      <a:pt x="134" y="89"/>
                    </a:lnTo>
                    <a:lnTo>
                      <a:pt x="62" y="51"/>
                    </a:lnTo>
                    <a:lnTo>
                      <a:pt x="113" y="27"/>
                    </a:lnTo>
                    <a:lnTo>
                      <a:pt x="0" y="4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2" name="Freeform 411"/>
              <p:cNvSpPr/>
              <p:nvPr/>
            </p:nvSpPr>
            <p:spPr bwMode="auto">
              <a:xfrm>
                <a:off x="1938" y="1752"/>
                <a:ext cx="104" cy="40"/>
              </a:xfrm>
              <a:custGeom>
                <a:avLst/>
                <a:gdLst>
                  <a:gd name="T0" fmla="*/ 0 w 365"/>
                  <a:gd name="T1" fmla="*/ 1 h 141"/>
                  <a:gd name="T2" fmla="*/ 1 w 365"/>
                  <a:gd name="T3" fmla="*/ 1 h 141"/>
                  <a:gd name="T4" fmla="*/ 0 w 365"/>
                  <a:gd name="T5" fmla="*/ 1 h 141"/>
                  <a:gd name="T6" fmla="*/ 1 w 365"/>
                  <a:gd name="T7" fmla="*/ 2 h 141"/>
                  <a:gd name="T8" fmla="*/ 4 w 365"/>
                  <a:gd name="T9" fmla="*/ 2 h 141"/>
                  <a:gd name="T10" fmla="*/ 2 w 365"/>
                  <a:gd name="T11" fmla="*/ 2 h 141"/>
                  <a:gd name="T12" fmla="*/ 5 w 365"/>
                  <a:gd name="T13" fmla="*/ 3 h 141"/>
                  <a:gd name="T14" fmla="*/ 7 w 365"/>
                  <a:gd name="T15" fmla="*/ 3 h 141"/>
                  <a:gd name="T16" fmla="*/ 9 w 365"/>
                  <a:gd name="T17" fmla="*/ 1 h 141"/>
                  <a:gd name="T18" fmla="*/ 8 w 365"/>
                  <a:gd name="T19" fmla="*/ 1 h 141"/>
                  <a:gd name="T20" fmla="*/ 6 w 365"/>
                  <a:gd name="T21" fmla="*/ 1 h 141"/>
                  <a:gd name="T22" fmla="*/ 7 w 365"/>
                  <a:gd name="T23" fmla="*/ 0 h 141"/>
                  <a:gd name="T24" fmla="*/ 5 w 365"/>
                  <a:gd name="T25" fmla="*/ 1 h 141"/>
                  <a:gd name="T26" fmla="*/ 5 w 365"/>
                  <a:gd name="T27" fmla="*/ 0 h 141"/>
                  <a:gd name="T28" fmla="*/ 4 w 365"/>
                  <a:gd name="T29" fmla="*/ 1 h 141"/>
                  <a:gd name="T30" fmla="*/ 2 w 365"/>
                  <a:gd name="T31" fmla="*/ 0 h 141"/>
                  <a:gd name="T32" fmla="*/ 2 w 365"/>
                  <a:gd name="T33" fmla="*/ 1 h 141"/>
                  <a:gd name="T34" fmla="*/ 1 w 365"/>
                  <a:gd name="T35" fmla="*/ 0 h 141"/>
                  <a:gd name="T36" fmla="*/ 2 w 365"/>
                  <a:gd name="T37" fmla="*/ 1 h 141"/>
                  <a:gd name="T38" fmla="*/ 0 w 365"/>
                  <a:gd name="T39" fmla="*/ 1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5"/>
                  <a:gd name="T61" fmla="*/ 0 h 141"/>
                  <a:gd name="T62" fmla="*/ 365 w 365"/>
                  <a:gd name="T63" fmla="*/ 141 h 1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5" h="141">
                    <a:moveTo>
                      <a:pt x="0" y="38"/>
                    </a:moveTo>
                    <a:lnTo>
                      <a:pt x="53" y="49"/>
                    </a:lnTo>
                    <a:lnTo>
                      <a:pt x="19" y="66"/>
                    </a:lnTo>
                    <a:lnTo>
                      <a:pt x="33" y="76"/>
                    </a:lnTo>
                    <a:lnTo>
                      <a:pt x="168" y="74"/>
                    </a:lnTo>
                    <a:lnTo>
                      <a:pt x="83" y="96"/>
                    </a:lnTo>
                    <a:lnTo>
                      <a:pt x="219" y="141"/>
                    </a:lnTo>
                    <a:lnTo>
                      <a:pt x="309" y="115"/>
                    </a:lnTo>
                    <a:lnTo>
                      <a:pt x="365" y="66"/>
                    </a:lnTo>
                    <a:lnTo>
                      <a:pt x="351" y="43"/>
                    </a:lnTo>
                    <a:lnTo>
                      <a:pt x="265" y="45"/>
                    </a:lnTo>
                    <a:lnTo>
                      <a:pt x="277" y="19"/>
                    </a:lnTo>
                    <a:lnTo>
                      <a:pt x="209" y="45"/>
                    </a:lnTo>
                    <a:lnTo>
                      <a:pt x="198" y="0"/>
                    </a:lnTo>
                    <a:lnTo>
                      <a:pt x="182" y="57"/>
                    </a:lnTo>
                    <a:lnTo>
                      <a:pt x="83" y="0"/>
                    </a:lnTo>
                    <a:lnTo>
                      <a:pt x="85" y="35"/>
                    </a:lnTo>
                    <a:lnTo>
                      <a:pt x="57" y="19"/>
                    </a:lnTo>
                    <a:lnTo>
                      <a:pt x="69" y="51"/>
                    </a:lnTo>
                    <a:lnTo>
                      <a:pt x="0" y="3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3" name="Freeform 412"/>
              <p:cNvSpPr/>
              <p:nvPr/>
            </p:nvSpPr>
            <p:spPr bwMode="auto">
              <a:xfrm>
                <a:off x="1974" y="1817"/>
                <a:ext cx="44" cy="26"/>
              </a:xfrm>
              <a:custGeom>
                <a:avLst/>
                <a:gdLst>
                  <a:gd name="T0" fmla="*/ 0 w 157"/>
                  <a:gd name="T1" fmla="*/ 2 h 92"/>
                  <a:gd name="T2" fmla="*/ 0 w 157"/>
                  <a:gd name="T3" fmla="*/ 1 h 92"/>
                  <a:gd name="T4" fmla="*/ 2 w 157"/>
                  <a:gd name="T5" fmla="*/ 0 h 92"/>
                  <a:gd name="T6" fmla="*/ 2 w 157"/>
                  <a:gd name="T7" fmla="*/ 1 h 92"/>
                  <a:gd name="T8" fmla="*/ 3 w 157"/>
                  <a:gd name="T9" fmla="*/ 1 h 92"/>
                  <a:gd name="T10" fmla="*/ 1 w 157"/>
                  <a:gd name="T11" fmla="*/ 2 h 92"/>
                  <a:gd name="T12" fmla="*/ 2 w 157"/>
                  <a:gd name="T13" fmla="*/ 1 h 92"/>
                  <a:gd name="T14" fmla="*/ 0 w 157"/>
                  <a:gd name="T15" fmla="*/ 2 h 92"/>
                  <a:gd name="T16" fmla="*/ 0 60000 65536"/>
                  <a:gd name="T17" fmla="*/ 0 60000 65536"/>
                  <a:gd name="T18" fmla="*/ 0 60000 65536"/>
                  <a:gd name="T19" fmla="*/ 0 60000 65536"/>
                  <a:gd name="T20" fmla="*/ 0 60000 65536"/>
                  <a:gd name="T21" fmla="*/ 0 60000 65536"/>
                  <a:gd name="T22" fmla="*/ 0 60000 65536"/>
                  <a:gd name="T23" fmla="*/ 0 60000 65536"/>
                  <a:gd name="T24" fmla="*/ 0 w 157"/>
                  <a:gd name="T25" fmla="*/ 0 h 92"/>
                  <a:gd name="T26" fmla="*/ 157 w 157"/>
                  <a:gd name="T27" fmla="*/ 92 h 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7" h="92">
                    <a:moveTo>
                      <a:pt x="0" y="73"/>
                    </a:moveTo>
                    <a:lnTo>
                      <a:pt x="14" y="26"/>
                    </a:lnTo>
                    <a:lnTo>
                      <a:pt x="78" y="0"/>
                    </a:lnTo>
                    <a:lnTo>
                      <a:pt x="88" y="26"/>
                    </a:lnTo>
                    <a:lnTo>
                      <a:pt x="157" y="48"/>
                    </a:lnTo>
                    <a:lnTo>
                      <a:pt x="62" y="92"/>
                    </a:lnTo>
                    <a:lnTo>
                      <a:pt x="78" y="68"/>
                    </a:lnTo>
                    <a:lnTo>
                      <a:pt x="0" y="7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4" name="Freeform 413"/>
              <p:cNvSpPr/>
              <p:nvPr/>
            </p:nvSpPr>
            <p:spPr bwMode="auto">
              <a:xfrm>
                <a:off x="1869" y="2041"/>
                <a:ext cx="140" cy="266"/>
              </a:xfrm>
              <a:custGeom>
                <a:avLst/>
                <a:gdLst>
                  <a:gd name="T0" fmla="*/ 0 w 492"/>
                  <a:gd name="T1" fmla="*/ 16 h 935"/>
                  <a:gd name="T2" fmla="*/ 0 w 492"/>
                  <a:gd name="T3" fmla="*/ 18 h 935"/>
                  <a:gd name="T4" fmla="*/ 1 w 492"/>
                  <a:gd name="T5" fmla="*/ 20 h 935"/>
                  <a:gd name="T6" fmla="*/ 1 w 492"/>
                  <a:gd name="T7" fmla="*/ 22 h 935"/>
                  <a:gd name="T8" fmla="*/ 4 w 492"/>
                  <a:gd name="T9" fmla="*/ 20 h 935"/>
                  <a:gd name="T10" fmla="*/ 5 w 492"/>
                  <a:gd name="T11" fmla="*/ 17 h 935"/>
                  <a:gd name="T12" fmla="*/ 4 w 492"/>
                  <a:gd name="T13" fmla="*/ 17 h 935"/>
                  <a:gd name="T14" fmla="*/ 6 w 492"/>
                  <a:gd name="T15" fmla="*/ 16 h 935"/>
                  <a:gd name="T16" fmla="*/ 4 w 492"/>
                  <a:gd name="T17" fmla="*/ 16 h 935"/>
                  <a:gd name="T18" fmla="*/ 6 w 492"/>
                  <a:gd name="T19" fmla="*/ 16 h 935"/>
                  <a:gd name="T20" fmla="*/ 7 w 492"/>
                  <a:gd name="T21" fmla="*/ 15 h 935"/>
                  <a:gd name="T22" fmla="*/ 5 w 492"/>
                  <a:gd name="T23" fmla="*/ 14 h 935"/>
                  <a:gd name="T24" fmla="*/ 4 w 492"/>
                  <a:gd name="T25" fmla="*/ 15 h 935"/>
                  <a:gd name="T26" fmla="*/ 5 w 492"/>
                  <a:gd name="T27" fmla="*/ 14 h 935"/>
                  <a:gd name="T28" fmla="*/ 5 w 492"/>
                  <a:gd name="T29" fmla="*/ 11 h 935"/>
                  <a:gd name="T30" fmla="*/ 9 w 492"/>
                  <a:gd name="T31" fmla="*/ 8 h 935"/>
                  <a:gd name="T32" fmla="*/ 9 w 492"/>
                  <a:gd name="T33" fmla="*/ 7 h 935"/>
                  <a:gd name="T34" fmla="*/ 9 w 492"/>
                  <a:gd name="T35" fmla="*/ 6 h 935"/>
                  <a:gd name="T36" fmla="*/ 11 w 492"/>
                  <a:gd name="T37" fmla="*/ 5 h 935"/>
                  <a:gd name="T38" fmla="*/ 11 w 492"/>
                  <a:gd name="T39" fmla="*/ 2 h 935"/>
                  <a:gd name="T40" fmla="*/ 8 w 492"/>
                  <a:gd name="T41" fmla="*/ 0 h 935"/>
                  <a:gd name="T42" fmla="*/ 8 w 492"/>
                  <a:gd name="T43" fmla="*/ 0 h 935"/>
                  <a:gd name="T44" fmla="*/ 8 w 492"/>
                  <a:gd name="T45" fmla="*/ 1 h 935"/>
                  <a:gd name="T46" fmla="*/ 6 w 492"/>
                  <a:gd name="T47" fmla="*/ 1 h 935"/>
                  <a:gd name="T48" fmla="*/ 6 w 492"/>
                  <a:gd name="T49" fmla="*/ 2 h 935"/>
                  <a:gd name="T50" fmla="*/ 5 w 492"/>
                  <a:gd name="T51" fmla="*/ 2 h 935"/>
                  <a:gd name="T52" fmla="*/ 5 w 492"/>
                  <a:gd name="T53" fmla="*/ 3 h 935"/>
                  <a:gd name="T54" fmla="*/ 3 w 492"/>
                  <a:gd name="T55" fmla="*/ 5 h 935"/>
                  <a:gd name="T56" fmla="*/ 2 w 492"/>
                  <a:gd name="T57" fmla="*/ 7 h 935"/>
                  <a:gd name="T58" fmla="*/ 3 w 492"/>
                  <a:gd name="T59" fmla="*/ 9 h 935"/>
                  <a:gd name="T60" fmla="*/ 1 w 492"/>
                  <a:gd name="T61" fmla="*/ 9 h 935"/>
                  <a:gd name="T62" fmla="*/ 1 w 492"/>
                  <a:gd name="T63" fmla="*/ 12 h 935"/>
                  <a:gd name="T64" fmla="*/ 1 w 492"/>
                  <a:gd name="T65" fmla="*/ 13 h 935"/>
                  <a:gd name="T66" fmla="*/ 1 w 492"/>
                  <a:gd name="T67" fmla="*/ 13 h 935"/>
                  <a:gd name="T68" fmla="*/ 1 w 492"/>
                  <a:gd name="T69" fmla="*/ 15 h 935"/>
                  <a:gd name="T70" fmla="*/ 0 w 492"/>
                  <a:gd name="T71" fmla="*/ 16 h 9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92"/>
                  <a:gd name="T109" fmla="*/ 0 h 935"/>
                  <a:gd name="T110" fmla="*/ 492 w 492"/>
                  <a:gd name="T111" fmla="*/ 935 h 9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92" h="935">
                    <a:moveTo>
                      <a:pt x="0" y="704"/>
                    </a:moveTo>
                    <a:lnTo>
                      <a:pt x="19" y="810"/>
                    </a:lnTo>
                    <a:lnTo>
                      <a:pt x="63" y="862"/>
                    </a:lnTo>
                    <a:lnTo>
                      <a:pt x="59" y="935"/>
                    </a:lnTo>
                    <a:lnTo>
                      <a:pt x="179" y="885"/>
                    </a:lnTo>
                    <a:lnTo>
                      <a:pt x="209" y="739"/>
                    </a:lnTo>
                    <a:lnTo>
                      <a:pt x="187" y="732"/>
                    </a:lnTo>
                    <a:lnTo>
                      <a:pt x="275" y="686"/>
                    </a:lnTo>
                    <a:lnTo>
                      <a:pt x="191" y="675"/>
                    </a:lnTo>
                    <a:lnTo>
                      <a:pt x="253" y="686"/>
                    </a:lnTo>
                    <a:lnTo>
                      <a:pt x="290" y="648"/>
                    </a:lnTo>
                    <a:lnTo>
                      <a:pt x="237" y="599"/>
                    </a:lnTo>
                    <a:lnTo>
                      <a:pt x="189" y="633"/>
                    </a:lnTo>
                    <a:lnTo>
                      <a:pt x="227" y="604"/>
                    </a:lnTo>
                    <a:lnTo>
                      <a:pt x="228" y="470"/>
                    </a:lnTo>
                    <a:lnTo>
                      <a:pt x="395" y="341"/>
                    </a:lnTo>
                    <a:lnTo>
                      <a:pt x="383" y="314"/>
                    </a:lnTo>
                    <a:lnTo>
                      <a:pt x="410" y="249"/>
                    </a:lnTo>
                    <a:lnTo>
                      <a:pt x="492" y="230"/>
                    </a:lnTo>
                    <a:lnTo>
                      <a:pt x="470" y="79"/>
                    </a:lnTo>
                    <a:lnTo>
                      <a:pt x="358" y="0"/>
                    </a:lnTo>
                    <a:lnTo>
                      <a:pt x="339" y="0"/>
                    </a:lnTo>
                    <a:lnTo>
                      <a:pt x="338" y="48"/>
                    </a:lnTo>
                    <a:lnTo>
                      <a:pt x="270" y="39"/>
                    </a:lnTo>
                    <a:lnTo>
                      <a:pt x="253" y="79"/>
                    </a:lnTo>
                    <a:lnTo>
                      <a:pt x="208" y="90"/>
                    </a:lnTo>
                    <a:lnTo>
                      <a:pt x="196" y="150"/>
                    </a:lnTo>
                    <a:lnTo>
                      <a:pt x="129" y="222"/>
                    </a:lnTo>
                    <a:lnTo>
                      <a:pt x="97" y="324"/>
                    </a:lnTo>
                    <a:lnTo>
                      <a:pt x="109" y="364"/>
                    </a:lnTo>
                    <a:lnTo>
                      <a:pt x="42" y="394"/>
                    </a:lnTo>
                    <a:lnTo>
                      <a:pt x="35" y="526"/>
                    </a:lnTo>
                    <a:lnTo>
                      <a:pt x="57" y="553"/>
                    </a:lnTo>
                    <a:lnTo>
                      <a:pt x="35" y="578"/>
                    </a:lnTo>
                    <a:lnTo>
                      <a:pt x="46" y="636"/>
                    </a:lnTo>
                    <a:lnTo>
                      <a:pt x="0" y="70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5" name="Freeform 414"/>
              <p:cNvSpPr/>
              <p:nvPr/>
            </p:nvSpPr>
            <p:spPr bwMode="auto">
              <a:xfrm>
                <a:off x="1812" y="2436"/>
                <a:ext cx="48" cy="28"/>
              </a:xfrm>
              <a:custGeom>
                <a:avLst/>
                <a:gdLst>
                  <a:gd name="T0" fmla="*/ 0 w 169"/>
                  <a:gd name="T1" fmla="*/ 1 h 98"/>
                  <a:gd name="T2" fmla="*/ 1 w 169"/>
                  <a:gd name="T3" fmla="*/ 2 h 98"/>
                  <a:gd name="T4" fmla="*/ 2 w 169"/>
                  <a:gd name="T5" fmla="*/ 2 h 98"/>
                  <a:gd name="T6" fmla="*/ 3 w 169"/>
                  <a:gd name="T7" fmla="*/ 2 h 98"/>
                  <a:gd name="T8" fmla="*/ 4 w 169"/>
                  <a:gd name="T9" fmla="*/ 1 h 98"/>
                  <a:gd name="T10" fmla="*/ 3 w 169"/>
                  <a:gd name="T11" fmla="*/ 1 h 98"/>
                  <a:gd name="T12" fmla="*/ 3 w 169"/>
                  <a:gd name="T13" fmla="*/ 0 h 98"/>
                  <a:gd name="T14" fmla="*/ 3 w 169"/>
                  <a:gd name="T15" fmla="*/ 0 h 98"/>
                  <a:gd name="T16" fmla="*/ 1 w 169"/>
                  <a:gd name="T17" fmla="*/ 0 h 98"/>
                  <a:gd name="T18" fmla="*/ 0 w 169"/>
                  <a:gd name="T19" fmla="*/ 1 h 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98"/>
                  <a:gd name="T32" fmla="*/ 169 w 169"/>
                  <a:gd name="T33" fmla="*/ 98 h 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98">
                    <a:moveTo>
                      <a:pt x="0" y="66"/>
                    </a:moveTo>
                    <a:lnTo>
                      <a:pt x="39" y="98"/>
                    </a:lnTo>
                    <a:lnTo>
                      <a:pt x="92" y="70"/>
                    </a:lnTo>
                    <a:lnTo>
                      <a:pt x="115" y="96"/>
                    </a:lnTo>
                    <a:lnTo>
                      <a:pt x="169" y="44"/>
                    </a:lnTo>
                    <a:lnTo>
                      <a:pt x="136" y="38"/>
                    </a:lnTo>
                    <a:lnTo>
                      <a:pt x="135" y="16"/>
                    </a:lnTo>
                    <a:lnTo>
                      <a:pt x="128" y="9"/>
                    </a:lnTo>
                    <a:lnTo>
                      <a:pt x="54" y="0"/>
                    </a:lnTo>
                    <a:lnTo>
                      <a:pt x="0" y="6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6" name="Freeform 415"/>
              <p:cNvSpPr/>
              <p:nvPr/>
            </p:nvSpPr>
            <p:spPr bwMode="auto">
              <a:xfrm>
                <a:off x="2133" y="2595"/>
                <a:ext cx="78" cy="69"/>
              </a:xfrm>
              <a:custGeom>
                <a:avLst/>
                <a:gdLst>
                  <a:gd name="T0" fmla="*/ 0 w 273"/>
                  <a:gd name="T1" fmla="*/ 5 h 244"/>
                  <a:gd name="T2" fmla="*/ 0 w 273"/>
                  <a:gd name="T3" fmla="*/ 5 h 244"/>
                  <a:gd name="T4" fmla="*/ 1 w 273"/>
                  <a:gd name="T5" fmla="*/ 3 h 244"/>
                  <a:gd name="T6" fmla="*/ 1 w 273"/>
                  <a:gd name="T7" fmla="*/ 3 h 244"/>
                  <a:gd name="T8" fmla="*/ 1 w 273"/>
                  <a:gd name="T9" fmla="*/ 1 h 244"/>
                  <a:gd name="T10" fmla="*/ 1 w 273"/>
                  <a:gd name="T11" fmla="*/ 0 h 244"/>
                  <a:gd name="T12" fmla="*/ 6 w 273"/>
                  <a:gd name="T13" fmla="*/ 0 h 244"/>
                  <a:gd name="T14" fmla="*/ 5 w 273"/>
                  <a:gd name="T15" fmla="*/ 1 h 244"/>
                  <a:gd name="T16" fmla="*/ 5 w 273"/>
                  <a:gd name="T17" fmla="*/ 3 h 244"/>
                  <a:gd name="T18" fmla="*/ 3 w 273"/>
                  <a:gd name="T19" fmla="*/ 4 h 244"/>
                  <a:gd name="T20" fmla="*/ 1 w 273"/>
                  <a:gd name="T21" fmla="*/ 6 h 244"/>
                  <a:gd name="T22" fmla="*/ 0 w 273"/>
                  <a:gd name="T23" fmla="*/ 5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3"/>
                  <a:gd name="T37" fmla="*/ 0 h 244"/>
                  <a:gd name="T38" fmla="*/ 273 w 273"/>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3" h="244">
                    <a:moveTo>
                      <a:pt x="0" y="225"/>
                    </a:moveTo>
                    <a:lnTo>
                      <a:pt x="5" y="199"/>
                    </a:lnTo>
                    <a:lnTo>
                      <a:pt x="43" y="147"/>
                    </a:lnTo>
                    <a:lnTo>
                      <a:pt x="22" y="126"/>
                    </a:lnTo>
                    <a:lnTo>
                      <a:pt x="21" y="64"/>
                    </a:lnTo>
                    <a:lnTo>
                      <a:pt x="43" y="12"/>
                    </a:lnTo>
                    <a:lnTo>
                      <a:pt x="273" y="0"/>
                    </a:lnTo>
                    <a:lnTo>
                      <a:pt x="231" y="37"/>
                    </a:lnTo>
                    <a:lnTo>
                      <a:pt x="215" y="135"/>
                    </a:lnTo>
                    <a:lnTo>
                      <a:pt x="122" y="191"/>
                    </a:lnTo>
                    <a:lnTo>
                      <a:pt x="38" y="244"/>
                    </a:lnTo>
                    <a:lnTo>
                      <a:pt x="0" y="22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7" name="Freeform 416"/>
              <p:cNvSpPr/>
              <p:nvPr/>
            </p:nvSpPr>
            <p:spPr bwMode="auto">
              <a:xfrm>
                <a:off x="2808" y="2820"/>
                <a:ext cx="87" cy="193"/>
              </a:xfrm>
              <a:custGeom>
                <a:avLst/>
                <a:gdLst>
                  <a:gd name="T0" fmla="*/ 0 w 303"/>
                  <a:gd name="T1" fmla="*/ 3 h 678"/>
                  <a:gd name="T2" fmla="*/ 1 w 303"/>
                  <a:gd name="T3" fmla="*/ 1 h 678"/>
                  <a:gd name="T4" fmla="*/ 3 w 303"/>
                  <a:gd name="T5" fmla="*/ 0 h 678"/>
                  <a:gd name="T6" fmla="*/ 3 w 303"/>
                  <a:gd name="T7" fmla="*/ 1 h 678"/>
                  <a:gd name="T8" fmla="*/ 3 w 303"/>
                  <a:gd name="T9" fmla="*/ 3 h 678"/>
                  <a:gd name="T10" fmla="*/ 5 w 303"/>
                  <a:gd name="T11" fmla="*/ 3 h 678"/>
                  <a:gd name="T12" fmla="*/ 6 w 303"/>
                  <a:gd name="T13" fmla="*/ 3 h 678"/>
                  <a:gd name="T14" fmla="*/ 7 w 303"/>
                  <a:gd name="T15" fmla="*/ 5 h 678"/>
                  <a:gd name="T16" fmla="*/ 7 w 303"/>
                  <a:gd name="T17" fmla="*/ 7 h 678"/>
                  <a:gd name="T18" fmla="*/ 5 w 303"/>
                  <a:gd name="T19" fmla="*/ 7 h 678"/>
                  <a:gd name="T20" fmla="*/ 5 w 303"/>
                  <a:gd name="T21" fmla="*/ 7 h 678"/>
                  <a:gd name="T22" fmla="*/ 5 w 303"/>
                  <a:gd name="T23" fmla="*/ 9 h 678"/>
                  <a:gd name="T24" fmla="*/ 3 w 303"/>
                  <a:gd name="T25" fmla="*/ 7 h 678"/>
                  <a:gd name="T26" fmla="*/ 1 w 303"/>
                  <a:gd name="T27" fmla="*/ 11 h 678"/>
                  <a:gd name="T28" fmla="*/ 3 w 303"/>
                  <a:gd name="T29" fmla="*/ 14 h 678"/>
                  <a:gd name="T30" fmla="*/ 4 w 303"/>
                  <a:gd name="T31" fmla="*/ 15 h 678"/>
                  <a:gd name="T32" fmla="*/ 3 w 303"/>
                  <a:gd name="T33" fmla="*/ 16 h 678"/>
                  <a:gd name="T34" fmla="*/ 3 w 303"/>
                  <a:gd name="T35" fmla="*/ 15 h 678"/>
                  <a:gd name="T36" fmla="*/ 3 w 303"/>
                  <a:gd name="T37" fmla="*/ 15 h 678"/>
                  <a:gd name="T38" fmla="*/ 1 w 303"/>
                  <a:gd name="T39" fmla="*/ 13 h 678"/>
                  <a:gd name="T40" fmla="*/ 1 w 303"/>
                  <a:gd name="T41" fmla="*/ 11 h 678"/>
                  <a:gd name="T42" fmla="*/ 2 w 303"/>
                  <a:gd name="T43" fmla="*/ 9 h 678"/>
                  <a:gd name="T44" fmla="*/ 1 w 303"/>
                  <a:gd name="T45" fmla="*/ 6 h 678"/>
                  <a:gd name="T46" fmla="*/ 1 w 303"/>
                  <a:gd name="T47" fmla="*/ 5 h 678"/>
                  <a:gd name="T48" fmla="*/ 0 w 303"/>
                  <a:gd name="T49" fmla="*/ 3 h 6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3"/>
                  <a:gd name="T76" fmla="*/ 0 h 678"/>
                  <a:gd name="T77" fmla="*/ 303 w 303"/>
                  <a:gd name="T78" fmla="*/ 678 h 6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3" h="678">
                    <a:moveTo>
                      <a:pt x="0" y="109"/>
                    </a:moveTo>
                    <a:lnTo>
                      <a:pt x="22" y="56"/>
                    </a:lnTo>
                    <a:lnTo>
                      <a:pt x="105" y="0"/>
                    </a:lnTo>
                    <a:lnTo>
                      <a:pt x="141" y="53"/>
                    </a:lnTo>
                    <a:lnTo>
                      <a:pt x="130" y="144"/>
                    </a:lnTo>
                    <a:lnTo>
                      <a:pt x="228" y="105"/>
                    </a:lnTo>
                    <a:lnTo>
                      <a:pt x="265" y="144"/>
                    </a:lnTo>
                    <a:lnTo>
                      <a:pt x="303" y="234"/>
                    </a:lnTo>
                    <a:lnTo>
                      <a:pt x="293" y="290"/>
                    </a:lnTo>
                    <a:lnTo>
                      <a:pt x="217" y="287"/>
                    </a:lnTo>
                    <a:lnTo>
                      <a:pt x="192" y="311"/>
                    </a:lnTo>
                    <a:lnTo>
                      <a:pt x="204" y="406"/>
                    </a:lnTo>
                    <a:lnTo>
                      <a:pt x="106" y="324"/>
                    </a:lnTo>
                    <a:lnTo>
                      <a:pt x="66" y="472"/>
                    </a:lnTo>
                    <a:lnTo>
                      <a:pt x="113" y="605"/>
                    </a:lnTo>
                    <a:lnTo>
                      <a:pt x="179" y="652"/>
                    </a:lnTo>
                    <a:lnTo>
                      <a:pt x="144" y="678"/>
                    </a:lnTo>
                    <a:lnTo>
                      <a:pt x="135" y="637"/>
                    </a:lnTo>
                    <a:lnTo>
                      <a:pt x="106" y="637"/>
                    </a:lnTo>
                    <a:lnTo>
                      <a:pt x="31" y="562"/>
                    </a:lnTo>
                    <a:lnTo>
                      <a:pt x="43" y="477"/>
                    </a:lnTo>
                    <a:lnTo>
                      <a:pt x="83" y="397"/>
                    </a:lnTo>
                    <a:lnTo>
                      <a:pt x="29" y="267"/>
                    </a:lnTo>
                    <a:lnTo>
                      <a:pt x="45" y="207"/>
                    </a:lnTo>
                    <a:lnTo>
                      <a:pt x="0" y="10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8" name="Freeform 417"/>
              <p:cNvSpPr/>
              <p:nvPr/>
            </p:nvSpPr>
            <p:spPr bwMode="auto">
              <a:xfrm>
                <a:off x="2302" y="2748"/>
                <a:ext cx="57" cy="46"/>
              </a:xfrm>
              <a:custGeom>
                <a:avLst/>
                <a:gdLst>
                  <a:gd name="T0" fmla="*/ 0 w 201"/>
                  <a:gd name="T1" fmla="*/ 2 h 159"/>
                  <a:gd name="T2" fmla="*/ 0 w 201"/>
                  <a:gd name="T3" fmla="*/ 2 h 159"/>
                  <a:gd name="T4" fmla="*/ 1 w 201"/>
                  <a:gd name="T5" fmla="*/ 2 h 159"/>
                  <a:gd name="T6" fmla="*/ 3 w 201"/>
                  <a:gd name="T7" fmla="*/ 2 h 159"/>
                  <a:gd name="T8" fmla="*/ 4 w 201"/>
                  <a:gd name="T9" fmla="*/ 0 h 159"/>
                  <a:gd name="T10" fmla="*/ 5 w 201"/>
                  <a:gd name="T11" fmla="*/ 1 h 159"/>
                  <a:gd name="T12" fmla="*/ 4 w 201"/>
                  <a:gd name="T13" fmla="*/ 1 h 159"/>
                  <a:gd name="T14" fmla="*/ 4 w 201"/>
                  <a:gd name="T15" fmla="*/ 2 h 159"/>
                  <a:gd name="T16" fmla="*/ 4 w 201"/>
                  <a:gd name="T17" fmla="*/ 4 h 159"/>
                  <a:gd name="T18" fmla="*/ 1 w 201"/>
                  <a:gd name="T19" fmla="*/ 3 h 159"/>
                  <a:gd name="T20" fmla="*/ 0 w 201"/>
                  <a:gd name="T21" fmla="*/ 2 h 1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1"/>
                  <a:gd name="T34" fmla="*/ 0 h 159"/>
                  <a:gd name="T35" fmla="*/ 201 w 201"/>
                  <a:gd name="T36" fmla="*/ 159 h 1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1" h="159">
                    <a:moveTo>
                      <a:pt x="0" y="74"/>
                    </a:moveTo>
                    <a:lnTo>
                      <a:pt x="12" y="70"/>
                    </a:lnTo>
                    <a:lnTo>
                      <a:pt x="27" y="96"/>
                    </a:lnTo>
                    <a:lnTo>
                      <a:pt x="112" y="94"/>
                    </a:lnTo>
                    <a:lnTo>
                      <a:pt x="190" y="0"/>
                    </a:lnTo>
                    <a:lnTo>
                      <a:pt x="201" y="58"/>
                    </a:lnTo>
                    <a:lnTo>
                      <a:pt x="178" y="59"/>
                    </a:lnTo>
                    <a:lnTo>
                      <a:pt x="190" y="94"/>
                    </a:lnTo>
                    <a:lnTo>
                      <a:pt x="159" y="159"/>
                    </a:lnTo>
                    <a:lnTo>
                      <a:pt x="37" y="145"/>
                    </a:lnTo>
                    <a:lnTo>
                      <a:pt x="0" y="7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9" name="Freeform 418"/>
              <p:cNvSpPr/>
              <p:nvPr/>
            </p:nvSpPr>
            <p:spPr bwMode="auto">
              <a:xfrm>
                <a:off x="1827" y="2596"/>
                <a:ext cx="42" cy="96"/>
              </a:xfrm>
              <a:custGeom>
                <a:avLst/>
                <a:gdLst>
                  <a:gd name="T0" fmla="*/ 0 w 149"/>
                  <a:gd name="T1" fmla="*/ 4 h 334"/>
                  <a:gd name="T2" fmla="*/ 1 w 149"/>
                  <a:gd name="T3" fmla="*/ 3 h 334"/>
                  <a:gd name="T4" fmla="*/ 1 w 149"/>
                  <a:gd name="T5" fmla="*/ 0 h 334"/>
                  <a:gd name="T6" fmla="*/ 3 w 149"/>
                  <a:gd name="T7" fmla="*/ 0 h 334"/>
                  <a:gd name="T8" fmla="*/ 3 w 149"/>
                  <a:gd name="T9" fmla="*/ 1 h 334"/>
                  <a:gd name="T10" fmla="*/ 3 w 149"/>
                  <a:gd name="T11" fmla="*/ 2 h 334"/>
                  <a:gd name="T12" fmla="*/ 2 w 149"/>
                  <a:gd name="T13" fmla="*/ 4 h 334"/>
                  <a:gd name="T14" fmla="*/ 3 w 149"/>
                  <a:gd name="T15" fmla="*/ 5 h 334"/>
                  <a:gd name="T16" fmla="*/ 2 w 149"/>
                  <a:gd name="T17" fmla="*/ 8 h 334"/>
                  <a:gd name="T18" fmla="*/ 1 w 149"/>
                  <a:gd name="T19" fmla="*/ 6 h 334"/>
                  <a:gd name="T20" fmla="*/ 0 w 149"/>
                  <a:gd name="T21" fmla="*/ 4 h 3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9"/>
                  <a:gd name="T34" fmla="*/ 0 h 334"/>
                  <a:gd name="T35" fmla="*/ 149 w 149"/>
                  <a:gd name="T36" fmla="*/ 334 h 3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9" h="334">
                    <a:moveTo>
                      <a:pt x="0" y="155"/>
                    </a:moveTo>
                    <a:lnTo>
                      <a:pt x="35" y="124"/>
                    </a:lnTo>
                    <a:lnTo>
                      <a:pt x="47" y="4"/>
                    </a:lnTo>
                    <a:lnTo>
                      <a:pt x="142" y="0"/>
                    </a:lnTo>
                    <a:lnTo>
                      <a:pt x="119" y="40"/>
                    </a:lnTo>
                    <a:lnTo>
                      <a:pt x="146" y="93"/>
                    </a:lnTo>
                    <a:lnTo>
                      <a:pt x="91" y="155"/>
                    </a:lnTo>
                    <a:lnTo>
                      <a:pt x="149" y="195"/>
                    </a:lnTo>
                    <a:lnTo>
                      <a:pt x="76" y="334"/>
                    </a:lnTo>
                    <a:lnTo>
                      <a:pt x="67" y="245"/>
                    </a:lnTo>
                    <a:lnTo>
                      <a:pt x="0" y="15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0" name="Freeform 419"/>
              <p:cNvSpPr/>
              <p:nvPr/>
            </p:nvSpPr>
            <p:spPr bwMode="auto">
              <a:xfrm>
                <a:off x="2030" y="2525"/>
                <a:ext cx="31" cy="27"/>
              </a:xfrm>
              <a:custGeom>
                <a:avLst/>
                <a:gdLst>
                  <a:gd name="T0" fmla="*/ 0 w 107"/>
                  <a:gd name="T1" fmla="*/ 1 h 93"/>
                  <a:gd name="T2" fmla="*/ 0 w 107"/>
                  <a:gd name="T3" fmla="*/ 0 h 93"/>
                  <a:gd name="T4" fmla="*/ 2 w 107"/>
                  <a:gd name="T5" fmla="*/ 0 h 93"/>
                  <a:gd name="T6" fmla="*/ 3 w 107"/>
                  <a:gd name="T7" fmla="*/ 1 h 93"/>
                  <a:gd name="T8" fmla="*/ 1 w 107"/>
                  <a:gd name="T9" fmla="*/ 1 h 93"/>
                  <a:gd name="T10" fmla="*/ 0 w 107"/>
                  <a:gd name="T11" fmla="*/ 2 h 93"/>
                  <a:gd name="T12" fmla="*/ 1 w 107"/>
                  <a:gd name="T13" fmla="*/ 2 h 93"/>
                  <a:gd name="T14" fmla="*/ 0 w 107"/>
                  <a:gd name="T15" fmla="*/ 1 h 93"/>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93"/>
                  <a:gd name="T26" fmla="*/ 107 w 107"/>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93">
                    <a:moveTo>
                      <a:pt x="0" y="61"/>
                    </a:moveTo>
                    <a:lnTo>
                      <a:pt x="14" y="4"/>
                    </a:lnTo>
                    <a:lnTo>
                      <a:pt x="73" y="0"/>
                    </a:lnTo>
                    <a:lnTo>
                      <a:pt x="107" y="45"/>
                    </a:lnTo>
                    <a:lnTo>
                      <a:pt x="59" y="47"/>
                    </a:lnTo>
                    <a:lnTo>
                      <a:pt x="6" y="93"/>
                    </a:lnTo>
                    <a:lnTo>
                      <a:pt x="29" y="65"/>
                    </a:lnTo>
                    <a:lnTo>
                      <a:pt x="0" y="6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1" name="Freeform 420"/>
              <p:cNvSpPr/>
              <p:nvPr/>
            </p:nvSpPr>
            <p:spPr bwMode="auto">
              <a:xfrm>
                <a:off x="2034" y="2523"/>
                <a:ext cx="201" cy="90"/>
              </a:xfrm>
              <a:custGeom>
                <a:avLst/>
                <a:gdLst>
                  <a:gd name="T0" fmla="*/ 0 w 703"/>
                  <a:gd name="T1" fmla="*/ 3 h 317"/>
                  <a:gd name="T2" fmla="*/ 1 w 703"/>
                  <a:gd name="T3" fmla="*/ 4 h 317"/>
                  <a:gd name="T4" fmla="*/ 0 w 703"/>
                  <a:gd name="T5" fmla="*/ 5 h 317"/>
                  <a:gd name="T6" fmla="*/ 1 w 703"/>
                  <a:gd name="T7" fmla="*/ 5 h 317"/>
                  <a:gd name="T8" fmla="*/ 1 w 703"/>
                  <a:gd name="T9" fmla="*/ 6 h 317"/>
                  <a:gd name="T10" fmla="*/ 2 w 703"/>
                  <a:gd name="T11" fmla="*/ 6 h 317"/>
                  <a:gd name="T12" fmla="*/ 1 w 703"/>
                  <a:gd name="T13" fmla="*/ 6 h 317"/>
                  <a:gd name="T14" fmla="*/ 2 w 703"/>
                  <a:gd name="T15" fmla="*/ 6 h 317"/>
                  <a:gd name="T16" fmla="*/ 3 w 703"/>
                  <a:gd name="T17" fmla="*/ 7 h 317"/>
                  <a:gd name="T18" fmla="*/ 4 w 703"/>
                  <a:gd name="T19" fmla="*/ 6 h 317"/>
                  <a:gd name="T20" fmla="*/ 6 w 703"/>
                  <a:gd name="T21" fmla="*/ 7 h 317"/>
                  <a:gd name="T22" fmla="*/ 9 w 703"/>
                  <a:gd name="T23" fmla="*/ 6 h 317"/>
                  <a:gd name="T24" fmla="*/ 9 w 703"/>
                  <a:gd name="T25" fmla="*/ 7 h 317"/>
                  <a:gd name="T26" fmla="*/ 9 w 703"/>
                  <a:gd name="T27" fmla="*/ 6 h 317"/>
                  <a:gd name="T28" fmla="*/ 15 w 703"/>
                  <a:gd name="T29" fmla="*/ 6 h 317"/>
                  <a:gd name="T30" fmla="*/ 16 w 703"/>
                  <a:gd name="T31" fmla="*/ 6 h 317"/>
                  <a:gd name="T32" fmla="*/ 16 w 703"/>
                  <a:gd name="T33" fmla="*/ 3 h 317"/>
                  <a:gd name="T34" fmla="*/ 16 w 703"/>
                  <a:gd name="T35" fmla="*/ 3 h 317"/>
                  <a:gd name="T36" fmla="*/ 15 w 703"/>
                  <a:gd name="T37" fmla="*/ 1 h 317"/>
                  <a:gd name="T38" fmla="*/ 13 w 703"/>
                  <a:gd name="T39" fmla="*/ 1 h 317"/>
                  <a:gd name="T40" fmla="*/ 11 w 703"/>
                  <a:gd name="T41" fmla="*/ 1 h 317"/>
                  <a:gd name="T42" fmla="*/ 8 w 703"/>
                  <a:gd name="T43" fmla="*/ 0 h 317"/>
                  <a:gd name="T44" fmla="*/ 6 w 703"/>
                  <a:gd name="T45" fmla="*/ 0 h 317"/>
                  <a:gd name="T46" fmla="*/ 4 w 703"/>
                  <a:gd name="T47" fmla="*/ 1 h 317"/>
                  <a:gd name="T48" fmla="*/ 3 w 703"/>
                  <a:gd name="T49" fmla="*/ 1 h 317"/>
                  <a:gd name="T50" fmla="*/ 3 w 703"/>
                  <a:gd name="T51" fmla="*/ 2 h 317"/>
                  <a:gd name="T52" fmla="*/ 0 w 703"/>
                  <a:gd name="T53" fmla="*/ 3 h 31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03"/>
                  <a:gd name="T82" fmla="*/ 0 h 317"/>
                  <a:gd name="T83" fmla="*/ 703 w 703"/>
                  <a:gd name="T84" fmla="*/ 317 h 31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03" h="317">
                    <a:moveTo>
                      <a:pt x="0" y="106"/>
                    </a:moveTo>
                    <a:lnTo>
                      <a:pt x="27" y="188"/>
                    </a:lnTo>
                    <a:lnTo>
                      <a:pt x="1" y="196"/>
                    </a:lnTo>
                    <a:lnTo>
                      <a:pt x="27" y="210"/>
                    </a:lnTo>
                    <a:lnTo>
                      <a:pt x="39" y="260"/>
                    </a:lnTo>
                    <a:lnTo>
                      <a:pt x="79" y="254"/>
                    </a:lnTo>
                    <a:lnTo>
                      <a:pt x="39" y="276"/>
                    </a:lnTo>
                    <a:lnTo>
                      <a:pt x="84" y="267"/>
                    </a:lnTo>
                    <a:lnTo>
                      <a:pt x="136" y="300"/>
                    </a:lnTo>
                    <a:lnTo>
                      <a:pt x="179" y="265"/>
                    </a:lnTo>
                    <a:lnTo>
                      <a:pt x="246" y="311"/>
                    </a:lnTo>
                    <a:lnTo>
                      <a:pt x="368" y="265"/>
                    </a:lnTo>
                    <a:lnTo>
                      <a:pt x="366" y="317"/>
                    </a:lnTo>
                    <a:lnTo>
                      <a:pt x="388" y="265"/>
                    </a:lnTo>
                    <a:lnTo>
                      <a:pt x="618" y="253"/>
                    </a:lnTo>
                    <a:lnTo>
                      <a:pt x="703" y="249"/>
                    </a:lnTo>
                    <a:lnTo>
                      <a:pt x="675" y="139"/>
                    </a:lnTo>
                    <a:lnTo>
                      <a:pt x="695" y="115"/>
                    </a:lnTo>
                    <a:lnTo>
                      <a:pt x="624" y="20"/>
                    </a:lnTo>
                    <a:lnTo>
                      <a:pt x="577" y="20"/>
                    </a:lnTo>
                    <a:lnTo>
                      <a:pt x="449" y="60"/>
                    </a:lnTo>
                    <a:lnTo>
                      <a:pt x="336" y="0"/>
                    </a:lnTo>
                    <a:lnTo>
                      <a:pt x="267" y="1"/>
                    </a:lnTo>
                    <a:lnTo>
                      <a:pt x="180" y="56"/>
                    </a:lnTo>
                    <a:lnTo>
                      <a:pt x="108" y="41"/>
                    </a:lnTo>
                    <a:lnTo>
                      <a:pt x="132" y="70"/>
                    </a:lnTo>
                    <a:lnTo>
                      <a:pt x="0" y="10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2" name="Freeform 421"/>
              <p:cNvSpPr/>
              <p:nvPr/>
            </p:nvSpPr>
            <p:spPr bwMode="auto">
              <a:xfrm>
                <a:off x="1637" y="2312"/>
                <a:ext cx="43" cy="59"/>
              </a:xfrm>
              <a:custGeom>
                <a:avLst/>
                <a:gdLst>
                  <a:gd name="T0" fmla="*/ 0 w 152"/>
                  <a:gd name="T1" fmla="*/ 4 h 209"/>
                  <a:gd name="T2" fmla="*/ 0 w 152"/>
                  <a:gd name="T3" fmla="*/ 4 h 209"/>
                  <a:gd name="T4" fmla="*/ 0 w 152"/>
                  <a:gd name="T5" fmla="*/ 5 h 209"/>
                  <a:gd name="T6" fmla="*/ 3 w 152"/>
                  <a:gd name="T7" fmla="*/ 4 h 209"/>
                  <a:gd name="T8" fmla="*/ 3 w 152"/>
                  <a:gd name="T9" fmla="*/ 1 h 209"/>
                  <a:gd name="T10" fmla="*/ 3 w 152"/>
                  <a:gd name="T11" fmla="*/ 1 h 209"/>
                  <a:gd name="T12" fmla="*/ 2 w 152"/>
                  <a:gd name="T13" fmla="*/ 1 h 209"/>
                  <a:gd name="T14" fmla="*/ 2 w 152"/>
                  <a:gd name="T15" fmla="*/ 1 h 209"/>
                  <a:gd name="T16" fmla="*/ 2 w 152"/>
                  <a:gd name="T17" fmla="*/ 0 h 209"/>
                  <a:gd name="T18" fmla="*/ 2 w 152"/>
                  <a:gd name="T19" fmla="*/ 0 h 209"/>
                  <a:gd name="T20" fmla="*/ 1 w 152"/>
                  <a:gd name="T21" fmla="*/ 1 h 209"/>
                  <a:gd name="T22" fmla="*/ 0 w 152"/>
                  <a:gd name="T23" fmla="*/ 1 h 209"/>
                  <a:gd name="T24" fmla="*/ 1 w 152"/>
                  <a:gd name="T25" fmla="*/ 2 h 209"/>
                  <a:gd name="T26" fmla="*/ 0 w 152"/>
                  <a:gd name="T27" fmla="*/ 3 h 209"/>
                  <a:gd name="T28" fmla="*/ 1 w 152"/>
                  <a:gd name="T29" fmla="*/ 3 h 209"/>
                  <a:gd name="T30" fmla="*/ 0 w 152"/>
                  <a:gd name="T31" fmla="*/ 4 h 209"/>
                  <a:gd name="T32" fmla="*/ 1 w 152"/>
                  <a:gd name="T33" fmla="*/ 3 h 209"/>
                  <a:gd name="T34" fmla="*/ 0 w 152"/>
                  <a:gd name="T35" fmla="*/ 4 h 2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2"/>
                  <a:gd name="T55" fmla="*/ 0 h 209"/>
                  <a:gd name="T56" fmla="*/ 152 w 152"/>
                  <a:gd name="T57" fmla="*/ 209 h 2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2" h="209">
                    <a:moveTo>
                      <a:pt x="0" y="177"/>
                    </a:moveTo>
                    <a:lnTo>
                      <a:pt x="18" y="193"/>
                    </a:lnTo>
                    <a:lnTo>
                      <a:pt x="2" y="209"/>
                    </a:lnTo>
                    <a:lnTo>
                      <a:pt x="142" y="178"/>
                    </a:lnTo>
                    <a:lnTo>
                      <a:pt x="152" y="67"/>
                    </a:lnTo>
                    <a:lnTo>
                      <a:pt x="133" y="41"/>
                    </a:lnTo>
                    <a:lnTo>
                      <a:pt x="93" y="54"/>
                    </a:lnTo>
                    <a:lnTo>
                      <a:pt x="79" y="37"/>
                    </a:lnTo>
                    <a:lnTo>
                      <a:pt x="96" y="12"/>
                    </a:lnTo>
                    <a:lnTo>
                      <a:pt x="79" y="0"/>
                    </a:lnTo>
                    <a:lnTo>
                      <a:pt x="63" y="52"/>
                    </a:lnTo>
                    <a:lnTo>
                      <a:pt x="2" y="67"/>
                    </a:lnTo>
                    <a:lnTo>
                      <a:pt x="22" y="79"/>
                    </a:lnTo>
                    <a:lnTo>
                      <a:pt x="8" y="109"/>
                    </a:lnTo>
                    <a:lnTo>
                      <a:pt x="49" y="117"/>
                    </a:lnTo>
                    <a:lnTo>
                      <a:pt x="13" y="158"/>
                    </a:lnTo>
                    <a:lnTo>
                      <a:pt x="53" y="148"/>
                    </a:lnTo>
                    <a:lnTo>
                      <a:pt x="0" y="17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3" name="Freeform 422"/>
              <p:cNvSpPr/>
              <p:nvPr/>
            </p:nvSpPr>
            <p:spPr bwMode="auto">
              <a:xfrm>
                <a:off x="1660" y="2308"/>
                <a:ext cx="27" cy="23"/>
              </a:xfrm>
              <a:custGeom>
                <a:avLst/>
                <a:gdLst>
                  <a:gd name="T0" fmla="*/ 0 w 97"/>
                  <a:gd name="T1" fmla="*/ 1 h 82"/>
                  <a:gd name="T2" fmla="*/ 0 w 97"/>
                  <a:gd name="T3" fmla="*/ 1 h 82"/>
                  <a:gd name="T4" fmla="*/ 1 w 97"/>
                  <a:gd name="T5" fmla="*/ 1 h 82"/>
                  <a:gd name="T6" fmla="*/ 2 w 97"/>
                  <a:gd name="T7" fmla="*/ 2 h 82"/>
                  <a:gd name="T8" fmla="*/ 2 w 97"/>
                  <a:gd name="T9" fmla="*/ 1 h 82"/>
                  <a:gd name="T10" fmla="*/ 2 w 97"/>
                  <a:gd name="T11" fmla="*/ 0 h 82"/>
                  <a:gd name="T12" fmla="*/ 1 w 97"/>
                  <a:gd name="T13" fmla="*/ 0 h 82"/>
                  <a:gd name="T14" fmla="*/ 0 w 97"/>
                  <a:gd name="T15" fmla="*/ 1 h 82"/>
                  <a:gd name="T16" fmla="*/ 0 w 97"/>
                  <a:gd name="T17" fmla="*/ 1 h 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82"/>
                  <a:gd name="T29" fmla="*/ 97 w 97"/>
                  <a:gd name="T30" fmla="*/ 82 h 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82">
                    <a:moveTo>
                      <a:pt x="0" y="52"/>
                    </a:moveTo>
                    <a:lnTo>
                      <a:pt x="14" y="69"/>
                    </a:lnTo>
                    <a:lnTo>
                      <a:pt x="54" y="56"/>
                    </a:lnTo>
                    <a:lnTo>
                      <a:pt x="73" y="82"/>
                    </a:lnTo>
                    <a:lnTo>
                      <a:pt x="97" y="52"/>
                    </a:lnTo>
                    <a:lnTo>
                      <a:pt x="74" y="15"/>
                    </a:lnTo>
                    <a:lnTo>
                      <a:pt x="29" y="0"/>
                    </a:lnTo>
                    <a:lnTo>
                      <a:pt x="17" y="27"/>
                    </a:lnTo>
                    <a:lnTo>
                      <a:pt x="0" y="5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4" name="Freeform 423"/>
              <p:cNvSpPr/>
              <p:nvPr/>
            </p:nvSpPr>
            <p:spPr bwMode="auto">
              <a:xfrm>
                <a:off x="1672" y="2256"/>
                <a:ext cx="8" cy="9"/>
              </a:xfrm>
              <a:custGeom>
                <a:avLst/>
                <a:gdLst>
                  <a:gd name="T0" fmla="*/ 0 w 26"/>
                  <a:gd name="T1" fmla="*/ 1 h 35"/>
                  <a:gd name="T2" fmla="*/ 0 w 26"/>
                  <a:gd name="T3" fmla="*/ 0 h 35"/>
                  <a:gd name="T4" fmla="*/ 1 w 26"/>
                  <a:gd name="T5" fmla="*/ 0 h 35"/>
                  <a:gd name="T6" fmla="*/ 0 w 26"/>
                  <a:gd name="T7" fmla="*/ 1 h 35"/>
                  <a:gd name="T8" fmla="*/ 0 60000 65536"/>
                  <a:gd name="T9" fmla="*/ 0 60000 65536"/>
                  <a:gd name="T10" fmla="*/ 0 60000 65536"/>
                  <a:gd name="T11" fmla="*/ 0 60000 65536"/>
                  <a:gd name="T12" fmla="*/ 0 w 26"/>
                  <a:gd name="T13" fmla="*/ 0 h 35"/>
                  <a:gd name="T14" fmla="*/ 26 w 26"/>
                  <a:gd name="T15" fmla="*/ 35 h 35"/>
                </a:gdLst>
                <a:ahLst/>
                <a:cxnLst>
                  <a:cxn ang="T8">
                    <a:pos x="T0" y="T1"/>
                  </a:cxn>
                  <a:cxn ang="T9">
                    <a:pos x="T2" y="T3"/>
                  </a:cxn>
                  <a:cxn ang="T10">
                    <a:pos x="T4" y="T5"/>
                  </a:cxn>
                  <a:cxn ang="T11">
                    <a:pos x="T6" y="T7"/>
                  </a:cxn>
                </a:cxnLst>
                <a:rect l="T12" t="T13" r="T14" b="T15"/>
                <a:pathLst>
                  <a:path w="26" h="35">
                    <a:moveTo>
                      <a:pt x="0" y="35"/>
                    </a:moveTo>
                    <a:lnTo>
                      <a:pt x="0" y="8"/>
                    </a:lnTo>
                    <a:lnTo>
                      <a:pt x="26" y="0"/>
                    </a:lnTo>
                    <a:lnTo>
                      <a:pt x="0" y="3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5" name="Freeform 424"/>
              <p:cNvSpPr/>
              <p:nvPr/>
            </p:nvSpPr>
            <p:spPr bwMode="auto">
              <a:xfrm>
                <a:off x="1675" y="2266"/>
                <a:ext cx="6" cy="7"/>
              </a:xfrm>
              <a:custGeom>
                <a:avLst/>
                <a:gdLst>
                  <a:gd name="T0" fmla="*/ 0 w 22"/>
                  <a:gd name="T1" fmla="*/ 0 h 24"/>
                  <a:gd name="T2" fmla="*/ 0 w 22"/>
                  <a:gd name="T3" fmla="*/ 0 h 24"/>
                  <a:gd name="T4" fmla="*/ 1 w 22"/>
                  <a:gd name="T5" fmla="*/ 1 h 24"/>
                  <a:gd name="T6" fmla="*/ 0 w 22"/>
                  <a:gd name="T7" fmla="*/ 0 h 24"/>
                  <a:gd name="T8" fmla="*/ 0 60000 65536"/>
                  <a:gd name="T9" fmla="*/ 0 60000 65536"/>
                  <a:gd name="T10" fmla="*/ 0 60000 65536"/>
                  <a:gd name="T11" fmla="*/ 0 60000 65536"/>
                  <a:gd name="T12" fmla="*/ 0 w 22"/>
                  <a:gd name="T13" fmla="*/ 0 h 24"/>
                  <a:gd name="T14" fmla="*/ 22 w 22"/>
                  <a:gd name="T15" fmla="*/ 24 h 24"/>
                </a:gdLst>
                <a:ahLst/>
                <a:cxnLst>
                  <a:cxn ang="T8">
                    <a:pos x="T0" y="T1"/>
                  </a:cxn>
                  <a:cxn ang="T9">
                    <a:pos x="T2" y="T3"/>
                  </a:cxn>
                  <a:cxn ang="T10">
                    <a:pos x="T4" y="T5"/>
                  </a:cxn>
                  <a:cxn ang="T11">
                    <a:pos x="T6" y="T7"/>
                  </a:cxn>
                </a:cxnLst>
                <a:rect l="T12" t="T13" r="T14" b="T15"/>
                <a:pathLst>
                  <a:path w="22" h="24">
                    <a:moveTo>
                      <a:pt x="0" y="18"/>
                    </a:moveTo>
                    <a:lnTo>
                      <a:pt x="14" y="0"/>
                    </a:lnTo>
                    <a:lnTo>
                      <a:pt x="22" y="24"/>
                    </a:lnTo>
                    <a:lnTo>
                      <a:pt x="0" y="1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6" name="Freeform 425"/>
              <p:cNvSpPr/>
              <p:nvPr/>
            </p:nvSpPr>
            <p:spPr bwMode="auto">
              <a:xfrm>
                <a:off x="1681" y="2250"/>
                <a:ext cx="85" cy="149"/>
              </a:xfrm>
              <a:custGeom>
                <a:avLst/>
                <a:gdLst>
                  <a:gd name="T0" fmla="*/ 0 w 297"/>
                  <a:gd name="T1" fmla="*/ 3 h 521"/>
                  <a:gd name="T2" fmla="*/ 0 w 297"/>
                  <a:gd name="T3" fmla="*/ 1 h 521"/>
                  <a:gd name="T4" fmla="*/ 1 w 297"/>
                  <a:gd name="T5" fmla="*/ 0 h 521"/>
                  <a:gd name="T6" fmla="*/ 3 w 297"/>
                  <a:gd name="T7" fmla="*/ 0 h 521"/>
                  <a:gd name="T8" fmla="*/ 2 w 297"/>
                  <a:gd name="T9" fmla="*/ 1 h 521"/>
                  <a:gd name="T10" fmla="*/ 4 w 297"/>
                  <a:gd name="T11" fmla="*/ 2 h 521"/>
                  <a:gd name="T12" fmla="*/ 3 w 297"/>
                  <a:gd name="T13" fmla="*/ 4 h 521"/>
                  <a:gd name="T14" fmla="*/ 4 w 297"/>
                  <a:gd name="T15" fmla="*/ 4 h 521"/>
                  <a:gd name="T16" fmla="*/ 5 w 297"/>
                  <a:gd name="T17" fmla="*/ 7 h 521"/>
                  <a:gd name="T18" fmla="*/ 5 w 297"/>
                  <a:gd name="T19" fmla="*/ 7 h 521"/>
                  <a:gd name="T20" fmla="*/ 6 w 297"/>
                  <a:gd name="T21" fmla="*/ 8 h 521"/>
                  <a:gd name="T22" fmla="*/ 5 w 297"/>
                  <a:gd name="T23" fmla="*/ 8 h 521"/>
                  <a:gd name="T24" fmla="*/ 7 w 297"/>
                  <a:gd name="T25" fmla="*/ 9 h 521"/>
                  <a:gd name="T26" fmla="*/ 6 w 297"/>
                  <a:gd name="T27" fmla="*/ 10 h 521"/>
                  <a:gd name="T28" fmla="*/ 7 w 297"/>
                  <a:gd name="T29" fmla="*/ 11 h 521"/>
                  <a:gd name="T30" fmla="*/ 0 w 297"/>
                  <a:gd name="T31" fmla="*/ 12 h 521"/>
                  <a:gd name="T32" fmla="*/ 3 w 297"/>
                  <a:gd name="T33" fmla="*/ 10 h 521"/>
                  <a:gd name="T34" fmla="*/ 2 w 297"/>
                  <a:gd name="T35" fmla="*/ 10 h 521"/>
                  <a:gd name="T36" fmla="*/ 1 w 297"/>
                  <a:gd name="T37" fmla="*/ 9 h 521"/>
                  <a:gd name="T38" fmla="*/ 2 w 297"/>
                  <a:gd name="T39" fmla="*/ 9 h 521"/>
                  <a:gd name="T40" fmla="*/ 1 w 297"/>
                  <a:gd name="T41" fmla="*/ 8 h 521"/>
                  <a:gd name="T42" fmla="*/ 3 w 297"/>
                  <a:gd name="T43" fmla="*/ 7 h 521"/>
                  <a:gd name="T44" fmla="*/ 3 w 297"/>
                  <a:gd name="T45" fmla="*/ 6 h 521"/>
                  <a:gd name="T46" fmla="*/ 2 w 297"/>
                  <a:gd name="T47" fmla="*/ 6 h 521"/>
                  <a:gd name="T48" fmla="*/ 3 w 297"/>
                  <a:gd name="T49" fmla="*/ 5 h 521"/>
                  <a:gd name="T50" fmla="*/ 1 w 297"/>
                  <a:gd name="T51" fmla="*/ 6 h 521"/>
                  <a:gd name="T52" fmla="*/ 1 w 297"/>
                  <a:gd name="T53" fmla="*/ 4 h 521"/>
                  <a:gd name="T54" fmla="*/ 0 w 297"/>
                  <a:gd name="T55" fmla="*/ 5 h 521"/>
                  <a:gd name="T56" fmla="*/ 1 w 297"/>
                  <a:gd name="T57" fmla="*/ 3 h 521"/>
                  <a:gd name="T58" fmla="*/ 0 w 297"/>
                  <a:gd name="T59" fmla="*/ 3 h 52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7"/>
                  <a:gd name="T91" fmla="*/ 0 h 521"/>
                  <a:gd name="T92" fmla="*/ 297 w 297"/>
                  <a:gd name="T93" fmla="*/ 521 h 52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7" h="521">
                    <a:moveTo>
                      <a:pt x="0" y="122"/>
                    </a:moveTo>
                    <a:lnTo>
                      <a:pt x="11" y="50"/>
                    </a:lnTo>
                    <a:lnTo>
                      <a:pt x="49" y="0"/>
                    </a:lnTo>
                    <a:lnTo>
                      <a:pt x="113" y="0"/>
                    </a:lnTo>
                    <a:lnTo>
                      <a:pt x="73" y="62"/>
                    </a:lnTo>
                    <a:lnTo>
                      <a:pt x="161" y="74"/>
                    </a:lnTo>
                    <a:lnTo>
                      <a:pt x="106" y="161"/>
                    </a:lnTo>
                    <a:lnTo>
                      <a:pt x="175" y="189"/>
                    </a:lnTo>
                    <a:lnTo>
                      <a:pt x="239" y="296"/>
                    </a:lnTo>
                    <a:lnTo>
                      <a:pt x="220" y="304"/>
                    </a:lnTo>
                    <a:lnTo>
                      <a:pt x="248" y="330"/>
                    </a:lnTo>
                    <a:lnTo>
                      <a:pt x="231" y="359"/>
                    </a:lnTo>
                    <a:lnTo>
                      <a:pt x="297" y="364"/>
                    </a:lnTo>
                    <a:lnTo>
                      <a:pt x="258" y="433"/>
                    </a:lnTo>
                    <a:lnTo>
                      <a:pt x="285" y="455"/>
                    </a:lnTo>
                    <a:lnTo>
                      <a:pt x="18" y="521"/>
                    </a:lnTo>
                    <a:lnTo>
                      <a:pt x="139" y="423"/>
                    </a:lnTo>
                    <a:lnTo>
                      <a:pt x="102" y="438"/>
                    </a:lnTo>
                    <a:lnTo>
                      <a:pt x="34" y="410"/>
                    </a:lnTo>
                    <a:lnTo>
                      <a:pt x="85" y="375"/>
                    </a:lnTo>
                    <a:lnTo>
                      <a:pt x="55" y="359"/>
                    </a:lnTo>
                    <a:lnTo>
                      <a:pt x="123" y="319"/>
                    </a:lnTo>
                    <a:lnTo>
                      <a:pt x="133" y="271"/>
                    </a:lnTo>
                    <a:lnTo>
                      <a:pt x="95" y="256"/>
                    </a:lnTo>
                    <a:lnTo>
                      <a:pt x="113" y="229"/>
                    </a:lnTo>
                    <a:lnTo>
                      <a:pt x="46" y="242"/>
                    </a:lnTo>
                    <a:lnTo>
                      <a:pt x="49" y="169"/>
                    </a:lnTo>
                    <a:lnTo>
                      <a:pt x="11" y="202"/>
                    </a:lnTo>
                    <a:lnTo>
                      <a:pt x="31" y="126"/>
                    </a:lnTo>
                    <a:lnTo>
                      <a:pt x="0" y="12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7" name="Freeform 426"/>
              <p:cNvSpPr/>
              <p:nvPr/>
            </p:nvSpPr>
            <p:spPr bwMode="auto">
              <a:xfrm>
                <a:off x="3793" y="2153"/>
                <a:ext cx="33" cy="12"/>
              </a:xfrm>
              <a:custGeom>
                <a:avLst/>
                <a:gdLst>
                  <a:gd name="T0" fmla="*/ 0 w 116"/>
                  <a:gd name="T1" fmla="*/ 0 h 42"/>
                  <a:gd name="T2" fmla="*/ 2 w 116"/>
                  <a:gd name="T3" fmla="*/ 0 h 42"/>
                  <a:gd name="T4" fmla="*/ 3 w 116"/>
                  <a:gd name="T5" fmla="*/ 1 h 42"/>
                  <a:gd name="T6" fmla="*/ 2 w 116"/>
                  <a:gd name="T7" fmla="*/ 1 h 42"/>
                  <a:gd name="T8" fmla="*/ 0 w 116"/>
                  <a:gd name="T9" fmla="*/ 0 h 42"/>
                  <a:gd name="T10" fmla="*/ 0 60000 65536"/>
                  <a:gd name="T11" fmla="*/ 0 60000 65536"/>
                  <a:gd name="T12" fmla="*/ 0 60000 65536"/>
                  <a:gd name="T13" fmla="*/ 0 60000 65536"/>
                  <a:gd name="T14" fmla="*/ 0 60000 65536"/>
                  <a:gd name="T15" fmla="*/ 0 w 116"/>
                  <a:gd name="T16" fmla="*/ 0 h 42"/>
                  <a:gd name="T17" fmla="*/ 116 w 116"/>
                  <a:gd name="T18" fmla="*/ 42 h 42"/>
                </a:gdLst>
                <a:ahLst/>
                <a:cxnLst>
                  <a:cxn ang="T10">
                    <a:pos x="T0" y="T1"/>
                  </a:cxn>
                  <a:cxn ang="T11">
                    <a:pos x="T2" y="T3"/>
                  </a:cxn>
                  <a:cxn ang="T12">
                    <a:pos x="T4" y="T5"/>
                  </a:cxn>
                  <a:cxn ang="T13">
                    <a:pos x="T6" y="T7"/>
                  </a:cxn>
                  <a:cxn ang="T14">
                    <a:pos x="T8" y="T9"/>
                  </a:cxn>
                </a:cxnLst>
                <a:rect l="T15" t="T16" r="T17" b="T18"/>
                <a:pathLst>
                  <a:path w="116" h="42">
                    <a:moveTo>
                      <a:pt x="0" y="14"/>
                    </a:moveTo>
                    <a:lnTo>
                      <a:pt x="71" y="0"/>
                    </a:lnTo>
                    <a:lnTo>
                      <a:pt x="116" y="21"/>
                    </a:lnTo>
                    <a:lnTo>
                      <a:pt x="92" y="42"/>
                    </a:lnTo>
                    <a:lnTo>
                      <a:pt x="0" y="1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8" name="Freeform 427"/>
              <p:cNvSpPr/>
              <p:nvPr/>
            </p:nvSpPr>
            <p:spPr bwMode="auto">
              <a:xfrm>
                <a:off x="2859" y="2788"/>
                <a:ext cx="77" cy="188"/>
              </a:xfrm>
              <a:custGeom>
                <a:avLst/>
                <a:gdLst>
                  <a:gd name="T0" fmla="*/ 0 w 268"/>
                  <a:gd name="T1" fmla="*/ 1 h 659"/>
                  <a:gd name="T2" fmla="*/ 1 w 268"/>
                  <a:gd name="T3" fmla="*/ 2 h 659"/>
                  <a:gd name="T4" fmla="*/ 2 w 268"/>
                  <a:gd name="T5" fmla="*/ 3 h 659"/>
                  <a:gd name="T6" fmla="*/ 1 w 268"/>
                  <a:gd name="T7" fmla="*/ 4 h 659"/>
                  <a:gd name="T8" fmla="*/ 4 w 268"/>
                  <a:gd name="T9" fmla="*/ 6 h 659"/>
                  <a:gd name="T10" fmla="*/ 5 w 268"/>
                  <a:gd name="T11" fmla="*/ 9 h 659"/>
                  <a:gd name="T12" fmla="*/ 5 w 268"/>
                  <a:gd name="T13" fmla="*/ 11 h 659"/>
                  <a:gd name="T14" fmla="*/ 2 w 268"/>
                  <a:gd name="T15" fmla="*/ 13 h 659"/>
                  <a:gd name="T16" fmla="*/ 3 w 268"/>
                  <a:gd name="T17" fmla="*/ 15 h 659"/>
                  <a:gd name="T18" fmla="*/ 3 w 268"/>
                  <a:gd name="T19" fmla="*/ 14 h 659"/>
                  <a:gd name="T20" fmla="*/ 4 w 268"/>
                  <a:gd name="T21" fmla="*/ 14 h 659"/>
                  <a:gd name="T22" fmla="*/ 4 w 268"/>
                  <a:gd name="T23" fmla="*/ 13 h 659"/>
                  <a:gd name="T24" fmla="*/ 6 w 268"/>
                  <a:gd name="T25" fmla="*/ 12 h 659"/>
                  <a:gd name="T26" fmla="*/ 6 w 268"/>
                  <a:gd name="T27" fmla="*/ 8 h 659"/>
                  <a:gd name="T28" fmla="*/ 3 w 268"/>
                  <a:gd name="T29" fmla="*/ 5 h 659"/>
                  <a:gd name="T30" fmla="*/ 3 w 268"/>
                  <a:gd name="T31" fmla="*/ 3 h 659"/>
                  <a:gd name="T32" fmla="*/ 5 w 268"/>
                  <a:gd name="T33" fmla="*/ 2 h 659"/>
                  <a:gd name="T34" fmla="*/ 3 w 268"/>
                  <a:gd name="T35" fmla="*/ 0 h 659"/>
                  <a:gd name="T36" fmla="*/ 0 w 268"/>
                  <a:gd name="T37" fmla="*/ 1 h 6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8"/>
                  <a:gd name="T58" fmla="*/ 0 h 659"/>
                  <a:gd name="T59" fmla="*/ 268 w 268"/>
                  <a:gd name="T60" fmla="*/ 659 h 65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8" h="659">
                    <a:moveTo>
                      <a:pt x="0" y="34"/>
                    </a:moveTo>
                    <a:lnTo>
                      <a:pt x="39" y="101"/>
                    </a:lnTo>
                    <a:lnTo>
                      <a:pt x="92" y="128"/>
                    </a:lnTo>
                    <a:lnTo>
                      <a:pt x="65" y="181"/>
                    </a:lnTo>
                    <a:lnTo>
                      <a:pt x="158" y="268"/>
                    </a:lnTo>
                    <a:lnTo>
                      <a:pt x="201" y="387"/>
                    </a:lnTo>
                    <a:lnTo>
                      <a:pt x="204" y="489"/>
                    </a:lnTo>
                    <a:lnTo>
                      <a:pt x="87" y="577"/>
                    </a:lnTo>
                    <a:lnTo>
                      <a:pt x="110" y="659"/>
                    </a:lnTo>
                    <a:lnTo>
                      <a:pt x="143" y="602"/>
                    </a:lnTo>
                    <a:lnTo>
                      <a:pt x="165" y="615"/>
                    </a:lnTo>
                    <a:lnTo>
                      <a:pt x="175" y="580"/>
                    </a:lnTo>
                    <a:lnTo>
                      <a:pt x="268" y="519"/>
                    </a:lnTo>
                    <a:lnTo>
                      <a:pt x="254" y="354"/>
                    </a:lnTo>
                    <a:lnTo>
                      <a:pt x="129" y="201"/>
                    </a:lnTo>
                    <a:lnTo>
                      <a:pt x="142" y="151"/>
                    </a:lnTo>
                    <a:lnTo>
                      <a:pt x="217" y="76"/>
                    </a:lnTo>
                    <a:lnTo>
                      <a:pt x="115" y="0"/>
                    </a:lnTo>
                    <a:lnTo>
                      <a:pt x="0" y="3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9" name="Freeform 428"/>
              <p:cNvSpPr/>
              <p:nvPr/>
            </p:nvSpPr>
            <p:spPr bwMode="auto">
              <a:xfrm>
                <a:off x="2219" y="2842"/>
                <a:ext cx="105" cy="83"/>
              </a:xfrm>
              <a:custGeom>
                <a:avLst/>
                <a:gdLst>
                  <a:gd name="T0" fmla="*/ 0 w 369"/>
                  <a:gd name="T1" fmla="*/ 7 h 289"/>
                  <a:gd name="T2" fmla="*/ 2 w 369"/>
                  <a:gd name="T3" fmla="*/ 5 h 289"/>
                  <a:gd name="T4" fmla="*/ 2 w 369"/>
                  <a:gd name="T5" fmla="*/ 5 h 289"/>
                  <a:gd name="T6" fmla="*/ 3 w 369"/>
                  <a:gd name="T7" fmla="*/ 4 h 289"/>
                  <a:gd name="T8" fmla="*/ 5 w 369"/>
                  <a:gd name="T9" fmla="*/ 1 h 289"/>
                  <a:gd name="T10" fmla="*/ 8 w 369"/>
                  <a:gd name="T11" fmla="*/ 0 h 289"/>
                  <a:gd name="T12" fmla="*/ 9 w 369"/>
                  <a:gd name="T13" fmla="*/ 3 h 289"/>
                  <a:gd name="T14" fmla="*/ 8 w 369"/>
                  <a:gd name="T15" fmla="*/ 4 h 289"/>
                  <a:gd name="T16" fmla="*/ 5 w 369"/>
                  <a:gd name="T17" fmla="*/ 5 h 289"/>
                  <a:gd name="T18" fmla="*/ 0 w 369"/>
                  <a:gd name="T19" fmla="*/ 7 h 2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9"/>
                  <a:gd name="T31" fmla="*/ 0 h 289"/>
                  <a:gd name="T32" fmla="*/ 369 w 369"/>
                  <a:gd name="T33" fmla="*/ 289 h 2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9" h="289">
                    <a:moveTo>
                      <a:pt x="0" y="289"/>
                    </a:moveTo>
                    <a:lnTo>
                      <a:pt x="96" y="225"/>
                    </a:lnTo>
                    <a:lnTo>
                      <a:pt x="79" y="194"/>
                    </a:lnTo>
                    <a:lnTo>
                      <a:pt x="108" y="157"/>
                    </a:lnTo>
                    <a:lnTo>
                      <a:pt x="207" y="33"/>
                    </a:lnTo>
                    <a:lnTo>
                      <a:pt x="329" y="0"/>
                    </a:lnTo>
                    <a:lnTo>
                      <a:pt x="369" y="113"/>
                    </a:lnTo>
                    <a:lnTo>
                      <a:pt x="336" y="157"/>
                    </a:lnTo>
                    <a:lnTo>
                      <a:pt x="197" y="232"/>
                    </a:lnTo>
                    <a:lnTo>
                      <a:pt x="0" y="28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0" name="Freeform 429"/>
              <p:cNvSpPr/>
              <p:nvPr/>
            </p:nvSpPr>
            <p:spPr bwMode="auto">
              <a:xfrm>
                <a:off x="2211" y="2864"/>
                <a:ext cx="39" cy="61"/>
              </a:xfrm>
              <a:custGeom>
                <a:avLst/>
                <a:gdLst>
                  <a:gd name="T0" fmla="*/ 0 w 137"/>
                  <a:gd name="T1" fmla="*/ 1 h 211"/>
                  <a:gd name="T2" fmla="*/ 1 w 137"/>
                  <a:gd name="T3" fmla="*/ 5 h 211"/>
                  <a:gd name="T4" fmla="*/ 3 w 137"/>
                  <a:gd name="T5" fmla="*/ 3 h 211"/>
                  <a:gd name="T6" fmla="*/ 3 w 137"/>
                  <a:gd name="T7" fmla="*/ 3 h 211"/>
                  <a:gd name="T8" fmla="*/ 3 w 137"/>
                  <a:gd name="T9" fmla="*/ 2 h 211"/>
                  <a:gd name="T10" fmla="*/ 3 w 137"/>
                  <a:gd name="T11" fmla="*/ 1 h 211"/>
                  <a:gd name="T12" fmla="*/ 1 w 137"/>
                  <a:gd name="T13" fmla="*/ 0 h 211"/>
                  <a:gd name="T14" fmla="*/ 0 w 137"/>
                  <a:gd name="T15" fmla="*/ 1 h 211"/>
                  <a:gd name="T16" fmla="*/ 0 60000 65536"/>
                  <a:gd name="T17" fmla="*/ 0 60000 65536"/>
                  <a:gd name="T18" fmla="*/ 0 60000 65536"/>
                  <a:gd name="T19" fmla="*/ 0 60000 65536"/>
                  <a:gd name="T20" fmla="*/ 0 60000 65536"/>
                  <a:gd name="T21" fmla="*/ 0 60000 65536"/>
                  <a:gd name="T22" fmla="*/ 0 60000 65536"/>
                  <a:gd name="T23" fmla="*/ 0 60000 65536"/>
                  <a:gd name="T24" fmla="*/ 0 w 137"/>
                  <a:gd name="T25" fmla="*/ 0 h 211"/>
                  <a:gd name="T26" fmla="*/ 137 w 137"/>
                  <a:gd name="T27" fmla="*/ 211 h 2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7" h="211">
                    <a:moveTo>
                      <a:pt x="0" y="42"/>
                    </a:moveTo>
                    <a:lnTo>
                      <a:pt x="29" y="211"/>
                    </a:lnTo>
                    <a:lnTo>
                      <a:pt x="125" y="147"/>
                    </a:lnTo>
                    <a:lnTo>
                      <a:pt x="108" y="116"/>
                    </a:lnTo>
                    <a:lnTo>
                      <a:pt x="137" y="79"/>
                    </a:lnTo>
                    <a:lnTo>
                      <a:pt x="137" y="32"/>
                    </a:lnTo>
                    <a:lnTo>
                      <a:pt x="67" y="0"/>
                    </a:lnTo>
                    <a:lnTo>
                      <a:pt x="0" y="4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1" name="Freeform 430"/>
              <p:cNvSpPr/>
              <p:nvPr/>
            </p:nvSpPr>
            <p:spPr bwMode="auto">
              <a:xfrm>
                <a:off x="1896" y="2448"/>
                <a:ext cx="102" cy="92"/>
              </a:xfrm>
              <a:custGeom>
                <a:avLst/>
                <a:gdLst>
                  <a:gd name="T0" fmla="*/ 0 w 356"/>
                  <a:gd name="T1" fmla="*/ 2 h 323"/>
                  <a:gd name="T2" fmla="*/ 0 w 356"/>
                  <a:gd name="T3" fmla="*/ 1 h 323"/>
                  <a:gd name="T4" fmla="*/ 2 w 356"/>
                  <a:gd name="T5" fmla="*/ 0 h 323"/>
                  <a:gd name="T6" fmla="*/ 4 w 356"/>
                  <a:gd name="T7" fmla="*/ 1 h 323"/>
                  <a:gd name="T8" fmla="*/ 6 w 356"/>
                  <a:gd name="T9" fmla="*/ 1 h 323"/>
                  <a:gd name="T10" fmla="*/ 8 w 356"/>
                  <a:gd name="T11" fmla="*/ 3 h 323"/>
                  <a:gd name="T12" fmla="*/ 8 w 356"/>
                  <a:gd name="T13" fmla="*/ 6 h 323"/>
                  <a:gd name="T14" fmla="*/ 8 w 356"/>
                  <a:gd name="T15" fmla="*/ 7 h 323"/>
                  <a:gd name="T16" fmla="*/ 7 w 356"/>
                  <a:gd name="T17" fmla="*/ 7 h 323"/>
                  <a:gd name="T18" fmla="*/ 6 w 356"/>
                  <a:gd name="T19" fmla="*/ 5 h 323"/>
                  <a:gd name="T20" fmla="*/ 5 w 356"/>
                  <a:gd name="T21" fmla="*/ 6 h 323"/>
                  <a:gd name="T22" fmla="*/ 2 w 356"/>
                  <a:gd name="T23" fmla="*/ 4 h 323"/>
                  <a:gd name="T24" fmla="*/ 1 w 356"/>
                  <a:gd name="T25" fmla="*/ 2 h 323"/>
                  <a:gd name="T26" fmla="*/ 0 w 356"/>
                  <a:gd name="T27" fmla="*/ 3 h 323"/>
                  <a:gd name="T28" fmla="*/ 0 w 356"/>
                  <a:gd name="T29" fmla="*/ 2 h 3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6"/>
                  <a:gd name="T46" fmla="*/ 0 h 323"/>
                  <a:gd name="T47" fmla="*/ 356 w 356"/>
                  <a:gd name="T48" fmla="*/ 323 h 3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6" h="323">
                    <a:moveTo>
                      <a:pt x="0" y="76"/>
                    </a:moveTo>
                    <a:lnTo>
                      <a:pt x="0" y="23"/>
                    </a:lnTo>
                    <a:lnTo>
                      <a:pt x="91" y="0"/>
                    </a:lnTo>
                    <a:lnTo>
                      <a:pt x="164" y="64"/>
                    </a:lnTo>
                    <a:lnTo>
                      <a:pt x="245" y="46"/>
                    </a:lnTo>
                    <a:lnTo>
                      <a:pt x="345" y="146"/>
                    </a:lnTo>
                    <a:lnTo>
                      <a:pt x="332" y="253"/>
                    </a:lnTo>
                    <a:lnTo>
                      <a:pt x="356" y="299"/>
                    </a:lnTo>
                    <a:lnTo>
                      <a:pt x="281" y="323"/>
                    </a:lnTo>
                    <a:lnTo>
                      <a:pt x="243" y="235"/>
                    </a:lnTo>
                    <a:lnTo>
                      <a:pt x="211" y="272"/>
                    </a:lnTo>
                    <a:lnTo>
                      <a:pt x="91" y="183"/>
                    </a:lnTo>
                    <a:lnTo>
                      <a:pt x="33" y="89"/>
                    </a:lnTo>
                    <a:lnTo>
                      <a:pt x="2" y="110"/>
                    </a:lnTo>
                    <a:lnTo>
                      <a:pt x="0" y="7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2" name="Freeform 431"/>
              <p:cNvSpPr/>
              <p:nvPr/>
            </p:nvSpPr>
            <p:spPr bwMode="auto">
              <a:xfrm>
                <a:off x="1872" y="3156"/>
                <a:ext cx="139" cy="157"/>
              </a:xfrm>
              <a:custGeom>
                <a:avLst/>
                <a:gdLst>
                  <a:gd name="T0" fmla="*/ 0 w 485"/>
                  <a:gd name="T1" fmla="*/ 12 h 550"/>
                  <a:gd name="T2" fmla="*/ 1 w 485"/>
                  <a:gd name="T3" fmla="*/ 12 h 550"/>
                  <a:gd name="T4" fmla="*/ 9 w 485"/>
                  <a:gd name="T5" fmla="*/ 13 h 550"/>
                  <a:gd name="T6" fmla="*/ 11 w 485"/>
                  <a:gd name="T7" fmla="*/ 12 h 550"/>
                  <a:gd name="T8" fmla="*/ 9 w 485"/>
                  <a:gd name="T9" fmla="*/ 11 h 550"/>
                  <a:gd name="T10" fmla="*/ 9 w 485"/>
                  <a:gd name="T11" fmla="*/ 7 h 550"/>
                  <a:gd name="T12" fmla="*/ 11 w 485"/>
                  <a:gd name="T13" fmla="*/ 7 h 550"/>
                  <a:gd name="T14" fmla="*/ 11 w 485"/>
                  <a:gd name="T15" fmla="*/ 5 h 550"/>
                  <a:gd name="T16" fmla="*/ 9 w 485"/>
                  <a:gd name="T17" fmla="*/ 5 h 550"/>
                  <a:gd name="T18" fmla="*/ 9 w 485"/>
                  <a:gd name="T19" fmla="*/ 2 h 550"/>
                  <a:gd name="T20" fmla="*/ 8 w 485"/>
                  <a:gd name="T21" fmla="*/ 1 h 550"/>
                  <a:gd name="T22" fmla="*/ 7 w 485"/>
                  <a:gd name="T23" fmla="*/ 1 h 550"/>
                  <a:gd name="T24" fmla="*/ 7 w 485"/>
                  <a:gd name="T25" fmla="*/ 2 h 550"/>
                  <a:gd name="T26" fmla="*/ 5 w 485"/>
                  <a:gd name="T27" fmla="*/ 2 h 550"/>
                  <a:gd name="T28" fmla="*/ 4 w 485"/>
                  <a:gd name="T29" fmla="*/ 0 h 550"/>
                  <a:gd name="T30" fmla="*/ 1 w 485"/>
                  <a:gd name="T31" fmla="*/ 1 h 550"/>
                  <a:gd name="T32" fmla="*/ 2 w 485"/>
                  <a:gd name="T33" fmla="*/ 5 h 550"/>
                  <a:gd name="T34" fmla="*/ 0 w 485"/>
                  <a:gd name="T35" fmla="*/ 12 h 5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5"/>
                  <a:gd name="T55" fmla="*/ 0 h 550"/>
                  <a:gd name="T56" fmla="*/ 485 w 485"/>
                  <a:gd name="T57" fmla="*/ 550 h 5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5" h="550">
                    <a:moveTo>
                      <a:pt x="0" y="515"/>
                    </a:moveTo>
                    <a:lnTo>
                      <a:pt x="63" y="496"/>
                    </a:lnTo>
                    <a:lnTo>
                      <a:pt x="376" y="550"/>
                    </a:lnTo>
                    <a:lnTo>
                      <a:pt x="446" y="524"/>
                    </a:lnTo>
                    <a:lnTo>
                      <a:pt x="399" y="484"/>
                    </a:lnTo>
                    <a:lnTo>
                      <a:pt x="399" y="317"/>
                    </a:lnTo>
                    <a:lnTo>
                      <a:pt x="485" y="317"/>
                    </a:lnTo>
                    <a:lnTo>
                      <a:pt x="480" y="227"/>
                    </a:lnTo>
                    <a:lnTo>
                      <a:pt x="399" y="236"/>
                    </a:lnTo>
                    <a:lnTo>
                      <a:pt x="391" y="77"/>
                    </a:lnTo>
                    <a:lnTo>
                      <a:pt x="356" y="48"/>
                    </a:lnTo>
                    <a:lnTo>
                      <a:pt x="305" y="52"/>
                    </a:lnTo>
                    <a:lnTo>
                      <a:pt x="294" y="96"/>
                    </a:lnTo>
                    <a:lnTo>
                      <a:pt x="239" y="102"/>
                    </a:lnTo>
                    <a:lnTo>
                      <a:pt x="179" y="0"/>
                    </a:lnTo>
                    <a:lnTo>
                      <a:pt x="34" y="23"/>
                    </a:lnTo>
                    <a:lnTo>
                      <a:pt x="86" y="231"/>
                    </a:lnTo>
                    <a:lnTo>
                      <a:pt x="0" y="51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3" name="Freeform 432"/>
              <p:cNvSpPr/>
              <p:nvPr/>
            </p:nvSpPr>
            <p:spPr bwMode="auto">
              <a:xfrm>
                <a:off x="1876" y="3143"/>
                <a:ext cx="11" cy="13"/>
              </a:xfrm>
              <a:custGeom>
                <a:avLst/>
                <a:gdLst>
                  <a:gd name="T0" fmla="*/ 0 w 40"/>
                  <a:gd name="T1" fmla="*/ 0 h 48"/>
                  <a:gd name="T2" fmla="*/ 0 w 40"/>
                  <a:gd name="T3" fmla="*/ 1 h 48"/>
                  <a:gd name="T4" fmla="*/ 1 w 40"/>
                  <a:gd name="T5" fmla="*/ 0 h 48"/>
                  <a:gd name="T6" fmla="*/ 0 w 40"/>
                  <a:gd name="T7" fmla="*/ 0 h 48"/>
                  <a:gd name="T8" fmla="*/ 0 60000 65536"/>
                  <a:gd name="T9" fmla="*/ 0 60000 65536"/>
                  <a:gd name="T10" fmla="*/ 0 60000 65536"/>
                  <a:gd name="T11" fmla="*/ 0 60000 65536"/>
                  <a:gd name="T12" fmla="*/ 0 w 40"/>
                  <a:gd name="T13" fmla="*/ 0 h 48"/>
                  <a:gd name="T14" fmla="*/ 40 w 40"/>
                  <a:gd name="T15" fmla="*/ 48 h 48"/>
                </a:gdLst>
                <a:ahLst/>
                <a:cxnLst>
                  <a:cxn ang="T8">
                    <a:pos x="T0" y="T1"/>
                  </a:cxn>
                  <a:cxn ang="T9">
                    <a:pos x="T2" y="T3"/>
                  </a:cxn>
                  <a:cxn ang="T10">
                    <a:pos x="T4" y="T5"/>
                  </a:cxn>
                  <a:cxn ang="T11">
                    <a:pos x="T6" y="T7"/>
                  </a:cxn>
                </a:cxnLst>
                <a:rect l="T12" t="T13" r="T14" b="T15"/>
                <a:pathLst>
                  <a:path w="40" h="48">
                    <a:moveTo>
                      <a:pt x="0" y="16"/>
                    </a:moveTo>
                    <a:lnTo>
                      <a:pt x="18" y="48"/>
                    </a:lnTo>
                    <a:lnTo>
                      <a:pt x="40" y="0"/>
                    </a:lnTo>
                    <a:lnTo>
                      <a:pt x="0" y="1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4" name="Freeform 433"/>
              <p:cNvSpPr/>
              <p:nvPr/>
            </p:nvSpPr>
            <p:spPr bwMode="auto">
              <a:xfrm>
                <a:off x="1963" y="3309"/>
                <a:ext cx="102" cy="117"/>
              </a:xfrm>
              <a:custGeom>
                <a:avLst/>
                <a:gdLst>
                  <a:gd name="T0" fmla="*/ 0 w 358"/>
                  <a:gd name="T1" fmla="*/ 7 h 410"/>
                  <a:gd name="T2" fmla="*/ 0 w 358"/>
                  <a:gd name="T3" fmla="*/ 5 h 410"/>
                  <a:gd name="T4" fmla="*/ 1 w 358"/>
                  <a:gd name="T5" fmla="*/ 4 h 410"/>
                  <a:gd name="T6" fmla="*/ 1 w 358"/>
                  <a:gd name="T7" fmla="*/ 1 h 410"/>
                  <a:gd name="T8" fmla="*/ 3 w 358"/>
                  <a:gd name="T9" fmla="*/ 0 h 410"/>
                  <a:gd name="T10" fmla="*/ 3 w 358"/>
                  <a:gd name="T11" fmla="*/ 1 h 410"/>
                  <a:gd name="T12" fmla="*/ 5 w 358"/>
                  <a:gd name="T13" fmla="*/ 0 h 410"/>
                  <a:gd name="T14" fmla="*/ 7 w 358"/>
                  <a:gd name="T15" fmla="*/ 4 h 410"/>
                  <a:gd name="T16" fmla="*/ 8 w 358"/>
                  <a:gd name="T17" fmla="*/ 5 h 410"/>
                  <a:gd name="T18" fmla="*/ 5 w 358"/>
                  <a:gd name="T19" fmla="*/ 8 h 410"/>
                  <a:gd name="T20" fmla="*/ 3 w 358"/>
                  <a:gd name="T21" fmla="*/ 8 h 410"/>
                  <a:gd name="T22" fmla="*/ 2 w 358"/>
                  <a:gd name="T23" fmla="*/ 9 h 410"/>
                  <a:gd name="T24" fmla="*/ 1 w 358"/>
                  <a:gd name="T25" fmla="*/ 9 h 410"/>
                  <a:gd name="T26" fmla="*/ 1 w 358"/>
                  <a:gd name="T27" fmla="*/ 8 h 410"/>
                  <a:gd name="T28" fmla="*/ 0 w 358"/>
                  <a:gd name="T29" fmla="*/ 7 h 4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8"/>
                  <a:gd name="T46" fmla="*/ 0 h 410"/>
                  <a:gd name="T47" fmla="*/ 358 w 358"/>
                  <a:gd name="T48" fmla="*/ 410 h 4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8" h="410">
                    <a:moveTo>
                      <a:pt x="0" y="314"/>
                    </a:moveTo>
                    <a:lnTo>
                      <a:pt x="0" y="191"/>
                    </a:lnTo>
                    <a:lnTo>
                      <a:pt x="40" y="188"/>
                    </a:lnTo>
                    <a:lnTo>
                      <a:pt x="40" y="30"/>
                    </a:lnTo>
                    <a:lnTo>
                      <a:pt x="115" y="12"/>
                    </a:lnTo>
                    <a:lnTo>
                      <a:pt x="138" y="39"/>
                    </a:lnTo>
                    <a:lnTo>
                      <a:pt x="201" y="0"/>
                    </a:lnTo>
                    <a:lnTo>
                      <a:pt x="306" y="169"/>
                    </a:lnTo>
                    <a:lnTo>
                      <a:pt x="358" y="197"/>
                    </a:lnTo>
                    <a:lnTo>
                      <a:pt x="216" y="353"/>
                    </a:lnTo>
                    <a:lnTo>
                      <a:pt x="131" y="353"/>
                    </a:lnTo>
                    <a:lnTo>
                      <a:pt x="86" y="408"/>
                    </a:lnTo>
                    <a:lnTo>
                      <a:pt x="32" y="410"/>
                    </a:lnTo>
                    <a:lnTo>
                      <a:pt x="34" y="360"/>
                    </a:lnTo>
                    <a:lnTo>
                      <a:pt x="0" y="31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5" name="Freeform 434"/>
              <p:cNvSpPr/>
              <p:nvPr/>
            </p:nvSpPr>
            <p:spPr bwMode="auto">
              <a:xfrm>
                <a:off x="2063" y="3113"/>
                <a:ext cx="19" cy="24"/>
              </a:xfrm>
              <a:custGeom>
                <a:avLst/>
                <a:gdLst>
                  <a:gd name="T0" fmla="*/ 0 w 69"/>
                  <a:gd name="T1" fmla="*/ 0 h 88"/>
                  <a:gd name="T2" fmla="*/ 0 w 69"/>
                  <a:gd name="T3" fmla="*/ 1 h 88"/>
                  <a:gd name="T4" fmla="*/ 1 w 69"/>
                  <a:gd name="T5" fmla="*/ 2 h 88"/>
                  <a:gd name="T6" fmla="*/ 1 w 69"/>
                  <a:gd name="T7" fmla="*/ 1 h 88"/>
                  <a:gd name="T8" fmla="*/ 1 w 69"/>
                  <a:gd name="T9" fmla="*/ 0 h 88"/>
                  <a:gd name="T10" fmla="*/ 0 w 69"/>
                  <a:gd name="T11" fmla="*/ 0 h 88"/>
                  <a:gd name="T12" fmla="*/ 0 60000 65536"/>
                  <a:gd name="T13" fmla="*/ 0 60000 65536"/>
                  <a:gd name="T14" fmla="*/ 0 60000 65536"/>
                  <a:gd name="T15" fmla="*/ 0 60000 65536"/>
                  <a:gd name="T16" fmla="*/ 0 60000 65536"/>
                  <a:gd name="T17" fmla="*/ 0 60000 65536"/>
                  <a:gd name="T18" fmla="*/ 0 w 69"/>
                  <a:gd name="T19" fmla="*/ 0 h 88"/>
                  <a:gd name="T20" fmla="*/ 69 w 69"/>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69" h="88">
                    <a:moveTo>
                      <a:pt x="0" y="15"/>
                    </a:moveTo>
                    <a:lnTo>
                      <a:pt x="8" y="45"/>
                    </a:lnTo>
                    <a:lnTo>
                      <a:pt x="27" y="88"/>
                    </a:lnTo>
                    <a:lnTo>
                      <a:pt x="69" y="35"/>
                    </a:lnTo>
                    <a:lnTo>
                      <a:pt x="66" y="0"/>
                    </a:lnTo>
                    <a:lnTo>
                      <a:pt x="0" y="1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6" name="Freeform 435"/>
              <p:cNvSpPr/>
              <p:nvPr/>
            </p:nvSpPr>
            <p:spPr bwMode="auto">
              <a:xfrm>
                <a:off x="1839" y="2923"/>
                <a:ext cx="83" cy="142"/>
              </a:xfrm>
              <a:custGeom>
                <a:avLst/>
                <a:gdLst>
                  <a:gd name="T0" fmla="*/ 0 w 294"/>
                  <a:gd name="T1" fmla="*/ 8 h 498"/>
                  <a:gd name="T2" fmla="*/ 1 w 294"/>
                  <a:gd name="T3" fmla="*/ 6 h 498"/>
                  <a:gd name="T4" fmla="*/ 3 w 294"/>
                  <a:gd name="T5" fmla="*/ 6 h 498"/>
                  <a:gd name="T6" fmla="*/ 4 w 294"/>
                  <a:gd name="T7" fmla="*/ 2 h 498"/>
                  <a:gd name="T8" fmla="*/ 5 w 294"/>
                  <a:gd name="T9" fmla="*/ 1 h 498"/>
                  <a:gd name="T10" fmla="*/ 5 w 294"/>
                  <a:gd name="T11" fmla="*/ 0 h 498"/>
                  <a:gd name="T12" fmla="*/ 5 w 294"/>
                  <a:gd name="T13" fmla="*/ 0 h 498"/>
                  <a:gd name="T14" fmla="*/ 6 w 294"/>
                  <a:gd name="T15" fmla="*/ 3 h 498"/>
                  <a:gd name="T16" fmla="*/ 5 w 294"/>
                  <a:gd name="T17" fmla="*/ 3 h 498"/>
                  <a:gd name="T18" fmla="*/ 6 w 294"/>
                  <a:gd name="T19" fmla="*/ 5 h 498"/>
                  <a:gd name="T20" fmla="*/ 5 w 294"/>
                  <a:gd name="T21" fmla="*/ 8 h 498"/>
                  <a:gd name="T22" fmla="*/ 6 w 294"/>
                  <a:gd name="T23" fmla="*/ 10 h 498"/>
                  <a:gd name="T24" fmla="*/ 6 w 294"/>
                  <a:gd name="T25" fmla="*/ 11 h 498"/>
                  <a:gd name="T26" fmla="*/ 4 w 294"/>
                  <a:gd name="T27" fmla="*/ 11 h 498"/>
                  <a:gd name="T28" fmla="*/ 2 w 294"/>
                  <a:gd name="T29" fmla="*/ 11 h 498"/>
                  <a:gd name="T30" fmla="*/ 1 w 294"/>
                  <a:gd name="T31" fmla="*/ 11 h 498"/>
                  <a:gd name="T32" fmla="*/ 1 w 294"/>
                  <a:gd name="T33" fmla="*/ 9 h 498"/>
                  <a:gd name="T34" fmla="*/ 0 w 294"/>
                  <a:gd name="T35" fmla="*/ 8 h 4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4"/>
                  <a:gd name="T55" fmla="*/ 0 h 498"/>
                  <a:gd name="T56" fmla="*/ 294 w 294"/>
                  <a:gd name="T57" fmla="*/ 498 h 4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4" h="498">
                    <a:moveTo>
                      <a:pt x="0" y="355"/>
                    </a:moveTo>
                    <a:lnTo>
                      <a:pt x="38" y="263"/>
                    </a:lnTo>
                    <a:lnTo>
                      <a:pt x="109" y="275"/>
                    </a:lnTo>
                    <a:lnTo>
                      <a:pt x="192" y="81"/>
                    </a:lnTo>
                    <a:lnTo>
                      <a:pt x="231" y="46"/>
                    </a:lnTo>
                    <a:lnTo>
                      <a:pt x="214" y="8"/>
                    </a:lnTo>
                    <a:lnTo>
                      <a:pt x="235" y="0"/>
                    </a:lnTo>
                    <a:lnTo>
                      <a:pt x="260" y="123"/>
                    </a:lnTo>
                    <a:lnTo>
                      <a:pt x="214" y="142"/>
                    </a:lnTo>
                    <a:lnTo>
                      <a:pt x="265" y="238"/>
                    </a:lnTo>
                    <a:lnTo>
                      <a:pt x="235" y="352"/>
                    </a:lnTo>
                    <a:lnTo>
                      <a:pt x="294" y="437"/>
                    </a:lnTo>
                    <a:lnTo>
                      <a:pt x="287" y="498"/>
                    </a:lnTo>
                    <a:lnTo>
                      <a:pt x="185" y="471"/>
                    </a:lnTo>
                    <a:lnTo>
                      <a:pt x="107" y="470"/>
                    </a:lnTo>
                    <a:lnTo>
                      <a:pt x="45" y="471"/>
                    </a:lnTo>
                    <a:lnTo>
                      <a:pt x="44" y="388"/>
                    </a:lnTo>
                    <a:lnTo>
                      <a:pt x="0" y="35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7" name="Freeform 436"/>
              <p:cNvSpPr/>
              <p:nvPr/>
            </p:nvSpPr>
            <p:spPr bwMode="auto">
              <a:xfrm>
                <a:off x="1905" y="2945"/>
                <a:ext cx="142" cy="102"/>
              </a:xfrm>
              <a:custGeom>
                <a:avLst/>
                <a:gdLst>
                  <a:gd name="T0" fmla="*/ 0 w 497"/>
                  <a:gd name="T1" fmla="*/ 6 h 357"/>
                  <a:gd name="T2" fmla="*/ 1 w 497"/>
                  <a:gd name="T3" fmla="*/ 4 h 357"/>
                  <a:gd name="T4" fmla="*/ 4 w 497"/>
                  <a:gd name="T5" fmla="*/ 3 h 357"/>
                  <a:gd name="T6" fmla="*/ 4 w 497"/>
                  <a:gd name="T7" fmla="*/ 2 h 357"/>
                  <a:gd name="T8" fmla="*/ 5 w 497"/>
                  <a:gd name="T9" fmla="*/ 2 h 357"/>
                  <a:gd name="T10" fmla="*/ 7 w 497"/>
                  <a:gd name="T11" fmla="*/ 0 h 357"/>
                  <a:gd name="T12" fmla="*/ 8 w 497"/>
                  <a:gd name="T13" fmla="*/ 2 h 357"/>
                  <a:gd name="T14" fmla="*/ 9 w 497"/>
                  <a:gd name="T15" fmla="*/ 3 h 357"/>
                  <a:gd name="T16" fmla="*/ 12 w 497"/>
                  <a:gd name="T17" fmla="*/ 6 h 357"/>
                  <a:gd name="T18" fmla="*/ 6 w 497"/>
                  <a:gd name="T19" fmla="*/ 7 h 357"/>
                  <a:gd name="T20" fmla="*/ 4 w 497"/>
                  <a:gd name="T21" fmla="*/ 6 h 357"/>
                  <a:gd name="T22" fmla="*/ 4 w 497"/>
                  <a:gd name="T23" fmla="*/ 7 h 357"/>
                  <a:gd name="T24" fmla="*/ 2 w 497"/>
                  <a:gd name="T25" fmla="*/ 7 h 357"/>
                  <a:gd name="T26" fmla="*/ 1 w 497"/>
                  <a:gd name="T27" fmla="*/ 8 h 357"/>
                  <a:gd name="T28" fmla="*/ 0 w 497"/>
                  <a:gd name="T29" fmla="*/ 6 h 35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7"/>
                  <a:gd name="T46" fmla="*/ 0 h 357"/>
                  <a:gd name="T47" fmla="*/ 497 w 497"/>
                  <a:gd name="T48" fmla="*/ 357 h 35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7" h="357">
                    <a:moveTo>
                      <a:pt x="0" y="272"/>
                    </a:moveTo>
                    <a:lnTo>
                      <a:pt x="30" y="158"/>
                    </a:lnTo>
                    <a:lnTo>
                      <a:pt x="157" y="130"/>
                    </a:lnTo>
                    <a:lnTo>
                      <a:pt x="169" y="93"/>
                    </a:lnTo>
                    <a:lnTo>
                      <a:pt x="226" y="80"/>
                    </a:lnTo>
                    <a:lnTo>
                      <a:pt x="311" y="0"/>
                    </a:lnTo>
                    <a:lnTo>
                      <a:pt x="340" y="95"/>
                    </a:lnTo>
                    <a:lnTo>
                      <a:pt x="405" y="130"/>
                    </a:lnTo>
                    <a:lnTo>
                      <a:pt x="497" y="258"/>
                    </a:lnTo>
                    <a:lnTo>
                      <a:pt x="266" y="295"/>
                    </a:lnTo>
                    <a:lnTo>
                      <a:pt x="188" y="258"/>
                    </a:lnTo>
                    <a:lnTo>
                      <a:pt x="157" y="322"/>
                    </a:lnTo>
                    <a:lnTo>
                      <a:pt x="91" y="322"/>
                    </a:lnTo>
                    <a:lnTo>
                      <a:pt x="59" y="357"/>
                    </a:lnTo>
                    <a:lnTo>
                      <a:pt x="0" y="27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8" name="Freeform 437"/>
              <p:cNvSpPr/>
              <p:nvPr/>
            </p:nvSpPr>
            <p:spPr bwMode="auto">
              <a:xfrm>
                <a:off x="1893" y="2784"/>
                <a:ext cx="116" cy="206"/>
              </a:xfrm>
              <a:custGeom>
                <a:avLst/>
                <a:gdLst>
                  <a:gd name="T0" fmla="*/ 0 w 409"/>
                  <a:gd name="T1" fmla="*/ 10 h 725"/>
                  <a:gd name="T2" fmla="*/ 1 w 409"/>
                  <a:gd name="T3" fmla="*/ 10 h 725"/>
                  <a:gd name="T4" fmla="*/ 1 w 409"/>
                  <a:gd name="T5" fmla="*/ 11 h 725"/>
                  <a:gd name="T6" fmla="*/ 2 w 409"/>
                  <a:gd name="T7" fmla="*/ 14 h 725"/>
                  <a:gd name="T8" fmla="*/ 1 w 409"/>
                  <a:gd name="T9" fmla="*/ 14 h 725"/>
                  <a:gd name="T10" fmla="*/ 2 w 409"/>
                  <a:gd name="T11" fmla="*/ 17 h 725"/>
                  <a:gd name="T12" fmla="*/ 5 w 409"/>
                  <a:gd name="T13" fmla="*/ 16 h 725"/>
                  <a:gd name="T14" fmla="*/ 5 w 409"/>
                  <a:gd name="T15" fmla="*/ 15 h 725"/>
                  <a:gd name="T16" fmla="*/ 6 w 409"/>
                  <a:gd name="T17" fmla="*/ 15 h 725"/>
                  <a:gd name="T18" fmla="*/ 8 w 409"/>
                  <a:gd name="T19" fmla="*/ 13 h 725"/>
                  <a:gd name="T20" fmla="*/ 7 w 409"/>
                  <a:gd name="T21" fmla="*/ 11 h 725"/>
                  <a:gd name="T22" fmla="*/ 8 w 409"/>
                  <a:gd name="T23" fmla="*/ 8 h 725"/>
                  <a:gd name="T24" fmla="*/ 9 w 409"/>
                  <a:gd name="T25" fmla="*/ 8 h 725"/>
                  <a:gd name="T26" fmla="*/ 9 w 409"/>
                  <a:gd name="T27" fmla="*/ 4 h 725"/>
                  <a:gd name="T28" fmla="*/ 2 w 409"/>
                  <a:gd name="T29" fmla="*/ 0 h 725"/>
                  <a:gd name="T30" fmla="*/ 1 w 409"/>
                  <a:gd name="T31" fmla="*/ 1 h 725"/>
                  <a:gd name="T32" fmla="*/ 1 w 409"/>
                  <a:gd name="T33" fmla="*/ 2 h 725"/>
                  <a:gd name="T34" fmla="*/ 2 w 409"/>
                  <a:gd name="T35" fmla="*/ 3 h 725"/>
                  <a:gd name="T36" fmla="*/ 2 w 409"/>
                  <a:gd name="T37" fmla="*/ 7 h 725"/>
                  <a:gd name="T38" fmla="*/ 0 w 409"/>
                  <a:gd name="T39" fmla="*/ 10 h 7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9"/>
                  <a:gd name="T61" fmla="*/ 0 h 725"/>
                  <a:gd name="T62" fmla="*/ 409 w 409"/>
                  <a:gd name="T63" fmla="*/ 725 h 72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9" h="725">
                    <a:moveTo>
                      <a:pt x="0" y="416"/>
                    </a:moveTo>
                    <a:lnTo>
                      <a:pt x="60" y="451"/>
                    </a:lnTo>
                    <a:lnTo>
                      <a:pt x="45" y="487"/>
                    </a:lnTo>
                    <a:lnTo>
                      <a:pt x="70" y="610"/>
                    </a:lnTo>
                    <a:lnTo>
                      <a:pt x="24" y="629"/>
                    </a:lnTo>
                    <a:lnTo>
                      <a:pt x="75" y="725"/>
                    </a:lnTo>
                    <a:lnTo>
                      <a:pt x="202" y="697"/>
                    </a:lnTo>
                    <a:lnTo>
                      <a:pt x="214" y="660"/>
                    </a:lnTo>
                    <a:lnTo>
                      <a:pt x="271" y="647"/>
                    </a:lnTo>
                    <a:lnTo>
                      <a:pt x="356" y="567"/>
                    </a:lnTo>
                    <a:lnTo>
                      <a:pt x="326" y="478"/>
                    </a:lnTo>
                    <a:lnTo>
                      <a:pt x="368" y="361"/>
                    </a:lnTo>
                    <a:lnTo>
                      <a:pt x="408" y="352"/>
                    </a:lnTo>
                    <a:lnTo>
                      <a:pt x="409" y="184"/>
                    </a:lnTo>
                    <a:lnTo>
                      <a:pt x="103" y="0"/>
                    </a:lnTo>
                    <a:lnTo>
                      <a:pt x="64" y="21"/>
                    </a:lnTo>
                    <a:lnTo>
                      <a:pt x="64" y="90"/>
                    </a:lnTo>
                    <a:lnTo>
                      <a:pt x="103" y="140"/>
                    </a:lnTo>
                    <a:lnTo>
                      <a:pt x="75" y="298"/>
                    </a:lnTo>
                    <a:lnTo>
                      <a:pt x="0" y="41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9" name="Freeform 438"/>
              <p:cNvSpPr/>
              <p:nvPr/>
            </p:nvSpPr>
            <p:spPr bwMode="auto">
              <a:xfrm>
                <a:off x="1868" y="3037"/>
                <a:ext cx="82" cy="110"/>
              </a:xfrm>
              <a:custGeom>
                <a:avLst/>
                <a:gdLst>
                  <a:gd name="T0" fmla="*/ 0 w 289"/>
                  <a:gd name="T1" fmla="*/ 8 h 385"/>
                  <a:gd name="T2" fmla="*/ 1 w 289"/>
                  <a:gd name="T3" fmla="*/ 9 h 385"/>
                  <a:gd name="T4" fmla="*/ 2 w 289"/>
                  <a:gd name="T5" fmla="*/ 9 h 385"/>
                  <a:gd name="T6" fmla="*/ 3 w 289"/>
                  <a:gd name="T7" fmla="*/ 9 h 385"/>
                  <a:gd name="T8" fmla="*/ 4 w 289"/>
                  <a:gd name="T9" fmla="*/ 8 h 385"/>
                  <a:gd name="T10" fmla="*/ 5 w 289"/>
                  <a:gd name="T11" fmla="*/ 6 h 385"/>
                  <a:gd name="T12" fmla="*/ 6 w 289"/>
                  <a:gd name="T13" fmla="*/ 5 h 385"/>
                  <a:gd name="T14" fmla="*/ 7 w 289"/>
                  <a:gd name="T15" fmla="*/ 0 h 385"/>
                  <a:gd name="T16" fmla="*/ 5 w 289"/>
                  <a:gd name="T17" fmla="*/ 0 h 385"/>
                  <a:gd name="T18" fmla="*/ 4 w 289"/>
                  <a:gd name="T19" fmla="*/ 1 h 385"/>
                  <a:gd name="T20" fmla="*/ 4 w 289"/>
                  <a:gd name="T21" fmla="*/ 2 h 385"/>
                  <a:gd name="T22" fmla="*/ 2 w 289"/>
                  <a:gd name="T23" fmla="*/ 2 h 385"/>
                  <a:gd name="T24" fmla="*/ 2 w 289"/>
                  <a:gd name="T25" fmla="*/ 3 h 385"/>
                  <a:gd name="T26" fmla="*/ 3 w 289"/>
                  <a:gd name="T27" fmla="*/ 3 h 385"/>
                  <a:gd name="T28" fmla="*/ 3 w 289"/>
                  <a:gd name="T29" fmla="*/ 6 h 385"/>
                  <a:gd name="T30" fmla="*/ 1 w 289"/>
                  <a:gd name="T31" fmla="*/ 6 h 385"/>
                  <a:gd name="T32" fmla="*/ 0 w 289"/>
                  <a:gd name="T33" fmla="*/ 8 h 3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9"/>
                  <a:gd name="T52" fmla="*/ 0 h 385"/>
                  <a:gd name="T53" fmla="*/ 289 w 289"/>
                  <a:gd name="T54" fmla="*/ 385 h 3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9" h="385">
                    <a:moveTo>
                      <a:pt x="0" y="335"/>
                    </a:moveTo>
                    <a:lnTo>
                      <a:pt x="30" y="385"/>
                    </a:lnTo>
                    <a:lnTo>
                      <a:pt x="70" y="369"/>
                    </a:lnTo>
                    <a:lnTo>
                      <a:pt x="130" y="372"/>
                    </a:lnTo>
                    <a:lnTo>
                      <a:pt x="183" y="333"/>
                    </a:lnTo>
                    <a:lnTo>
                      <a:pt x="199" y="257"/>
                    </a:lnTo>
                    <a:lnTo>
                      <a:pt x="251" y="192"/>
                    </a:lnTo>
                    <a:lnTo>
                      <a:pt x="289" y="0"/>
                    </a:lnTo>
                    <a:lnTo>
                      <a:pt x="223" y="0"/>
                    </a:lnTo>
                    <a:lnTo>
                      <a:pt x="191" y="35"/>
                    </a:lnTo>
                    <a:lnTo>
                      <a:pt x="184" y="96"/>
                    </a:lnTo>
                    <a:lnTo>
                      <a:pt x="82" y="69"/>
                    </a:lnTo>
                    <a:lnTo>
                      <a:pt x="78" y="110"/>
                    </a:lnTo>
                    <a:lnTo>
                      <a:pt x="121" y="111"/>
                    </a:lnTo>
                    <a:lnTo>
                      <a:pt x="107" y="264"/>
                    </a:lnTo>
                    <a:lnTo>
                      <a:pt x="59" y="246"/>
                    </a:lnTo>
                    <a:lnTo>
                      <a:pt x="0" y="33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0" name="Freeform 439"/>
              <p:cNvSpPr/>
              <p:nvPr/>
            </p:nvSpPr>
            <p:spPr bwMode="auto">
              <a:xfrm>
                <a:off x="1881" y="3019"/>
                <a:ext cx="206" cy="231"/>
              </a:xfrm>
              <a:custGeom>
                <a:avLst/>
                <a:gdLst>
                  <a:gd name="T0" fmla="*/ 0 w 722"/>
                  <a:gd name="T1" fmla="*/ 11 h 811"/>
                  <a:gd name="T2" fmla="*/ 0 w 722"/>
                  <a:gd name="T3" fmla="*/ 12 h 811"/>
                  <a:gd name="T4" fmla="*/ 3 w 722"/>
                  <a:gd name="T5" fmla="*/ 11 h 811"/>
                  <a:gd name="T6" fmla="*/ 5 w 722"/>
                  <a:gd name="T7" fmla="*/ 13 h 811"/>
                  <a:gd name="T8" fmla="*/ 6 w 722"/>
                  <a:gd name="T9" fmla="*/ 13 h 811"/>
                  <a:gd name="T10" fmla="*/ 6 w 722"/>
                  <a:gd name="T11" fmla="*/ 12 h 811"/>
                  <a:gd name="T12" fmla="*/ 7 w 722"/>
                  <a:gd name="T13" fmla="*/ 12 h 811"/>
                  <a:gd name="T14" fmla="*/ 8 w 722"/>
                  <a:gd name="T15" fmla="*/ 13 h 811"/>
                  <a:gd name="T16" fmla="*/ 9 w 722"/>
                  <a:gd name="T17" fmla="*/ 17 h 811"/>
                  <a:gd name="T18" fmla="*/ 11 w 722"/>
                  <a:gd name="T19" fmla="*/ 17 h 811"/>
                  <a:gd name="T20" fmla="*/ 15 w 722"/>
                  <a:gd name="T21" fmla="*/ 19 h 811"/>
                  <a:gd name="T22" fmla="*/ 15 w 722"/>
                  <a:gd name="T23" fmla="*/ 18 h 811"/>
                  <a:gd name="T24" fmla="*/ 15 w 722"/>
                  <a:gd name="T25" fmla="*/ 17 h 811"/>
                  <a:gd name="T26" fmla="*/ 15 w 722"/>
                  <a:gd name="T27" fmla="*/ 15 h 811"/>
                  <a:gd name="T28" fmla="*/ 16 w 722"/>
                  <a:gd name="T29" fmla="*/ 14 h 811"/>
                  <a:gd name="T30" fmla="*/ 15 w 722"/>
                  <a:gd name="T31" fmla="*/ 12 h 811"/>
                  <a:gd name="T32" fmla="*/ 15 w 722"/>
                  <a:gd name="T33" fmla="*/ 9 h 811"/>
                  <a:gd name="T34" fmla="*/ 15 w 722"/>
                  <a:gd name="T35" fmla="*/ 8 h 811"/>
                  <a:gd name="T36" fmla="*/ 15 w 722"/>
                  <a:gd name="T37" fmla="*/ 7 h 811"/>
                  <a:gd name="T38" fmla="*/ 16 w 722"/>
                  <a:gd name="T39" fmla="*/ 4 h 811"/>
                  <a:gd name="T40" fmla="*/ 17 w 722"/>
                  <a:gd name="T41" fmla="*/ 3 h 811"/>
                  <a:gd name="T42" fmla="*/ 17 w 722"/>
                  <a:gd name="T43" fmla="*/ 1 h 811"/>
                  <a:gd name="T44" fmla="*/ 13 w 722"/>
                  <a:gd name="T45" fmla="*/ 0 h 811"/>
                  <a:gd name="T46" fmla="*/ 8 w 722"/>
                  <a:gd name="T47" fmla="*/ 1 h 811"/>
                  <a:gd name="T48" fmla="*/ 6 w 722"/>
                  <a:gd name="T49" fmla="*/ 0 h 811"/>
                  <a:gd name="T50" fmla="*/ 6 w 722"/>
                  <a:gd name="T51" fmla="*/ 1 h 811"/>
                  <a:gd name="T52" fmla="*/ 5 w 722"/>
                  <a:gd name="T53" fmla="*/ 6 h 811"/>
                  <a:gd name="T54" fmla="*/ 3 w 722"/>
                  <a:gd name="T55" fmla="*/ 7 h 811"/>
                  <a:gd name="T56" fmla="*/ 3 w 722"/>
                  <a:gd name="T57" fmla="*/ 9 h 811"/>
                  <a:gd name="T58" fmla="*/ 2 w 722"/>
                  <a:gd name="T59" fmla="*/ 10 h 811"/>
                  <a:gd name="T60" fmla="*/ 1 w 722"/>
                  <a:gd name="T61" fmla="*/ 10 h 811"/>
                  <a:gd name="T62" fmla="*/ 0 w 722"/>
                  <a:gd name="T63" fmla="*/ 11 h 8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22"/>
                  <a:gd name="T97" fmla="*/ 0 h 811"/>
                  <a:gd name="T98" fmla="*/ 722 w 722"/>
                  <a:gd name="T99" fmla="*/ 811 h 8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22" h="811">
                    <a:moveTo>
                      <a:pt x="0" y="481"/>
                    </a:moveTo>
                    <a:lnTo>
                      <a:pt x="1" y="504"/>
                    </a:lnTo>
                    <a:lnTo>
                      <a:pt x="146" y="481"/>
                    </a:lnTo>
                    <a:lnTo>
                      <a:pt x="206" y="583"/>
                    </a:lnTo>
                    <a:lnTo>
                      <a:pt x="261" y="577"/>
                    </a:lnTo>
                    <a:lnTo>
                      <a:pt x="272" y="533"/>
                    </a:lnTo>
                    <a:lnTo>
                      <a:pt x="323" y="529"/>
                    </a:lnTo>
                    <a:lnTo>
                      <a:pt x="358" y="558"/>
                    </a:lnTo>
                    <a:lnTo>
                      <a:pt x="366" y="717"/>
                    </a:lnTo>
                    <a:lnTo>
                      <a:pt x="447" y="708"/>
                    </a:lnTo>
                    <a:lnTo>
                      <a:pt x="666" y="811"/>
                    </a:lnTo>
                    <a:lnTo>
                      <a:pt x="664" y="763"/>
                    </a:lnTo>
                    <a:lnTo>
                      <a:pt x="620" y="742"/>
                    </a:lnTo>
                    <a:lnTo>
                      <a:pt x="626" y="628"/>
                    </a:lnTo>
                    <a:lnTo>
                      <a:pt x="695" y="586"/>
                    </a:lnTo>
                    <a:lnTo>
                      <a:pt x="655" y="509"/>
                    </a:lnTo>
                    <a:lnTo>
                      <a:pt x="645" y="374"/>
                    </a:lnTo>
                    <a:lnTo>
                      <a:pt x="637" y="344"/>
                    </a:lnTo>
                    <a:lnTo>
                      <a:pt x="666" y="284"/>
                    </a:lnTo>
                    <a:lnTo>
                      <a:pt x="695" y="174"/>
                    </a:lnTo>
                    <a:lnTo>
                      <a:pt x="722" y="132"/>
                    </a:lnTo>
                    <a:lnTo>
                      <a:pt x="709" y="67"/>
                    </a:lnTo>
                    <a:lnTo>
                      <a:pt x="581" y="0"/>
                    </a:lnTo>
                    <a:lnTo>
                      <a:pt x="350" y="37"/>
                    </a:lnTo>
                    <a:lnTo>
                      <a:pt x="272" y="0"/>
                    </a:lnTo>
                    <a:lnTo>
                      <a:pt x="241" y="64"/>
                    </a:lnTo>
                    <a:lnTo>
                      <a:pt x="203" y="256"/>
                    </a:lnTo>
                    <a:lnTo>
                      <a:pt x="151" y="321"/>
                    </a:lnTo>
                    <a:lnTo>
                      <a:pt x="135" y="397"/>
                    </a:lnTo>
                    <a:lnTo>
                      <a:pt x="82" y="436"/>
                    </a:lnTo>
                    <a:lnTo>
                      <a:pt x="22" y="433"/>
                    </a:lnTo>
                    <a:lnTo>
                      <a:pt x="0" y="48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1" name="Freeform 440"/>
              <p:cNvSpPr/>
              <p:nvPr/>
            </p:nvSpPr>
            <p:spPr bwMode="auto">
              <a:xfrm>
                <a:off x="2099" y="2617"/>
                <a:ext cx="25" cy="15"/>
              </a:xfrm>
              <a:custGeom>
                <a:avLst/>
                <a:gdLst>
                  <a:gd name="T0" fmla="*/ 0 w 89"/>
                  <a:gd name="T1" fmla="*/ 1 h 54"/>
                  <a:gd name="T2" fmla="*/ 1 w 89"/>
                  <a:gd name="T3" fmla="*/ 1 h 54"/>
                  <a:gd name="T4" fmla="*/ 2 w 89"/>
                  <a:gd name="T5" fmla="*/ 0 h 54"/>
                  <a:gd name="T6" fmla="*/ 0 w 89"/>
                  <a:gd name="T7" fmla="*/ 1 h 54"/>
                  <a:gd name="T8" fmla="*/ 0 60000 65536"/>
                  <a:gd name="T9" fmla="*/ 0 60000 65536"/>
                  <a:gd name="T10" fmla="*/ 0 60000 65536"/>
                  <a:gd name="T11" fmla="*/ 0 60000 65536"/>
                  <a:gd name="T12" fmla="*/ 0 w 89"/>
                  <a:gd name="T13" fmla="*/ 0 h 54"/>
                  <a:gd name="T14" fmla="*/ 89 w 89"/>
                  <a:gd name="T15" fmla="*/ 54 h 54"/>
                </a:gdLst>
                <a:ahLst/>
                <a:cxnLst>
                  <a:cxn ang="T8">
                    <a:pos x="T0" y="T1"/>
                  </a:cxn>
                  <a:cxn ang="T9">
                    <a:pos x="T2" y="T3"/>
                  </a:cxn>
                  <a:cxn ang="T10">
                    <a:pos x="T4" y="T5"/>
                  </a:cxn>
                  <a:cxn ang="T11">
                    <a:pos x="T6" y="T7"/>
                  </a:cxn>
                </a:cxnLst>
                <a:rect l="T12" t="T13" r="T14" b="T15"/>
                <a:pathLst>
                  <a:path w="89" h="54">
                    <a:moveTo>
                      <a:pt x="0" y="30"/>
                    </a:moveTo>
                    <a:lnTo>
                      <a:pt x="32" y="54"/>
                    </a:lnTo>
                    <a:lnTo>
                      <a:pt x="89" y="0"/>
                    </a:lnTo>
                    <a:lnTo>
                      <a:pt x="0" y="3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2" name="Freeform 441"/>
              <p:cNvSpPr/>
              <p:nvPr/>
            </p:nvSpPr>
            <p:spPr bwMode="auto">
              <a:xfrm>
                <a:off x="1757" y="2927"/>
                <a:ext cx="29" cy="78"/>
              </a:xfrm>
              <a:custGeom>
                <a:avLst/>
                <a:gdLst>
                  <a:gd name="T0" fmla="*/ 0 w 102"/>
                  <a:gd name="T1" fmla="*/ 1 h 274"/>
                  <a:gd name="T2" fmla="*/ 1 w 102"/>
                  <a:gd name="T3" fmla="*/ 6 h 274"/>
                  <a:gd name="T4" fmla="*/ 2 w 102"/>
                  <a:gd name="T5" fmla="*/ 6 h 274"/>
                  <a:gd name="T6" fmla="*/ 2 w 102"/>
                  <a:gd name="T7" fmla="*/ 1 h 274"/>
                  <a:gd name="T8" fmla="*/ 2 w 102"/>
                  <a:gd name="T9" fmla="*/ 0 h 274"/>
                  <a:gd name="T10" fmla="*/ 1 w 102"/>
                  <a:gd name="T11" fmla="*/ 0 h 274"/>
                  <a:gd name="T12" fmla="*/ 0 w 102"/>
                  <a:gd name="T13" fmla="*/ 1 h 274"/>
                  <a:gd name="T14" fmla="*/ 0 60000 65536"/>
                  <a:gd name="T15" fmla="*/ 0 60000 65536"/>
                  <a:gd name="T16" fmla="*/ 0 60000 65536"/>
                  <a:gd name="T17" fmla="*/ 0 60000 65536"/>
                  <a:gd name="T18" fmla="*/ 0 60000 65536"/>
                  <a:gd name="T19" fmla="*/ 0 60000 65536"/>
                  <a:gd name="T20" fmla="*/ 0 60000 65536"/>
                  <a:gd name="T21" fmla="*/ 0 w 102"/>
                  <a:gd name="T22" fmla="*/ 0 h 274"/>
                  <a:gd name="T23" fmla="*/ 102 w 102"/>
                  <a:gd name="T24" fmla="*/ 274 h 2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2" h="274">
                    <a:moveTo>
                      <a:pt x="0" y="65"/>
                    </a:moveTo>
                    <a:lnTo>
                      <a:pt x="41" y="274"/>
                    </a:lnTo>
                    <a:lnTo>
                      <a:pt x="73" y="270"/>
                    </a:lnTo>
                    <a:lnTo>
                      <a:pt x="102" y="30"/>
                    </a:lnTo>
                    <a:lnTo>
                      <a:pt x="73" y="0"/>
                    </a:lnTo>
                    <a:lnTo>
                      <a:pt x="52" y="19"/>
                    </a:lnTo>
                    <a:lnTo>
                      <a:pt x="0" y="6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3" name="Freeform 442"/>
              <p:cNvSpPr/>
              <p:nvPr/>
            </p:nvSpPr>
            <p:spPr bwMode="auto">
              <a:xfrm>
                <a:off x="1849" y="3056"/>
                <a:ext cx="20" cy="16"/>
              </a:xfrm>
              <a:custGeom>
                <a:avLst/>
                <a:gdLst>
                  <a:gd name="T0" fmla="*/ 0 w 69"/>
                  <a:gd name="T1" fmla="*/ 2 h 52"/>
                  <a:gd name="T2" fmla="*/ 0 w 69"/>
                  <a:gd name="T3" fmla="*/ 0 h 52"/>
                  <a:gd name="T4" fmla="*/ 2 w 69"/>
                  <a:gd name="T5" fmla="*/ 0 h 52"/>
                  <a:gd name="T6" fmla="*/ 2 w 69"/>
                  <a:gd name="T7" fmla="*/ 1 h 52"/>
                  <a:gd name="T8" fmla="*/ 0 w 69"/>
                  <a:gd name="T9" fmla="*/ 2 h 52"/>
                  <a:gd name="T10" fmla="*/ 0 60000 65536"/>
                  <a:gd name="T11" fmla="*/ 0 60000 65536"/>
                  <a:gd name="T12" fmla="*/ 0 60000 65536"/>
                  <a:gd name="T13" fmla="*/ 0 60000 65536"/>
                  <a:gd name="T14" fmla="*/ 0 60000 65536"/>
                  <a:gd name="T15" fmla="*/ 0 w 69"/>
                  <a:gd name="T16" fmla="*/ 0 h 52"/>
                  <a:gd name="T17" fmla="*/ 69 w 69"/>
                  <a:gd name="T18" fmla="*/ 52 h 52"/>
                </a:gdLst>
                <a:ahLst/>
                <a:cxnLst>
                  <a:cxn ang="T10">
                    <a:pos x="T0" y="T1"/>
                  </a:cxn>
                  <a:cxn ang="T11">
                    <a:pos x="T2" y="T3"/>
                  </a:cxn>
                  <a:cxn ang="T12">
                    <a:pos x="T4" y="T5"/>
                  </a:cxn>
                  <a:cxn ang="T13">
                    <a:pos x="T6" y="T7"/>
                  </a:cxn>
                  <a:cxn ang="T14">
                    <a:pos x="T8" y="T9"/>
                  </a:cxn>
                </a:cxnLst>
                <a:rect l="T15" t="T16" r="T17" b="T18"/>
                <a:pathLst>
                  <a:path w="69" h="52">
                    <a:moveTo>
                      <a:pt x="0" y="52"/>
                    </a:moveTo>
                    <a:lnTo>
                      <a:pt x="7" y="1"/>
                    </a:lnTo>
                    <a:lnTo>
                      <a:pt x="69" y="0"/>
                    </a:lnTo>
                    <a:lnTo>
                      <a:pt x="69" y="46"/>
                    </a:lnTo>
                    <a:lnTo>
                      <a:pt x="0" y="5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4" name="Freeform 443"/>
              <p:cNvSpPr/>
              <p:nvPr/>
            </p:nvSpPr>
            <p:spPr bwMode="auto">
              <a:xfrm>
                <a:off x="2106" y="2854"/>
                <a:ext cx="164" cy="186"/>
              </a:xfrm>
              <a:custGeom>
                <a:avLst/>
                <a:gdLst>
                  <a:gd name="T0" fmla="*/ 0 w 576"/>
                  <a:gd name="T1" fmla="*/ 11 h 650"/>
                  <a:gd name="T2" fmla="*/ 1 w 576"/>
                  <a:gd name="T3" fmla="*/ 10 h 650"/>
                  <a:gd name="T4" fmla="*/ 1 w 576"/>
                  <a:gd name="T5" fmla="*/ 8 h 650"/>
                  <a:gd name="T6" fmla="*/ 3 w 576"/>
                  <a:gd name="T7" fmla="*/ 5 h 650"/>
                  <a:gd name="T8" fmla="*/ 3 w 576"/>
                  <a:gd name="T9" fmla="*/ 1 h 650"/>
                  <a:gd name="T10" fmla="*/ 5 w 576"/>
                  <a:gd name="T11" fmla="*/ 0 h 650"/>
                  <a:gd name="T12" fmla="*/ 6 w 576"/>
                  <a:gd name="T13" fmla="*/ 3 h 650"/>
                  <a:gd name="T14" fmla="*/ 9 w 576"/>
                  <a:gd name="T15" fmla="*/ 6 h 650"/>
                  <a:gd name="T16" fmla="*/ 8 w 576"/>
                  <a:gd name="T17" fmla="*/ 7 h 650"/>
                  <a:gd name="T18" fmla="*/ 9 w 576"/>
                  <a:gd name="T19" fmla="*/ 8 h 650"/>
                  <a:gd name="T20" fmla="*/ 10 w 576"/>
                  <a:gd name="T21" fmla="*/ 9 h 650"/>
                  <a:gd name="T22" fmla="*/ 13 w 576"/>
                  <a:gd name="T23" fmla="*/ 11 h 650"/>
                  <a:gd name="T24" fmla="*/ 11 w 576"/>
                  <a:gd name="T25" fmla="*/ 14 h 650"/>
                  <a:gd name="T26" fmla="*/ 8 w 576"/>
                  <a:gd name="T27" fmla="*/ 15 h 650"/>
                  <a:gd name="T28" fmla="*/ 5 w 576"/>
                  <a:gd name="T29" fmla="*/ 15 h 650"/>
                  <a:gd name="T30" fmla="*/ 3 w 576"/>
                  <a:gd name="T31" fmla="*/ 14 h 650"/>
                  <a:gd name="T32" fmla="*/ 1 w 576"/>
                  <a:gd name="T33" fmla="*/ 12 h 650"/>
                  <a:gd name="T34" fmla="*/ 0 w 576"/>
                  <a:gd name="T35" fmla="*/ 11 h 6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6"/>
                  <a:gd name="T55" fmla="*/ 0 h 650"/>
                  <a:gd name="T56" fmla="*/ 576 w 576"/>
                  <a:gd name="T57" fmla="*/ 650 h 6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6" h="650">
                    <a:moveTo>
                      <a:pt x="0" y="454"/>
                    </a:moveTo>
                    <a:lnTo>
                      <a:pt x="43" y="422"/>
                    </a:lnTo>
                    <a:lnTo>
                      <a:pt x="51" y="342"/>
                    </a:lnTo>
                    <a:lnTo>
                      <a:pt x="121" y="232"/>
                    </a:lnTo>
                    <a:lnTo>
                      <a:pt x="152" y="43"/>
                    </a:lnTo>
                    <a:lnTo>
                      <a:pt x="211" y="0"/>
                    </a:lnTo>
                    <a:lnTo>
                      <a:pt x="255" y="131"/>
                    </a:lnTo>
                    <a:lnTo>
                      <a:pt x="380" y="241"/>
                    </a:lnTo>
                    <a:lnTo>
                      <a:pt x="336" y="308"/>
                    </a:lnTo>
                    <a:lnTo>
                      <a:pt x="379" y="324"/>
                    </a:lnTo>
                    <a:lnTo>
                      <a:pt x="423" y="404"/>
                    </a:lnTo>
                    <a:lnTo>
                      <a:pt x="576" y="449"/>
                    </a:lnTo>
                    <a:lnTo>
                      <a:pt x="459" y="581"/>
                    </a:lnTo>
                    <a:lnTo>
                      <a:pt x="340" y="630"/>
                    </a:lnTo>
                    <a:lnTo>
                      <a:pt x="229" y="650"/>
                    </a:lnTo>
                    <a:lnTo>
                      <a:pt x="109" y="602"/>
                    </a:lnTo>
                    <a:lnTo>
                      <a:pt x="65" y="510"/>
                    </a:lnTo>
                    <a:lnTo>
                      <a:pt x="0" y="45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5" name="Freeform 444"/>
              <p:cNvSpPr/>
              <p:nvPr/>
            </p:nvSpPr>
            <p:spPr bwMode="auto">
              <a:xfrm>
                <a:off x="2202" y="2923"/>
                <a:ext cx="17" cy="24"/>
              </a:xfrm>
              <a:custGeom>
                <a:avLst/>
                <a:gdLst>
                  <a:gd name="T0" fmla="*/ 0 w 60"/>
                  <a:gd name="T1" fmla="*/ 1 h 83"/>
                  <a:gd name="T2" fmla="*/ 1 w 60"/>
                  <a:gd name="T3" fmla="*/ 2 h 83"/>
                  <a:gd name="T4" fmla="*/ 1 w 60"/>
                  <a:gd name="T5" fmla="*/ 1 h 83"/>
                  <a:gd name="T6" fmla="*/ 1 w 60"/>
                  <a:gd name="T7" fmla="*/ 1 h 83"/>
                  <a:gd name="T8" fmla="*/ 1 w 60"/>
                  <a:gd name="T9" fmla="*/ 1 h 83"/>
                  <a:gd name="T10" fmla="*/ 1 w 60"/>
                  <a:gd name="T11" fmla="*/ 0 h 83"/>
                  <a:gd name="T12" fmla="*/ 0 w 60"/>
                  <a:gd name="T13" fmla="*/ 1 h 83"/>
                  <a:gd name="T14" fmla="*/ 0 60000 65536"/>
                  <a:gd name="T15" fmla="*/ 0 60000 65536"/>
                  <a:gd name="T16" fmla="*/ 0 60000 65536"/>
                  <a:gd name="T17" fmla="*/ 0 60000 65536"/>
                  <a:gd name="T18" fmla="*/ 0 60000 65536"/>
                  <a:gd name="T19" fmla="*/ 0 60000 65536"/>
                  <a:gd name="T20" fmla="*/ 0 60000 65536"/>
                  <a:gd name="T21" fmla="*/ 0 w 60"/>
                  <a:gd name="T22" fmla="*/ 0 h 83"/>
                  <a:gd name="T23" fmla="*/ 60 w 60"/>
                  <a:gd name="T24" fmla="*/ 83 h 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83">
                    <a:moveTo>
                      <a:pt x="0" y="67"/>
                    </a:moveTo>
                    <a:lnTo>
                      <a:pt x="43" y="83"/>
                    </a:lnTo>
                    <a:lnTo>
                      <a:pt x="56" y="58"/>
                    </a:lnTo>
                    <a:lnTo>
                      <a:pt x="30" y="52"/>
                    </a:lnTo>
                    <a:lnTo>
                      <a:pt x="60" y="32"/>
                    </a:lnTo>
                    <a:lnTo>
                      <a:pt x="44" y="0"/>
                    </a:lnTo>
                    <a:lnTo>
                      <a:pt x="0" y="6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6" name="Freeform 445"/>
              <p:cNvSpPr/>
              <p:nvPr/>
            </p:nvSpPr>
            <p:spPr bwMode="auto">
              <a:xfrm>
                <a:off x="1841" y="3056"/>
                <a:ext cx="61" cy="76"/>
              </a:xfrm>
              <a:custGeom>
                <a:avLst/>
                <a:gdLst>
                  <a:gd name="T0" fmla="*/ 0 w 214"/>
                  <a:gd name="T1" fmla="*/ 3 h 267"/>
                  <a:gd name="T2" fmla="*/ 1 w 214"/>
                  <a:gd name="T3" fmla="*/ 2 h 267"/>
                  <a:gd name="T4" fmla="*/ 1 w 214"/>
                  <a:gd name="T5" fmla="*/ 2 h 267"/>
                  <a:gd name="T6" fmla="*/ 1 w 214"/>
                  <a:gd name="T7" fmla="*/ 1 h 267"/>
                  <a:gd name="T8" fmla="*/ 2 w 214"/>
                  <a:gd name="T9" fmla="*/ 1 h 267"/>
                  <a:gd name="T10" fmla="*/ 2 w 214"/>
                  <a:gd name="T11" fmla="*/ 0 h 267"/>
                  <a:gd name="T12" fmla="*/ 4 w 214"/>
                  <a:gd name="T13" fmla="*/ 0 h 267"/>
                  <a:gd name="T14" fmla="*/ 4 w 214"/>
                  <a:gd name="T15" fmla="*/ 1 h 267"/>
                  <a:gd name="T16" fmla="*/ 5 w 214"/>
                  <a:gd name="T17" fmla="*/ 1 h 267"/>
                  <a:gd name="T18" fmla="*/ 5 w 214"/>
                  <a:gd name="T19" fmla="*/ 5 h 267"/>
                  <a:gd name="T20" fmla="*/ 3 w 214"/>
                  <a:gd name="T21" fmla="*/ 4 h 267"/>
                  <a:gd name="T22" fmla="*/ 2 w 214"/>
                  <a:gd name="T23" fmla="*/ 6 h 267"/>
                  <a:gd name="T24" fmla="*/ 0 w 214"/>
                  <a:gd name="T25" fmla="*/ 3 h 2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4"/>
                  <a:gd name="T40" fmla="*/ 0 h 267"/>
                  <a:gd name="T41" fmla="*/ 214 w 214"/>
                  <a:gd name="T42" fmla="*/ 267 h 2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4" h="267">
                    <a:moveTo>
                      <a:pt x="0" y="125"/>
                    </a:moveTo>
                    <a:lnTo>
                      <a:pt x="25" y="83"/>
                    </a:lnTo>
                    <a:lnTo>
                      <a:pt x="41" y="88"/>
                    </a:lnTo>
                    <a:lnTo>
                      <a:pt x="28" y="52"/>
                    </a:lnTo>
                    <a:lnTo>
                      <a:pt x="97" y="46"/>
                    </a:lnTo>
                    <a:lnTo>
                      <a:pt x="97" y="0"/>
                    </a:lnTo>
                    <a:lnTo>
                      <a:pt x="175" y="1"/>
                    </a:lnTo>
                    <a:lnTo>
                      <a:pt x="171" y="42"/>
                    </a:lnTo>
                    <a:lnTo>
                      <a:pt x="214" y="43"/>
                    </a:lnTo>
                    <a:lnTo>
                      <a:pt x="200" y="196"/>
                    </a:lnTo>
                    <a:lnTo>
                      <a:pt x="152" y="178"/>
                    </a:lnTo>
                    <a:lnTo>
                      <a:pt x="93" y="267"/>
                    </a:lnTo>
                    <a:lnTo>
                      <a:pt x="0" y="12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7" name="Freeform 446"/>
              <p:cNvSpPr/>
              <p:nvPr/>
            </p:nvSpPr>
            <p:spPr bwMode="auto">
              <a:xfrm>
                <a:off x="1564" y="2912"/>
                <a:ext cx="33" cy="7"/>
              </a:xfrm>
              <a:custGeom>
                <a:avLst/>
                <a:gdLst>
                  <a:gd name="T0" fmla="*/ 0 w 114"/>
                  <a:gd name="T1" fmla="*/ 1 h 26"/>
                  <a:gd name="T2" fmla="*/ 0 w 114"/>
                  <a:gd name="T3" fmla="*/ 0 h 26"/>
                  <a:gd name="T4" fmla="*/ 3 w 114"/>
                  <a:gd name="T5" fmla="*/ 0 h 26"/>
                  <a:gd name="T6" fmla="*/ 0 w 114"/>
                  <a:gd name="T7" fmla="*/ 1 h 26"/>
                  <a:gd name="T8" fmla="*/ 0 60000 65536"/>
                  <a:gd name="T9" fmla="*/ 0 60000 65536"/>
                  <a:gd name="T10" fmla="*/ 0 60000 65536"/>
                  <a:gd name="T11" fmla="*/ 0 60000 65536"/>
                  <a:gd name="T12" fmla="*/ 0 w 114"/>
                  <a:gd name="T13" fmla="*/ 0 h 26"/>
                  <a:gd name="T14" fmla="*/ 114 w 114"/>
                  <a:gd name="T15" fmla="*/ 26 h 26"/>
                </a:gdLst>
                <a:ahLst/>
                <a:cxnLst>
                  <a:cxn ang="T8">
                    <a:pos x="T0" y="T1"/>
                  </a:cxn>
                  <a:cxn ang="T9">
                    <a:pos x="T2" y="T3"/>
                  </a:cxn>
                  <a:cxn ang="T10">
                    <a:pos x="T4" y="T5"/>
                  </a:cxn>
                  <a:cxn ang="T11">
                    <a:pos x="T6" y="T7"/>
                  </a:cxn>
                </a:cxnLst>
                <a:rect l="T12" t="T13" r="T14" b="T15"/>
                <a:pathLst>
                  <a:path w="114" h="26">
                    <a:moveTo>
                      <a:pt x="0" y="26"/>
                    </a:moveTo>
                    <a:lnTo>
                      <a:pt x="7" y="0"/>
                    </a:lnTo>
                    <a:lnTo>
                      <a:pt x="114" y="9"/>
                    </a:lnTo>
                    <a:lnTo>
                      <a:pt x="0" y="2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8" name="Freeform 447"/>
              <p:cNvSpPr/>
              <p:nvPr/>
            </p:nvSpPr>
            <p:spPr bwMode="auto">
              <a:xfrm>
                <a:off x="1714" y="2943"/>
                <a:ext cx="46" cy="81"/>
              </a:xfrm>
              <a:custGeom>
                <a:avLst/>
                <a:gdLst>
                  <a:gd name="T0" fmla="*/ 0 w 163"/>
                  <a:gd name="T1" fmla="*/ 6 h 285"/>
                  <a:gd name="T2" fmla="*/ 1 w 163"/>
                  <a:gd name="T3" fmla="*/ 2 h 285"/>
                  <a:gd name="T4" fmla="*/ 0 w 163"/>
                  <a:gd name="T5" fmla="*/ 0 h 285"/>
                  <a:gd name="T6" fmla="*/ 3 w 163"/>
                  <a:gd name="T7" fmla="*/ 0 h 285"/>
                  <a:gd name="T8" fmla="*/ 4 w 163"/>
                  <a:gd name="T9" fmla="*/ 5 h 285"/>
                  <a:gd name="T10" fmla="*/ 1 w 163"/>
                  <a:gd name="T11" fmla="*/ 7 h 285"/>
                  <a:gd name="T12" fmla="*/ 0 w 163"/>
                  <a:gd name="T13" fmla="*/ 6 h 285"/>
                  <a:gd name="T14" fmla="*/ 0 60000 65536"/>
                  <a:gd name="T15" fmla="*/ 0 60000 65536"/>
                  <a:gd name="T16" fmla="*/ 0 60000 65536"/>
                  <a:gd name="T17" fmla="*/ 0 60000 65536"/>
                  <a:gd name="T18" fmla="*/ 0 60000 65536"/>
                  <a:gd name="T19" fmla="*/ 0 60000 65536"/>
                  <a:gd name="T20" fmla="*/ 0 60000 65536"/>
                  <a:gd name="T21" fmla="*/ 0 w 163"/>
                  <a:gd name="T22" fmla="*/ 0 h 285"/>
                  <a:gd name="T23" fmla="*/ 163 w 163"/>
                  <a:gd name="T24" fmla="*/ 285 h 2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 h="285">
                    <a:moveTo>
                      <a:pt x="0" y="269"/>
                    </a:moveTo>
                    <a:lnTo>
                      <a:pt x="20" y="71"/>
                    </a:lnTo>
                    <a:lnTo>
                      <a:pt x="10" y="10"/>
                    </a:lnTo>
                    <a:lnTo>
                      <a:pt x="110" y="0"/>
                    </a:lnTo>
                    <a:lnTo>
                      <a:pt x="163" y="227"/>
                    </a:lnTo>
                    <a:lnTo>
                      <a:pt x="40" y="285"/>
                    </a:lnTo>
                    <a:lnTo>
                      <a:pt x="0" y="26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9" name="Freeform 448"/>
              <p:cNvSpPr/>
              <p:nvPr/>
            </p:nvSpPr>
            <p:spPr bwMode="auto">
              <a:xfrm>
                <a:off x="1583" y="2923"/>
                <a:ext cx="80" cy="68"/>
              </a:xfrm>
              <a:custGeom>
                <a:avLst/>
                <a:gdLst>
                  <a:gd name="T0" fmla="*/ 0 w 281"/>
                  <a:gd name="T1" fmla="*/ 2 h 238"/>
                  <a:gd name="T2" fmla="*/ 1 w 281"/>
                  <a:gd name="T3" fmla="*/ 1 h 238"/>
                  <a:gd name="T4" fmla="*/ 1 w 281"/>
                  <a:gd name="T5" fmla="*/ 0 h 238"/>
                  <a:gd name="T6" fmla="*/ 3 w 281"/>
                  <a:gd name="T7" fmla="*/ 0 h 238"/>
                  <a:gd name="T8" fmla="*/ 4 w 281"/>
                  <a:gd name="T9" fmla="*/ 1 h 238"/>
                  <a:gd name="T10" fmla="*/ 5 w 281"/>
                  <a:gd name="T11" fmla="*/ 0 h 238"/>
                  <a:gd name="T12" fmla="*/ 6 w 281"/>
                  <a:gd name="T13" fmla="*/ 3 h 238"/>
                  <a:gd name="T14" fmla="*/ 7 w 281"/>
                  <a:gd name="T15" fmla="*/ 5 h 238"/>
                  <a:gd name="T16" fmla="*/ 6 w 281"/>
                  <a:gd name="T17" fmla="*/ 4 h 238"/>
                  <a:gd name="T18" fmla="*/ 6 w 281"/>
                  <a:gd name="T19" fmla="*/ 5 h 238"/>
                  <a:gd name="T20" fmla="*/ 5 w 281"/>
                  <a:gd name="T21" fmla="*/ 5 h 238"/>
                  <a:gd name="T22" fmla="*/ 5 w 281"/>
                  <a:gd name="T23" fmla="*/ 5 h 238"/>
                  <a:gd name="T24" fmla="*/ 4 w 281"/>
                  <a:gd name="T25" fmla="*/ 4 h 238"/>
                  <a:gd name="T26" fmla="*/ 3 w 281"/>
                  <a:gd name="T27" fmla="*/ 3 h 238"/>
                  <a:gd name="T28" fmla="*/ 2 w 281"/>
                  <a:gd name="T29" fmla="*/ 4 h 238"/>
                  <a:gd name="T30" fmla="*/ 0 w 281"/>
                  <a:gd name="T31" fmla="*/ 2 h 2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1"/>
                  <a:gd name="T49" fmla="*/ 0 h 238"/>
                  <a:gd name="T50" fmla="*/ 281 w 281"/>
                  <a:gd name="T51" fmla="*/ 238 h 23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1" h="238">
                    <a:moveTo>
                      <a:pt x="0" y="79"/>
                    </a:moveTo>
                    <a:lnTo>
                      <a:pt x="46" y="44"/>
                    </a:lnTo>
                    <a:lnTo>
                      <a:pt x="49" y="0"/>
                    </a:lnTo>
                    <a:lnTo>
                      <a:pt x="140" y="9"/>
                    </a:lnTo>
                    <a:lnTo>
                      <a:pt x="167" y="32"/>
                    </a:lnTo>
                    <a:lnTo>
                      <a:pt x="231" y="6"/>
                    </a:lnTo>
                    <a:lnTo>
                      <a:pt x="269" y="113"/>
                    </a:lnTo>
                    <a:lnTo>
                      <a:pt x="281" y="193"/>
                    </a:lnTo>
                    <a:lnTo>
                      <a:pt x="258" y="186"/>
                    </a:lnTo>
                    <a:lnTo>
                      <a:pt x="252" y="231"/>
                    </a:lnTo>
                    <a:lnTo>
                      <a:pt x="211" y="238"/>
                    </a:lnTo>
                    <a:lnTo>
                      <a:pt x="208" y="193"/>
                    </a:lnTo>
                    <a:lnTo>
                      <a:pt x="187" y="190"/>
                    </a:lnTo>
                    <a:lnTo>
                      <a:pt x="147" y="124"/>
                    </a:lnTo>
                    <a:lnTo>
                      <a:pt x="71" y="161"/>
                    </a:lnTo>
                    <a:lnTo>
                      <a:pt x="0" y="7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0" name="Freeform 449"/>
              <p:cNvSpPr/>
              <p:nvPr/>
            </p:nvSpPr>
            <p:spPr bwMode="auto">
              <a:xfrm>
                <a:off x="2235" y="2707"/>
                <a:ext cx="18" cy="6"/>
              </a:xfrm>
              <a:custGeom>
                <a:avLst/>
                <a:gdLst>
                  <a:gd name="T0" fmla="*/ 0 w 66"/>
                  <a:gd name="T1" fmla="*/ 0 h 22"/>
                  <a:gd name="T2" fmla="*/ 1 w 66"/>
                  <a:gd name="T3" fmla="*/ 1 h 22"/>
                  <a:gd name="T4" fmla="*/ 1 w 66"/>
                  <a:gd name="T5" fmla="*/ 0 h 22"/>
                  <a:gd name="T6" fmla="*/ 0 w 66"/>
                  <a:gd name="T7" fmla="*/ 0 h 22"/>
                  <a:gd name="T8" fmla="*/ 0 60000 65536"/>
                  <a:gd name="T9" fmla="*/ 0 60000 65536"/>
                  <a:gd name="T10" fmla="*/ 0 60000 65536"/>
                  <a:gd name="T11" fmla="*/ 0 60000 65536"/>
                  <a:gd name="T12" fmla="*/ 0 w 66"/>
                  <a:gd name="T13" fmla="*/ 0 h 22"/>
                  <a:gd name="T14" fmla="*/ 66 w 66"/>
                  <a:gd name="T15" fmla="*/ 22 h 22"/>
                </a:gdLst>
                <a:ahLst/>
                <a:cxnLst>
                  <a:cxn ang="T8">
                    <a:pos x="T0" y="T1"/>
                  </a:cxn>
                  <a:cxn ang="T9">
                    <a:pos x="T2" y="T3"/>
                  </a:cxn>
                  <a:cxn ang="T10">
                    <a:pos x="T4" y="T5"/>
                  </a:cxn>
                  <a:cxn ang="T11">
                    <a:pos x="T6" y="T7"/>
                  </a:cxn>
                </a:cxnLst>
                <a:rect l="T12" t="T13" r="T14" b="T15"/>
                <a:pathLst>
                  <a:path w="66" h="22">
                    <a:moveTo>
                      <a:pt x="0" y="0"/>
                    </a:moveTo>
                    <a:lnTo>
                      <a:pt x="32" y="22"/>
                    </a:lnTo>
                    <a:lnTo>
                      <a:pt x="66" y="6"/>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1" name="Freeform 450"/>
              <p:cNvSpPr/>
              <p:nvPr/>
            </p:nvSpPr>
            <p:spPr bwMode="auto">
              <a:xfrm>
                <a:off x="2117" y="2651"/>
                <a:ext cx="17" cy="54"/>
              </a:xfrm>
              <a:custGeom>
                <a:avLst/>
                <a:gdLst>
                  <a:gd name="T0" fmla="*/ 0 w 61"/>
                  <a:gd name="T1" fmla="*/ 2 h 188"/>
                  <a:gd name="T2" fmla="*/ 1 w 61"/>
                  <a:gd name="T3" fmla="*/ 5 h 188"/>
                  <a:gd name="T4" fmla="*/ 1 w 61"/>
                  <a:gd name="T5" fmla="*/ 4 h 188"/>
                  <a:gd name="T6" fmla="*/ 1 w 61"/>
                  <a:gd name="T7" fmla="*/ 2 h 188"/>
                  <a:gd name="T8" fmla="*/ 1 w 61"/>
                  <a:gd name="T9" fmla="*/ 2 h 188"/>
                  <a:gd name="T10" fmla="*/ 1 w 61"/>
                  <a:gd name="T11" fmla="*/ 1 h 188"/>
                  <a:gd name="T12" fmla="*/ 1 w 61"/>
                  <a:gd name="T13" fmla="*/ 1 h 188"/>
                  <a:gd name="T14" fmla="*/ 1 w 61"/>
                  <a:gd name="T15" fmla="*/ 0 h 188"/>
                  <a:gd name="T16" fmla="*/ 1 w 61"/>
                  <a:gd name="T17" fmla="*/ 0 h 188"/>
                  <a:gd name="T18" fmla="*/ 0 w 61"/>
                  <a:gd name="T19" fmla="*/ 2 h 1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188"/>
                  <a:gd name="T32" fmla="*/ 61 w 61"/>
                  <a:gd name="T33" fmla="*/ 188 h 1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188">
                    <a:moveTo>
                      <a:pt x="0" y="95"/>
                    </a:moveTo>
                    <a:lnTo>
                      <a:pt x="31" y="188"/>
                    </a:lnTo>
                    <a:lnTo>
                      <a:pt x="37" y="185"/>
                    </a:lnTo>
                    <a:lnTo>
                      <a:pt x="55" y="85"/>
                    </a:lnTo>
                    <a:lnTo>
                      <a:pt x="30" y="92"/>
                    </a:lnTo>
                    <a:lnTo>
                      <a:pt x="37" y="47"/>
                    </a:lnTo>
                    <a:lnTo>
                      <a:pt x="56" y="26"/>
                    </a:lnTo>
                    <a:lnTo>
                      <a:pt x="61" y="0"/>
                    </a:lnTo>
                    <a:lnTo>
                      <a:pt x="38" y="3"/>
                    </a:lnTo>
                    <a:lnTo>
                      <a:pt x="0" y="9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2" name="Freeform 451"/>
              <p:cNvSpPr/>
              <p:nvPr/>
            </p:nvSpPr>
            <p:spPr bwMode="auto">
              <a:xfrm>
                <a:off x="1654" y="2949"/>
                <a:ext cx="65" cy="79"/>
              </a:xfrm>
              <a:custGeom>
                <a:avLst/>
                <a:gdLst>
                  <a:gd name="T0" fmla="*/ 0 w 229"/>
                  <a:gd name="T1" fmla="*/ 4 h 278"/>
                  <a:gd name="T2" fmla="*/ 0 w 229"/>
                  <a:gd name="T3" fmla="*/ 3 h 278"/>
                  <a:gd name="T4" fmla="*/ 0 w 229"/>
                  <a:gd name="T5" fmla="*/ 2 h 278"/>
                  <a:gd name="T6" fmla="*/ 1 w 229"/>
                  <a:gd name="T7" fmla="*/ 3 h 278"/>
                  <a:gd name="T8" fmla="*/ 1 w 229"/>
                  <a:gd name="T9" fmla="*/ 1 h 278"/>
                  <a:gd name="T10" fmla="*/ 2 w 229"/>
                  <a:gd name="T11" fmla="*/ 0 h 278"/>
                  <a:gd name="T12" fmla="*/ 3 w 229"/>
                  <a:gd name="T13" fmla="*/ 0 h 278"/>
                  <a:gd name="T14" fmla="*/ 3 w 229"/>
                  <a:gd name="T15" fmla="*/ 1 h 278"/>
                  <a:gd name="T16" fmla="*/ 5 w 229"/>
                  <a:gd name="T17" fmla="*/ 1 h 278"/>
                  <a:gd name="T18" fmla="*/ 5 w 229"/>
                  <a:gd name="T19" fmla="*/ 6 h 278"/>
                  <a:gd name="T20" fmla="*/ 1 w 229"/>
                  <a:gd name="T21" fmla="*/ 6 h 278"/>
                  <a:gd name="T22" fmla="*/ 1 w 229"/>
                  <a:gd name="T23" fmla="*/ 5 h 278"/>
                  <a:gd name="T24" fmla="*/ 0 w 229"/>
                  <a:gd name="T25" fmla="*/ 4 h 2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9"/>
                  <a:gd name="T40" fmla="*/ 0 h 278"/>
                  <a:gd name="T41" fmla="*/ 229 w 229"/>
                  <a:gd name="T42" fmla="*/ 278 h 27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9" h="278">
                    <a:moveTo>
                      <a:pt x="0" y="184"/>
                    </a:moveTo>
                    <a:lnTo>
                      <a:pt x="4" y="142"/>
                    </a:lnTo>
                    <a:lnTo>
                      <a:pt x="10" y="97"/>
                    </a:lnTo>
                    <a:lnTo>
                      <a:pt x="33" y="104"/>
                    </a:lnTo>
                    <a:lnTo>
                      <a:pt x="21" y="24"/>
                    </a:lnTo>
                    <a:lnTo>
                      <a:pt x="89" y="0"/>
                    </a:lnTo>
                    <a:lnTo>
                      <a:pt x="127" y="16"/>
                    </a:lnTo>
                    <a:lnTo>
                      <a:pt x="150" y="42"/>
                    </a:lnTo>
                    <a:lnTo>
                      <a:pt x="229" y="51"/>
                    </a:lnTo>
                    <a:lnTo>
                      <a:pt x="209" y="249"/>
                    </a:lnTo>
                    <a:lnTo>
                      <a:pt x="35" y="278"/>
                    </a:lnTo>
                    <a:lnTo>
                      <a:pt x="38" y="216"/>
                    </a:lnTo>
                    <a:lnTo>
                      <a:pt x="0" y="18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3" name="Freeform 452"/>
              <p:cNvSpPr/>
              <p:nvPr/>
            </p:nvSpPr>
            <p:spPr bwMode="auto">
              <a:xfrm>
                <a:off x="2125" y="2649"/>
                <a:ext cx="47" cy="59"/>
              </a:xfrm>
              <a:custGeom>
                <a:avLst/>
                <a:gdLst>
                  <a:gd name="T0" fmla="*/ 0 w 166"/>
                  <a:gd name="T1" fmla="*/ 2 h 207"/>
                  <a:gd name="T2" fmla="*/ 0 w 166"/>
                  <a:gd name="T3" fmla="*/ 1 h 207"/>
                  <a:gd name="T4" fmla="*/ 1 w 166"/>
                  <a:gd name="T5" fmla="*/ 1 h 207"/>
                  <a:gd name="T6" fmla="*/ 1 w 166"/>
                  <a:gd name="T7" fmla="*/ 1 h 207"/>
                  <a:gd name="T8" fmla="*/ 3 w 166"/>
                  <a:gd name="T9" fmla="*/ 0 h 207"/>
                  <a:gd name="T10" fmla="*/ 4 w 166"/>
                  <a:gd name="T11" fmla="*/ 1 h 207"/>
                  <a:gd name="T12" fmla="*/ 2 w 166"/>
                  <a:gd name="T13" fmla="*/ 2 h 207"/>
                  <a:gd name="T14" fmla="*/ 3 w 166"/>
                  <a:gd name="T15" fmla="*/ 3 h 207"/>
                  <a:gd name="T16" fmla="*/ 2 w 166"/>
                  <a:gd name="T17" fmla="*/ 4 h 207"/>
                  <a:gd name="T18" fmla="*/ 1 w 166"/>
                  <a:gd name="T19" fmla="*/ 5 h 207"/>
                  <a:gd name="T20" fmla="*/ 0 w 166"/>
                  <a:gd name="T21" fmla="*/ 5 h 207"/>
                  <a:gd name="T22" fmla="*/ 1 w 166"/>
                  <a:gd name="T23" fmla="*/ 2 h 207"/>
                  <a:gd name="T24" fmla="*/ 0 w 166"/>
                  <a:gd name="T25" fmla="*/ 2 h 2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6"/>
                  <a:gd name="T40" fmla="*/ 0 h 207"/>
                  <a:gd name="T41" fmla="*/ 166 w 166"/>
                  <a:gd name="T42" fmla="*/ 207 h 2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6" h="207">
                    <a:moveTo>
                      <a:pt x="0" y="100"/>
                    </a:moveTo>
                    <a:lnTo>
                      <a:pt x="7" y="55"/>
                    </a:lnTo>
                    <a:lnTo>
                      <a:pt x="26" y="34"/>
                    </a:lnTo>
                    <a:lnTo>
                      <a:pt x="64" y="53"/>
                    </a:lnTo>
                    <a:lnTo>
                      <a:pt x="148" y="0"/>
                    </a:lnTo>
                    <a:lnTo>
                      <a:pt x="166" y="58"/>
                    </a:lnTo>
                    <a:lnTo>
                      <a:pt x="80" y="90"/>
                    </a:lnTo>
                    <a:lnTo>
                      <a:pt x="125" y="136"/>
                    </a:lnTo>
                    <a:lnTo>
                      <a:pt x="102" y="165"/>
                    </a:lnTo>
                    <a:lnTo>
                      <a:pt x="49" y="207"/>
                    </a:lnTo>
                    <a:lnTo>
                      <a:pt x="7" y="193"/>
                    </a:lnTo>
                    <a:lnTo>
                      <a:pt x="25" y="93"/>
                    </a:lnTo>
                    <a:lnTo>
                      <a:pt x="0" y="10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4" name="Freeform 453"/>
              <p:cNvSpPr/>
              <p:nvPr/>
            </p:nvSpPr>
            <p:spPr bwMode="auto">
              <a:xfrm>
                <a:off x="2117" y="3026"/>
                <a:ext cx="86" cy="116"/>
              </a:xfrm>
              <a:custGeom>
                <a:avLst/>
                <a:gdLst>
                  <a:gd name="T0" fmla="*/ 0 w 303"/>
                  <a:gd name="T1" fmla="*/ 1 h 407"/>
                  <a:gd name="T2" fmla="*/ 1 w 303"/>
                  <a:gd name="T3" fmla="*/ 3 h 407"/>
                  <a:gd name="T4" fmla="*/ 0 w 303"/>
                  <a:gd name="T5" fmla="*/ 4 h 407"/>
                  <a:gd name="T6" fmla="*/ 1 w 303"/>
                  <a:gd name="T7" fmla="*/ 5 h 407"/>
                  <a:gd name="T8" fmla="*/ 0 w 303"/>
                  <a:gd name="T9" fmla="*/ 6 h 407"/>
                  <a:gd name="T10" fmla="*/ 5 w 303"/>
                  <a:gd name="T11" fmla="*/ 9 h 407"/>
                  <a:gd name="T12" fmla="*/ 7 w 303"/>
                  <a:gd name="T13" fmla="*/ 7 h 407"/>
                  <a:gd name="T14" fmla="*/ 6 w 303"/>
                  <a:gd name="T15" fmla="*/ 5 h 407"/>
                  <a:gd name="T16" fmla="*/ 6 w 303"/>
                  <a:gd name="T17" fmla="*/ 2 h 407"/>
                  <a:gd name="T18" fmla="*/ 7 w 303"/>
                  <a:gd name="T19" fmla="*/ 1 h 407"/>
                  <a:gd name="T20" fmla="*/ 4 w 303"/>
                  <a:gd name="T21" fmla="*/ 1 h 407"/>
                  <a:gd name="T22" fmla="*/ 2 w 303"/>
                  <a:gd name="T23" fmla="*/ 0 h 407"/>
                  <a:gd name="T24" fmla="*/ 0 w 303"/>
                  <a:gd name="T25" fmla="*/ 1 h 4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3"/>
                  <a:gd name="T40" fmla="*/ 0 h 407"/>
                  <a:gd name="T41" fmla="*/ 303 w 303"/>
                  <a:gd name="T42" fmla="*/ 407 h 4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3" h="407">
                    <a:moveTo>
                      <a:pt x="0" y="25"/>
                    </a:moveTo>
                    <a:lnTo>
                      <a:pt x="39" y="112"/>
                    </a:lnTo>
                    <a:lnTo>
                      <a:pt x="0" y="190"/>
                    </a:lnTo>
                    <a:lnTo>
                      <a:pt x="31" y="213"/>
                    </a:lnTo>
                    <a:lnTo>
                      <a:pt x="14" y="242"/>
                    </a:lnTo>
                    <a:lnTo>
                      <a:pt x="206" y="407"/>
                    </a:lnTo>
                    <a:lnTo>
                      <a:pt x="291" y="276"/>
                    </a:lnTo>
                    <a:lnTo>
                      <a:pt x="271" y="239"/>
                    </a:lnTo>
                    <a:lnTo>
                      <a:pt x="271" y="77"/>
                    </a:lnTo>
                    <a:lnTo>
                      <a:pt x="303" y="28"/>
                    </a:lnTo>
                    <a:lnTo>
                      <a:pt x="192" y="48"/>
                    </a:lnTo>
                    <a:lnTo>
                      <a:pt x="72" y="0"/>
                    </a:lnTo>
                    <a:lnTo>
                      <a:pt x="0" y="2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5" name="Freeform 454"/>
              <p:cNvSpPr/>
              <p:nvPr/>
            </p:nvSpPr>
            <p:spPr bwMode="auto">
              <a:xfrm>
                <a:off x="2253" y="2696"/>
                <a:ext cx="20" cy="19"/>
              </a:xfrm>
              <a:custGeom>
                <a:avLst/>
                <a:gdLst>
                  <a:gd name="T0" fmla="*/ 0 w 70"/>
                  <a:gd name="T1" fmla="*/ 1 h 67"/>
                  <a:gd name="T2" fmla="*/ 1 w 70"/>
                  <a:gd name="T3" fmla="*/ 0 h 67"/>
                  <a:gd name="T4" fmla="*/ 2 w 70"/>
                  <a:gd name="T5" fmla="*/ 1 h 67"/>
                  <a:gd name="T6" fmla="*/ 0 w 70"/>
                  <a:gd name="T7" fmla="*/ 1 h 67"/>
                  <a:gd name="T8" fmla="*/ 0 60000 65536"/>
                  <a:gd name="T9" fmla="*/ 0 60000 65536"/>
                  <a:gd name="T10" fmla="*/ 0 60000 65536"/>
                  <a:gd name="T11" fmla="*/ 0 60000 65536"/>
                  <a:gd name="T12" fmla="*/ 0 w 70"/>
                  <a:gd name="T13" fmla="*/ 0 h 67"/>
                  <a:gd name="T14" fmla="*/ 70 w 70"/>
                  <a:gd name="T15" fmla="*/ 67 h 67"/>
                </a:gdLst>
                <a:ahLst/>
                <a:cxnLst>
                  <a:cxn ang="T8">
                    <a:pos x="T0" y="T1"/>
                  </a:cxn>
                  <a:cxn ang="T9">
                    <a:pos x="T2" y="T3"/>
                  </a:cxn>
                  <a:cxn ang="T10">
                    <a:pos x="T4" y="T5"/>
                  </a:cxn>
                  <a:cxn ang="T11">
                    <a:pos x="T6" y="T7"/>
                  </a:cxn>
                </a:cxnLst>
                <a:rect l="T12" t="T13" r="T14" b="T15"/>
                <a:pathLst>
                  <a:path w="70" h="67">
                    <a:moveTo>
                      <a:pt x="0" y="42"/>
                    </a:moveTo>
                    <a:lnTo>
                      <a:pt x="59" y="0"/>
                    </a:lnTo>
                    <a:lnTo>
                      <a:pt x="70" y="67"/>
                    </a:lnTo>
                    <a:lnTo>
                      <a:pt x="0" y="4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6" name="Freeform 455"/>
              <p:cNvSpPr/>
              <p:nvPr/>
            </p:nvSpPr>
            <p:spPr bwMode="auto">
              <a:xfrm>
                <a:off x="2128" y="2630"/>
                <a:ext cx="17" cy="22"/>
              </a:xfrm>
              <a:custGeom>
                <a:avLst/>
                <a:gdLst>
                  <a:gd name="T0" fmla="*/ 0 w 61"/>
                  <a:gd name="T1" fmla="*/ 2 h 76"/>
                  <a:gd name="T2" fmla="*/ 1 w 61"/>
                  <a:gd name="T3" fmla="*/ 2 h 76"/>
                  <a:gd name="T4" fmla="*/ 1 w 61"/>
                  <a:gd name="T5" fmla="*/ 1 h 76"/>
                  <a:gd name="T6" fmla="*/ 1 w 61"/>
                  <a:gd name="T7" fmla="*/ 0 h 76"/>
                  <a:gd name="T8" fmla="*/ 0 w 61"/>
                  <a:gd name="T9" fmla="*/ 2 h 76"/>
                  <a:gd name="T10" fmla="*/ 0 60000 65536"/>
                  <a:gd name="T11" fmla="*/ 0 60000 65536"/>
                  <a:gd name="T12" fmla="*/ 0 60000 65536"/>
                  <a:gd name="T13" fmla="*/ 0 60000 65536"/>
                  <a:gd name="T14" fmla="*/ 0 60000 65536"/>
                  <a:gd name="T15" fmla="*/ 0 w 61"/>
                  <a:gd name="T16" fmla="*/ 0 h 76"/>
                  <a:gd name="T17" fmla="*/ 61 w 61"/>
                  <a:gd name="T18" fmla="*/ 76 h 76"/>
                </a:gdLst>
                <a:ahLst/>
                <a:cxnLst>
                  <a:cxn ang="T10">
                    <a:pos x="T0" y="T1"/>
                  </a:cxn>
                  <a:cxn ang="T11">
                    <a:pos x="T2" y="T3"/>
                  </a:cxn>
                  <a:cxn ang="T12">
                    <a:pos x="T4" y="T5"/>
                  </a:cxn>
                  <a:cxn ang="T13">
                    <a:pos x="T6" y="T7"/>
                  </a:cxn>
                  <a:cxn ang="T14">
                    <a:pos x="T8" y="T9"/>
                  </a:cxn>
                </a:cxnLst>
                <a:rect l="T15" t="T16" r="T17" b="T18"/>
                <a:pathLst>
                  <a:path w="61" h="76">
                    <a:moveTo>
                      <a:pt x="0" y="76"/>
                    </a:moveTo>
                    <a:lnTo>
                      <a:pt x="23" y="73"/>
                    </a:lnTo>
                    <a:lnTo>
                      <a:pt x="61" y="21"/>
                    </a:lnTo>
                    <a:lnTo>
                      <a:pt x="40" y="0"/>
                    </a:lnTo>
                    <a:lnTo>
                      <a:pt x="0" y="7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7" name="Freeform 456"/>
              <p:cNvSpPr/>
              <p:nvPr/>
            </p:nvSpPr>
            <p:spPr bwMode="auto">
              <a:xfrm>
                <a:off x="1622" y="2978"/>
                <a:ext cx="43" cy="50"/>
              </a:xfrm>
              <a:custGeom>
                <a:avLst/>
                <a:gdLst>
                  <a:gd name="T0" fmla="*/ 0 w 148"/>
                  <a:gd name="T1" fmla="*/ 1 h 177"/>
                  <a:gd name="T2" fmla="*/ 1 w 148"/>
                  <a:gd name="T3" fmla="*/ 0 h 177"/>
                  <a:gd name="T4" fmla="*/ 2 w 148"/>
                  <a:gd name="T5" fmla="*/ 0 h 177"/>
                  <a:gd name="T6" fmla="*/ 2 w 148"/>
                  <a:gd name="T7" fmla="*/ 1 h 177"/>
                  <a:gd name="T8" fmla="*/ 3 w 148"/>
                  <a:gd name="T9" fmla="*/ 1 h 177"/>
                  <a:gd name="T10" fmla="*/ 3 w 148"/>
                  <a:gd name="T11" fmla="*/ 2 h 177"/>
                  <a:gd name="T12" fmla="*/ 3 w 148"/>
                  <a:gd name="T13" fmla="*/ 3 h 177"/>
                  <a:gd name="T14" fmla="*/ 3 w 148"/>
                  <a:gd name="T15" fmla="*/ 4 h 177"/>
                  <a:gd name="T16" fmla="*/ 0 w 148"/>
                  <a:gd name="T17" fmla="*/ 1 h 1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8"/>
                  <a:gd name="T28" fmla="*/ 0 h 177"/>
                  <a:gd name="T29" fmla="*/ 148 w 148"/>
                  <a:gd name="T30" fmla="*/ 177 h 1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8" h="177">
                    <a:moveTo>
                      <a:pt x="0" y="67"/>
                    </a:moveTo>
                    <a:lnTo>
                      <a:pt x="49" y="0"/>
                    </a:lnTo>
                    <a:lnTo>
                      <a:pt x="70" y="3"/>
                    </a:lnTo>
                    <a:lnTo>
                      <a:pt x="73" y="48"/>
                    </a:lnTo>
                    <a:lnTo>
                      <a:pt x="114" y="41"/>
                    </a:lnTo>
                    <a:lnTo>
                      <a:pt x="110" y="83"/>
                    </a:lnTo>
                    <a:lnTo>
                      <a:pt x="148" y="115"/>
                    </a:lnTo>
                    <a:lnTo>
                      <a:pt x="145" y="177"/>
                    </a:lnTo>
                    <a:lnTo>
                      <a:pt x="0" y="6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8" name="Freeform 457"/>
              <p:cNvSpPr/>
              <p:nvPr/>
            </p:nvSpPr>
            <p:spPr bwMode="auto">
              <a:xfrm>
                <a:off x="1848" y="2652"/>
                <a:ext cx="170" cy="185"/>
              </a:xfrm>
              <a:custGeom>
                <a:avLst/>
                <a:gdLst>
                  <a:gd name="T0" fmla="*/ 0 w 597"/>
                  <a:gd name="T1" fmla="*/ 8 h 646"/>
                  <a:gd name="T2" fmla="*/ 0 w 597"/>
                  <a:gd name="T3" fmla="*/ 3 h 646"/>
                  <a:gd name="T4" fmla="*/ 2 w 597"/>
                  <a:gd name="T5" fmla="*/ 0 h 646"/>
                  <a:gd name="T6" fmla="*/ 5 w 597"/>
                  <a:gd name="T7" fmla="*/ 1 h 646"/>
                  <a:gd name="T8" fmla="*/ 6 w 597"/>
                  <a:gd name="T9" fmla="*/ 2 h 646"/>
                  <a:gd name="T10" fmla="*/ 8 w 597"/>
                  <a:gd name="T11" fmla="*/ 3 h 646"/>
                  <a:gd name="T12" fmla="*/ 9 w 597"/>
                  <a:gd name="T13" fmla="*/ 3 h 646"/>
                  <a:gd name="T14" fmla="*/ 9 w 597"/>
                  <a:gd name="T15" fmla="*/ 1 h 646"/>
                  <a:gd name="T16" fmla="*/ 10 w 597"/>
                  <a:gd name="T17" fmla="*/ 0 h 646"/>
                  <a:gd name="T18" fmla="*/ 14 w 597"/>
                  <a:gd name="T19" fmla="*/ 2 h 646"/>
                  <a:gd name="T20" fmla="*/ 13 w 597"/>
                  <a:gd name="T21" fmla="*/ 3 h 646"/>
                  <a:gd name="T22" fmla="*/ 14 w 597"/>
                  <a:gd name="T23" fmla="*/ 12 h 646"/>
                  <a:gd name="T24" fmla="*/ 14 w 597"/>
                  <a:gd name="T25" fmla="*/ 15 h 646"/>
                  <a:gd name="T26" fmla="*/ 13 w 597"/>
                  <a:gd name="T27" fmla="*/ 15 h 646"/>
                  <a:gd name="T28" fmla="*/ 13 w 597"/>
                  <a:gd name="T29" fmla="*/ 15 h 646"/>
                  <a:gd name="T30" fmla="*/ 6 w 597"/>
                  <a:gd name="T31" fmla="*/ 11 h 646"/>
                  <a:gd name="T32" fmla="*/ 5 w 597"/>
                  <a:gd name="T33" fmla="*/ 11 h 646"/>
                  <a:gd name="T34" fmla="*/ 2 w 597"/>
                  <a:gd name="T35" fmla="*/ 11 h 646"/>
                  <a:gd name="T36" fmla="*/ 0 w 597"/>
                  <a:gd name="T37" fmla="*/ 8 h 6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7"/>
                  <a:gd name="T58" fmla="*/ 0 h 646"/>
                  <a:gd name="T59" fmla="*/ 597 w 597"/>
                  <a:gd name="T60" fmla="*/ 646 h 6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7" h="646">
                    <a:moveTo>
                      <a:pt x="0" y="336"/>
                    </a:moveTo>
                    <a:lnTo>
                      <a:pt x="1" y="139"/>
                    </a:lnTo>
                    <a:lnTo>
                      <a:pt x="74" y="0"/>
                    </a:lnTo>
                    <a:lnTo>
                      <a:pt x="219" y="42"/>
                    </a:lnTo>
                    <a:lnTo>
                      <a:pt x="246" y="89"/>
                    </a:lnTo>
                    <a:lnTo>
                      <a:pt x="363" y="139"/>
                    </a:lnTo>
                    <a:lnTo>
                      <a:pt x="398" y="123"/>
                    </a:lnTo>
                    <a:lnTo>
                      <a:pt x="402" y="52"/>
                    </a:lnTo>
                    <a:lnTo>
                      <a:pt x="440" y="19"/>
                    </a:lnTo>
                    <a:lnTo>
                      <a:pt x="597" y="75"/>
                    </a:lnTo>
                    <a:lnTo>
                      <a:pt x="580" y="150"/>
                    </a:lnTo>
                    <a:lnTo>
                      <a:pt x="597" y="529"/>
                    </a:lnTo>
                    <a:lnTo>
                      <a:pt x="597" y="618"/>
                    </a:lnTo>
                    <a:lnTo>
                      <a:pt x="564" y="619"/>
                    </a:lnTo>
                    <a:lnTo>
                      <a:pt x="564" y="646"/>
                    </a:lnTo>
                    <a:lnTo>
                      <a:pt x="258" y="462"/>
                    </a:lnTo>
                    <a:lnTo>
                      <a:pt x="219" y="483"/>
                    </a:lnTo>
                    <a:lnTo>
                      <a:pt x="89" y="460"/>
                    </a:lnTo>
                    <a:lnTo>
                      <a:pt x="0" y="33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9" name="Freeform 458"/>
              <p:cNvSpPr/>
              <p:nvPr/>
            </p:nvSpPr>
            <p:spPr bwMode="auto">
              <a:xfrm>
                <a:off x="2215" y="3237"/>
                <a:ext cx="77" cy="175"/>
              </a:xfrm>
              <a:custGeom>
                <a:avLst/>
                <a:gdLst>
                  <a:gd name="T0" fmla="*/ 0 w 270"/>
                  <a:gd name="T1" fmla="*/ 10 h 616"/>
                  <a:gd name="T2" fmla="*/ 1 w 270"/>
                  <a:gd name="T3" fmla="*/ 13 h 616"/>
                  <a:gd name="T4" fmla="*/ 2 w 270"/>
                  <a:gd name="T5" fmla="*/ 14 h 616"/>
                  <a:gd name="T6" fmla="*/ 4 w 270"/>
                  <a:gd name="T7" fmla="*/ 13 h 616"/>
                  <a:gd name="T8" fmla="*/ 6 w 270"/>
                  <a:gd name="T9" fmla="*/ 3 h 616"/>
                  <a:gd name="T10" fmla="*/ 6 w 270"/>
                  <a:gd name="T11" fmla="*/ 4 h 616"/>
                  <a:gd name="T12" fmla="*/ 5 w 270"/>
                  <a:gd name="T13" fmla="*/ 0 h 616"/>
                  <a:gd name="T14" fmla="*/ 4 w 270"/>
                  <a:gd name="T15" fmla="*/ 1 h 616"/>
                  <a:gd name="T16" fmla="*/ 4 w 270"/>
                  <a:gd name="T17" fmla="*/ 3 h 616"/>
                  <a:gd name="T18" fmla="*/ 3 w 270"/>
                  <a:gd name="T19" fmla="*/ 4 h 616"/>
                  <a:gd name="T20" fmla="*/ 1 w 270"/>
                  <a:gd name="T21" fmla="*/ 4 h 616"/>
                  <a:gd name="T22" fmla="*/ 1 w 270"/>
                  <a:gd name="T23" fmla="*/ 5 h 616"/>
                  <a:gd name="T24" fmla="*/ 1 w 270"/>
                  <a:gd name="T25" fmla="*/ 8 h 616"/>
                  <a:gd name="T26" fmla="*/ 0 w 270"/>
                  <a:gd name="T27" fmla="*/ 10 h 6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0"/>
                  <a:gd name="T43" fmla="*/ 0 h 616"/>
                  <a:gd name="T44" fmla="*/ 270 w 270"/>
                  <a:gd name="T45" fmla="*/ 616 h 6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0" h="616">
                    <a:moveTo>
                      <a:pt x="0" y="441"/>
                    </a:moveTo>
                    <a:lnTo>
                      <a:pt x="26" y="567"/>
                    </a:lnTo>
                    <a:lnTo>
                      <a:pt x="76" y="616"/>
                    </a:lnTo>
                    <a:lnTo>
                      <a:pt x="161" y="567"/>
                    </a:lnTo>
                    <a:lnTo>
                      <a:pt x="254" y="144"/>
                    </a:lnTo>
                    <a:lnTo>
                      <a:pt x="270" y="161"/>
                    </a:lnTo>
                    <a:lnTo>
                      <a:pt x="232" y="0"/>
                    </a:lnTo>
                    <a:lnTo>
                      <a:pt x="182" y="68"/>
                    </a:lnTo>
                    <a:lnTo>
                      <a:pt x="182" y="115"/>
                    </a:lnTo>
                    <a:lnTo>
                      <a:pt x="122" y="165"/>
                    </a:lnTo>
                    <a:lnTo>
                      <a:pt x="47" y="186"/>
                    </a:lnTo>
                    <a:lnTo>
                      <a:pt x="29" y="240"/>
                    </a:lnTo>
                    <a:lnTo>
                      <a:pt x="47" y="348"/>
                    </a:lnTo>
                    <a:lnTo>
                      <a:pt x="0" y="44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0" name="Freeform 459"/>
              <p:cNvSpPr/>
              <p:nvPr/>
            </p:nvSpPr>
            <p:spPr bwMode="auto">
              <a:xfrm>
                <a:off x="2103" y="3202"/>
                <a:ext cx="36" cy="99"/>
              </a:xfrm>
              <a:custGeom>
                <a:avLst/>
                <a:gdLst>
                  <a:gd name="T0" fmla="*/ 0 w 124"/>
                  <a:gd name="T1" fmla="*/ 4 h 346"/>
                  <a:gd name="T2" fmla="*/ 0 w 124"/>
                  <a:gd name="T3" fmla="*/ 5 h 346"/>
                  <a:gd name="T4" fmla="*/ 2 w 124"/>
                  <a:gd name="T5" fmla="*/ 5 h 346"/>
                  <a:gd name="T6" fmla="*/ 1 w 124"/>
                  <a:gd name="T7" fmla="*/ 7 h 346"/>
                  <a:gd name="T8" fmla="*/ 2 w 124"/>
                  <a:gd name="T9" fmla="*/ 8 h 346"/>
                  <a:gd name="T10" fmla="*/ 3 w 124"/>
                  <a:gd name="T11" fmla="*/ 6 h 346"/>
                  <a:gd name="T12" fmla="*/ 2 w 124"/>
                  <a:gd name="T13" fmla="*/ 4 h 346"/>
                  <a:gd name="T14" fmla="*/ 2 w 124"/>
                  <a:gd name="T15" fmla="*/ 5 h 346"/>
                  <a:gd name="T16" fmla="*/ 2 w 124"/>
                  <a:gd name="T17" fmla="*/ 5 h 346"/>
                  <a:gd name="T18" fmla="*/ 1 w 124"/>
                  <a:gd name="T19" fmla="*/ 3 h 346"/>
                  <a:gd name="T20" fmla="*/ 1 w 124"/>
                  <a:gd name="T21" fmla="*/ 0 h 346"/>
                  <a:gd name="T22" fmla="*/ 0 w 124"/>
                  <a:gd name="T23" fmla="*/ 0 h 346"/>
                  <a:gd name="T24" fmla="*/ 1 w 124"/>
                  <a:gd name="T25" fmla="*/ 1 h 346"/>
                  <a:gd name="T26" fmla="*/ 0 w 124"/>
                  <a:gd name="T27" fmla="*/ 4 h 3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4"/>
                  <a:gd name="T43" fmla="*/ 0 h 346"/>
                  <a:gd name="T44" fmla="*/ 124 w 124"/>
                  <a:gd name="T45" fmla="*/ 346 h 3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4" h="346">
                    <a:moveTo>
                      <a:pt x="0" y="189"/>
                    </a:moveTo>
                    <a:lnTo>
                      <a:pt x="16" y="209"/>
                    </a:lnTo>
                    <a:lnTo>
                      <a:pt x="64" y="228"/>
                    </a:lnTo>
                    <a:lnTo>
                      <a:pt x="61" y="292"/>
                    </a:lnTo>
                    <a:lnTo>
                      <a:pt x="100" y="346"/>
                    </a:lnTo>
                    <a:lnTo>
                      <a:pt x="124" y="248"/>
                    </a:lnTo>
                    <a:lnTo>
                      <a:pt x="84" y="182"/>
                    </a:lnTo>
                    <a:lnTo>
                      <a:pt x="95" y="219"/>
                    </a:lnTo>
                    <a:lnTo>
                      <a:pt x="72" y="217"/>
                    </a:lnTo>
                    <a:lnTo>
                      <a:pt x="47" y="128"/>
                    </a:lnTo>
                    <a:lnTo>
                      <a:pt x="46" y="9"/>
                    </a:lnTo>
                    <a:lnTo>
                      <a:pt x="10" y="0"/>
                    </a:lnTo>
                    <a:lnTo>
                      <a:pt x="38" y="58"/>
                    </a:lnTo>
                    <a:lnTo>
                      <a:pt x="0" y="18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1" name="Freeform 460"/>
              <p:cNvSpPr/>
              <p:nvPr/>
            </p:nvSpPr>
            <p:spPr bwMode="auto">
              <a:xfrm>
                <a:off x="1615" y="2764"/>
                <a:ext cx="177" cy="191"/>
              </a:xfrm>
              <a:custGeom>
                <a:avLst/>
                <a:gdLst>
                  <a:gd name="T0" fmla="*/ 0 w 618"/>
                  <a:gd name="T1" fmla="*/ 11 h 673"/>
                  <a:gd name="T2" fmla="*/ 1 w 618"/>
                  <a:gd name="T3" fmla="*/ 10 h 673"/>
                  <a:gd name="T4" fmla="*/ 1 w 618"/>
                  <a:gd name="T5" fmla="*/ 10 h 673"/>
                  <a:gd name="T6" fmla="*/ 6 w 618"/>
                  <a:gd name="T7" fmla="*/ 10 h 673"/>
                  <a:gd name="T8" fmla="*/ 5 w 618"/>
                  <a:gd name="T9" fmla="*/ 0 h 673"/>
                  <a:gd name="T10" fmla="*/ 7 w 618"/>
                  <a:gd name="T11" fmla="*/ 0 h 673"/>
                  <a:gd name="T12" fmla="*/ 14 w 618"/>
                  <a:gd name="T13" fmla="*/ 5 h 673"/>
                  <a:gd name="T14" fmla="*/ 14 w 618"/>
                  <a:gd name="T15" fmla="*/ 6 h 673"/>
                  <a:gd name="T16" fmla="*/ 15 w 618"/>
                  <a:gd name="T17" fmla="*/ 6 h 673"/>
                  <a:gd name="T18" fmla="*/ 15 w 618"/>
                  <a:gd name="T19" fmla="*/ 9 h 673"/>
                  <a:gd name="T20" fmla="*/ 14 w 618"/>
                  <a:gd name="T21" fmla="*/ 10 h 673"/>
                  <a:gd name="T22" fmla="*/ 11 w 618"/>
                  <a:gd name="T23" fmla="*/ 11 h 673"/>
                  <a:gd name="T24" fmla="*/ 7 w 618"/>
                  <a:gd name="T25" fmla="*/ 12 h 673"/>
                  <a:gd name="T26" fmla="*/ 6 w 618"/>
                  <a:gd name="T27" fmla="*/ 15 h 673"/>
                  <a:gd name="T28" fmla="*/ 5 w 618"/>
                  <a:gd name="T29" fmla="*/ 15 h 673"/>
                  <a:gd name="T30" fmla="*/ 4 w 618"/>
                  <a:gd name="T31" fmla="*/ 15 h 673"/>
                  <a:gd name="T32" fmla="*/ 3 w 618"/>
                  <a:gd name="T33" fmla="*/ 13 h 673"/>
                  <a:gd name="T34" fmla="*/ 1 w 618"/>
                  <a:gd name="T35" fmla="*/ 14 h 673"/>
                  <a:gd name="T36" fmla="*/ 1 w 618"/>
                  <a:gd name="T37" fmla="*/ 13 h 673"/>
                  <a:gd name="T38" fmla="*/ 0 w 618"/>
                  <a:gd name="T39" fmla="*/ 11 h 6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18"/>
                  <a:gd name="T61" fmla="*/ 0 h 673"/>
                  <a:gd name="T62" fmla="*/ 618 w 618"/>
                  <a:gd name="T63" fmla="*/ 673 h 6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18" h="673">
                    <a:moveTo>
                      <a:pt x="0" y="468"/>
                    </a:moveTo>
                    <a:lnTo>
                      <a:pt x="26" y="418"/>
                    </a:lnTo>
                    <a:lnTo>
                      <a:pt x="56" y="450"/>
                    </a:lnTo>
                    <a:lnTo>
                      <a:pt x="248" y="435"/>
                    </a:lnTo>
                    <a:lnTo>
                      <a:pt x="208" y="0"/>
                    </a:lnTo>
                    <a:lnTo>
                      <a:pt x="279" y="0"/>
                    </a:lnTo>
                    <a:lnTo>
                      <a:pt x="583" y="236"/>
                    </a:lnTo>
                    <a:lnTo>
                      <a:pt x="585" y="275"/>
                    </a:lnTo>
                    <a:lnTo>
                      <a:pt x="617" y="271"/>
                    </a:lnTo>
                    <a:lnTo>
                      <a:pt x="618" y="409"/>
                    </a:lnTo>
                    <a:lnTo>
                      <a:pt x="591" y="439"/>
                    </a:lnTo>
                    <a:lnTo>
                      <a:pt x="467" y="458"/>
                    </a:lnTo>
                    <a:lnTo>
                      <a:pt x="310" y="537"/>
                    </a:lnTo>
                    <a:lnTo>
                      <a:pt x="261" y="665"/>
                    </a:lnTo>
                    <a:lnTo>
                      <a:pt x="223" y="649"/>
                    </a:lnTo>
                    <a:lnTo>
                      <a:pt x="155" y="673"/>
                    </a:lnTo>
                    <a:lnTo>
                      <a:pt x="117" y="566"/>
                    </a:lnTo>
                    <a:lnTo>
                      <a:pt x="53" y="592"/>
                    </a:lnTo>
                    <a:lnTo>
                      <a:pt x="26" y="569"/>
                    </a:lnTo>
                    <a:lnTo>
                      <a:pt x="0" y="46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2" name="Freeform 461"/>
              <p:cNvSpPr/>
              <p:nvPr/>
            </p:nvSpPr>
            <p:spPr bwMode="auto">
              <a:xfrm>
                <a:off x="1562" y="2733"/>
                <a:ext cx="133" cy="164"/>
              </a:xfrm>
              <a:custGeom>
                <a:avLst/>
                <a:gdLst>
                  <a:gd name="T0" fmla="*/ 0 w 467"/>
                  <a:gd name="T1" fmla="*/ 7 h 575"/>
                  <a:gd name="T2" fmla="*/ 1 w 467"/>
                  <a:gd name="T3" fmla="*/ 7 h 575"/>
                  <a:gd name="T4" fmla="*/ 1 w 467"/>
                  <a:gd name="T5" fmla="*/ 9 h 575"/>
                  <a:gd name="T6" fmla="*/ 0 w 467"/>
                  <a:gd name="T7" fmla="*/ 12 h 575"/>
                  <a:gd name="T8" fmla="*/ 2 w 467"/>
                  <a:gd name="T9" fmla="*/ 11 h 575"/>
                  <a:gd name="T10" fmla="*/ 4 w 467"/>
                  <a:gd name="T11" fmla="*/ 13 h 575"/>
                  <a:gd name="T12" fmla="*/ 5 w 467"/>
                  <a:gd name="T13" fmla="*/ 12 h 575"/>
                  <a:gd name="T14" fmla="*/ 6 w 467"/>
                  <a:gd name="T15" fmla="*/ 13 h 575"/>
                  <a:gd name="T16" fmla="*/ 10 w 467"/>
                  <a:gd name="T17" fmla="*/ 13 h 575"/>
                  <a:gd name="T18" fmla="*/ 9 w 467"/>
                  <a:gd name="T19" fmla="*/ 3 h 575"/>
                  <a:gd name="T20" fmla="*/ 11 w 467"/>
                  <a:gd name="T21" fmla="*/ 3 h 575"/>
                  <a:gd name="T22" fmla="*/ 7 w 467"/>
                  <a:gd name="T23" fmla="*/ 0 h 575"/>
                  <a:gd name="T24" fmla="*/ 7 w 467"/>
                  <a:gd name="T25" fmla="*/ 1 h 575"/>
                  <a:gd name="T26" fmla="*/ 5 w 467"/>
                  <a:gd name="T27" fmla="*/ 1 h 575"/>
                  <a:gd name="T28" fmla="*/ 5 w 467"/>
                  <a:gd name="T29" fmla="*/ 4 h 575"/>
                  <a:gd name="T30" fmla="*/ 3 w 467"/>
                  <a:gd name="T31" fmla="*/ 5 h 575"/>
                  <a:gd name="T32" fmla="*/ 4 w 467"/>
                  <a:gd name="T33" fmla="*/ 6 h 575"/>
                  <a:gd name="T34" fmla="*/ 0 w 467"/>
                  <a:gd name="T35" fmla="*/ 7 h 5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7"/>
                  <a:gd name="T55" fmla="*/ 0 h 575"/>
                  <a:gd name="T56" fmla="*/ 467 w 467"/>
                  <a:gd name="T57" fmla="*/ 575 h 5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7" h="575">
                    <a:moveTo>
                      <a:pt x="0" y="288"/>
                    </a:moveTo>
                    <a:lnTo>
                      <a:pt x="30" y="320"/>
                    </a:lnTo>
                    <a:lnTo>
                      <a:pt x="36" y="408"/>
                    </a:lnTo>
                    <a:lnTo>
                      <a:pt x="13" y="515"/>
                    </a:lnTo>
                    <a:lnTo>
                      <a:pt x="101" y="492"/>
                    </a:lnTo>
                    <a:lnTo>
                      <a:pt x="188" y="575"/>
                    </a:lnTo>
                    <a:lnTo>
                      <a:pt x="214" y="525"/>
                    </a:lnTo>
                    <a:lnTo>
                      <a:pt x="244" y="557"/>
                    </a:lnTo>
                    <a:lnTo>
                      <a:pt x="436" y="542"/>
                    </a:lnTo>
                    <a:lnTo>
                      <a:pt x="396" y="107"/>
                    </a:lnTo>
                    <a:lnTo>
                      <a:pt x="467" y="107"/>
                    </a:lnTo>
                    <a:lnTo>
                      <a:pt x="322" y="0"/>
                    </a:lnTo>
                    <a:lnTo>
                      <a:pt x="317" y="58"/>
                    </a:lnTo>
                    <a:lnTo>
                      <a:pt x="197" y="54"/>
                    </a:lnTo>
                    <a:lnTo>
                      <a:pt x="196" y="176"/>
                    </a:lnTo>
                    <a:lnTo>
                      <a:pt x="152" y="199"/>
                    </a:lnTo>
                    <a:lnTo>
                      <a:pt x="156" y="270"/>
                    </a:lnTo>
                    <a:lnTo>
                      <a:pt x="0" y="28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3" name="Freeform 462"/>
              <p:cNvSpPr/>
              <p:nvPr/>
            </p:nvSpPr>
            <p:spPr bwMode="auto">
              <a:xfrm>
                <a:off x="1606" y="2617"/>
                <a:ext cx="127" cy="111"/>
              </a:xfrm>
              <a:custGeom>
                <a:avLst/>
                <a:gdLst>
                  <a:gd name="T0" fmla="*/ 0 w 447"/>
                  <a:gd name="T1" fmla="*/ 9 h 392"/>
                  <a:gd name="T2" fmla="*/ 3 w 447"/>
                  <a:gd name="T3" fmla="*/ 7 h 392"/>
                  <a:gd name="T4" fmla="*/ 3 w 447"/>
                  <a:gd name="T5" fmla="*/ 3 h 392"/>
                  <a:gd name="T6" fmla="*/ 6 w 447"/>
                  <a:gd name="T7" fmla="*/ 2 h 392"/>
                  <a:gd name="T8" fmla="*/ 6 w 447"/>
                  <a:gd name="T9" fmla="*/ 0 h 392"/>
                  <a:gd name="T10" fmla="*/ 9 w 447"/>
                  <a:gd name="T11" fmla="*/ 1 h 392"/>
                  <a:gd name="T12" fmla="*/ 10 w 447"/>
                  <a:gd name="T13" fmla="*/ 4 h 392"/>
                  <a:gd name="T14" fmla="*/ 9 w 447"/>
                  <a:gd name="T15" fmla="*/ 4 h 392"/>
                  <a:gd name="T16" fmla="*/ 8 w 447"/>
                  <a:gd name="T17" fmla="*/ 4 h 392"/>
                  <a:gd name="T18" fmla="*/ 8 w 447"/>
                  <a:gd name="T19" fmla="*/ 5 h 392"/>
                  <a:gd name="T20" fmla="*/ 4 w 447"/>
                  <a:gd name="T21" fmla="*/ 7 h 392"/>
                  <a:gd name="T22" fmla="*/ 4 w 447"/>
                  <a:gd name="T23" fmla="*/ 9 h 392"/>
                  <a:gd name="T24" fmla="*/ 0 w 447"/>
                  <a:gd name="T25" fmla="*/ 9 h 3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47"/>
                  <a:gd name="T40" fmla="*/ 0 h 392"/>
                  <a:gd name="T41" fmla="*/ 447 w 447"/>
                  <a:gd name="T42" fmla="*/ 392 h 39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47" h="392">
                    <a:moveTo>
                      <a:pt x="0" y="387"/>
                    </a:moveTo>
                    <a:lnTo>
                      <a:pt x="109" y="311"/>
                    </a:lnTo>
                    <a:lnTo>
                      <a:pt x="149" y="157"/>
                    </a:lnTo>
                    <a:lnTo>
                      <a:pt x="242" y="77"/>
                    </a:lnTo>
                    <a:lnTo>
                      <a:pt x="273" y="0"/>
                    </a:lnTo>
                    <a:lnTo>
                      <a:pt x="409" y="26"/>
                    </a:lnTo>
                    <a:lnTo>
                      <a:pt x="447" y="172"/>
                    </a:lnTo>
                    <a:lnTo>
                      <a:pt x="387" y="175"/>
                    </a:lnTo>
                    <a:lnTo>
                      <a:pt x="352" y="192"/>
                    </a:lnTo>
                    <a:lnTo>
                      <a:pt x="359" y="230"/>
                    </a:lnTo>
                    <a:lnTo>
                      <a:pt x="184" y="317"/>
                    </a:lnTo>
                    <a:lnTo>
                      <a:pt x="163" y="392"/>
                    </a:lnTo>
                    <a:lnTo>
                      <a:pt x="0" y="38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4" name="Freeform 463"/>
              <p:cNvSpPr/>
              <p:nvPr/>
            </p:nvSpPr>
            <p:spPr bwMode="auto">
              <a:xfrm>
                <a:off x="2074" y="3215"/>
                <a:ext cx="114" cy="211"/>
              </a:xfrm>
              <a:custGeom>
                <a:avLst/>
                <a:gdLst>
                  <a:gd name="T0" fmla="*/ 0 w 398"/>
                  <a:gd name="T1" fmla="*/ 5 h 739"/>
                  <a:gd name="T2" fmla="*/ 0 w 398"/>
                  <a:gd name="T3" fmla="*/ 5 h 739"/>
                  <a:gd name="T4" fmla="*/ 2 w 398"/>
                  <a:gd name="T5" fmla="*/ 6 h 739"/>
                  <a:gd name="T6" fmla="*/ 3 w 398"/>
                  <a:gd name="T7" fmla="*/ 7 h 739"/>
                  <a:gd name="T8" fmla="*/ 3 w 398"/>
                  <a:gd name="T9" fmla="*/ 10 h 739"/>
                  <a:gd name="T10" fmla="*/ 1 w 398"/>
                  <a:gd name="T11" fmla="*/ 13 h 739"/>
                  <a:gd name="T12" fmla="*/ 2 w 398"/>
                  <a:gd name="T13" fmla="*/ 16 h 739"/>
                  <a:gd name="T14" fmla="*/ 2 w 398"/>
                  <a:gd name="T15" fmla="*/ 17 h 739"/>
                  <a:gd name="T16" fmla="*/ 3 w 398"/>
                  <a:gd name="T17" fmla="*/ 17 h 739"/>
                  <a:gd name="T18" fmla="*/ 3 w 398"/>
                  <a:gd name="T19" fmla="*/ 16 h 739"/>
                  <a:gd name="T20" fmla="*/ 5 w 398"/>
                  <a:gd name="T21" fmla="*/ 15 h 739"/>
                  <a:gd name="T22" fmla="*/ 4 w 398"/>
                  <a:gd name="T23" fmla="*/ 10 h 739"/>
                  <a:gd name="T24" fmla="*/ 9 w 398"/>
                  <a:gd name="T25" fmla="*/ 5 h 739"/>
                  <a:gd name="T26" fmla="*/ 9 w 398"/>
                  <a:gd name="T27" fmla="*/ 0 h 739"/>
                  <a:gd name="T28" fmla="*/ 8 w 398"/>
                  <a:gd name="T29" fmla="*/ 1 h 739"/>
                  <a:gd name="T30" fmla="*/ 4 w 398"/>
                  <a:gd name="T31" fmla="*/ 1 h 739"/>
                  <a:gd name="T32" fmla="*/ 4 w 398"/>
                  <a:gd name="T33" fmla="*/ 3 h 739"/>
                  <a:gd name="T34" fmla="*/ 5 w 398"/>
                  <a:gd name="T35" fmla="*/ 5 h 739"/>
                  <a:gd name="T36" fmla="*/ 5 w 398"/>
                  <a:gd name="T37" fmla="*/ 7 h 739"/>
                  <a:gd name="T38" fmla="*/ 4 w 398"/>
                  <a:gd name="T39" fmla="*/ 6 h 739"/>
                  <a:gd name="T40" fmla="*/ 4 w 398"/>
                  <a:gd name="T41" fmla="*/ 4 h 739"/>
                  <a:gd name="T42" fmla="*/ 3 w 398"/>
                  <a:gd name="T43" fmla="*/ 4 h 739"/>
                  <a:gd name="T44" fmla="*/ 0 w 398"/>
                  <a:gd name="T45" fmla="*/ 5 h 7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98"/>
                  <a:gd name="T70" fmla="*/ 0 h 739"/>
                  <a:gd name="T71" fmla="*/ 398 w 398"/>
                  <a:gd name="T72" fmla="*/ 739 h 7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98" h="739">
                    <a:moveTo>
                      <a:pt x="0" y="206"/>
                    </a:moveTo>
                    <a:lnTo>
                      <a:pt x="8" y="230"/>
                    </a:lnTo>
                    <a:lnTo>
                      <a:pt x="102" y="263"/>
                    </a:lnTo>
                    <a:lnTo>
                      <a:pt x="113" y="310"/>
                    </a:lnTo>
                    <a:lnTo>
                      <a:pt x="105" y="428"/>
                    </a:lnTo>
                    <a:lnTo>
                      <a:pt x="57" y="549"/>
                    </a:lnTo>
                    <a:lnTo>
                      <a:pt x="73" y="693"/>
                    </a:lnTo>
                    <a:lnTo>
                      <a:pt x="77" y="739"/>
                    </a:lnTo>
                    <a:lnTo>
                      <a:pt x="104" y="739"/>
                    </a:lnTo>
                    <a:lnTo>
                      <a:pt x="104" y="689"/>
                    </a:lnTo>
                    <a:lnTo>
                      <a:pt x="205" y="622"/>
                    </a:lnTo>
                    <a:lnTo>
                      <a:pt x="175" y="428"/>
                    </a:lnTo>
                    <a:lnTo>
                      <a:pt x="396" y="229"/>
                    </a:lnTo>
                    <a:lnTo>
                      <a:pt x="398" y="0"/>
                    </a:lnTo>
                    <a:lnTo>
                      <a:pt x="342" y="39"/>
                    </a:lnTo>
                    <a:lnTo>
                      <a:pt x="188" y="52"/>
                    </a:lnTo>
                    <a:lnTo>
                      <a:pt x="187" y="134"/>
                    </a:lnTo>
                    <a:lnTo>
                      <a:pt x="227" y="200"/>
                    </a:lnTo>
                    <a:lnTo>
                      <a:pt x="203" y="298"/>
                    </a:lnTo>
                    <a:lnTo>
                      <a:pt x="164" y="244"/>
                    </a:lnTo>
                    <a:lnTo>
                      <a:pt x="167" y="180"/>
                    </a:lnTo>
                    <a:lnTo>
                      <a:pt x="119" y="161"/>
                    </a:lnTo>
                    <a:lnTo>
                      <a:pt x="0" y="20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5" name="Freeform 464"/>
              <p:cNvSpPr/>
              <p:nvPr/>
            </p:nvSpPr>
            <p:spPr bwMode="auto">
              <a:xfrm>
                <a:off x="1749" y="2784"/>
                <a:ext cx="173" cy="152"/>
              </a:xfrm>
              <a:custGeom>
                <a:avLst/>
                <a:gdLst>
                  <a:gd name="T0" fmla="*/ 0 w 607"/>
                  <a:gd name="T1" fmla="*/ 9 h 535"/>
                  <a:gd name="T2" fmla="*/ 0 w 607"/>
                  <a:gd name="T3" fmla="*/ 10 h 535"/>
                  <a:gd name="T4" fmla="*/ 2 w 607"/>
                  <a:gd name="T5" fmla="*/ 12 h 535"/>
                  <a:gd name="T6" fmla="*/ 2 w 607"/>
                  <a:gd name="T7" fmla="*/ 12 h 535"/>
                  <a:gd name="T8" fmla="*/ 3 w 607"/>
                  <a:gd name="T9" fmla="*/ 12 h 535"/>
                  <a:gd name="T10" fmla="*/ 4 w 607"/>
                  <a:gd name="T11" fmla="*/ 10 h 535"/>
                  <a:gd name="T12" fmla="*/ 8 w 607"/>
                  <a:gd name="T13" fmla="*/ 11 h 535"/>
                  <a:gd name="T14" fmla="*/ 11 w 607"/>
                  <a:gd name="T15" fmla="*/ 10 h 535"/>
                  <a:gd name="T16" fmla="*/ 12 w 607"/>
                  <a:gd name="T17" fmla="*/ 10 h 535"/>
                  <a:gd name="T18" fmla="*/ 13 w 607"/>
                  <a:gd name="T19" fmla="*/ 7 h 535"/>
                  <a:gd name="T20" fmla="*/ 14 w 607"/>
                  <a:gd name="T21" fmla="*/ 3 h 535"/>
                  <a:gd name="T22" fmla="*/ 13 w 607"/>
                  <a:gd name="T23" fmla="*/ 2 h 535"/>
                  <a:gd name="T24" fmla="*/ 13 w 607"/>
                  <a:gd name="T25" fmla="*/ 1 h 535"/>
                  <a:gd name="T26" fmla="*/ 10 w 607"/>
                  <a:gd name="T27" fmla="*/ 0 h 535"/>
                  <a:gd name="T28" fmla="*/ 5 w 607"/>
                  <a:gd name="T29" fmla="*/ 4 h 535"/>
                  <a:gd name="T30" fmla="*/ 3 w 607"/>
                  <a:gd name="T31" fmla="*/ 5 h 535"/>
                  <a:gd name="T32" fmla="*/ 3 w 607"/>
                  <a:gd name="T33" fmla="*/ 8 h 535"/>
                  <a:gd name="T34" fmla="*/ 3 w 607"/>
                  <a:gd name="T35" fmla="*/ 9 h 535"/>
                  <a:gd name="T36" fmla="*/ 0 w 607"/>
                  <a:gd name="T37" fmla="*/ 9 h 5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535"/>
                  <a:gd name="T59" fmla="*/ 607 w 607"/>
                  <a:gd name="T60" fmla="*/ 535 h 5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535">
                    <a:moveTo>
                      <a:pt x="0" y="389"/>
                    </a:moveTo>
                    <a:lnTo>
                      <a:pt x="8" y="431"/>
                    </a:lnTo>
                    <a:lnTo>
                      <a:pt x="79" y="524"/>
                    </a:lnTo>
                    <a:lnTo>
                      <a:pt x="100" y="505"/>
                    </a:lnTo>
                    <a:lnTo>
                      <a:pt x="129" y="535"/>
                    </a:lnTo>
                    <a:lnTo>
                      <a:pt x="178" y="442"/>
                    </a:lnTo>
                    <a:lnTo>
                      <a:pt x="349" y="489"/>
                    </a:lnTo>
                    <a:lnTo>
                      <a:pt x="498" y="440"/>
                    </a:lnTo>
                    <a:lnTo>
                      <a:pt x="504" y="418"/>
                    </a:lnTo>
                    <a:lnTo>
                      <a:pt x="579" y="300"/>
                    </a:lnTo>
                    <a:lnTo>
                      <a:pt x="607" y="142"/>
                    </a:lnTo>
                    <a:lnTo>
                      <a:pt x="568" y="92"/>
                    </a:lnTo>
                    <a:lnTo>
                      <a:pt x="568" y="23"/>
                    </a:lnTo>
                    <a:lnTo>
                      <a:pt x="438" y="0"/>
                    </a:lnTo>
                    <a:lnTo>
                      <a:pt x="209" y="185"/>
                    </a:lnTo>
                    <a:lnTo>
                      <a:pt x="150" y="202"/>
                    </a:lnTo>
                    <a:lnTo>
                      <a:pt x="151" y="340"/>
                    </a:lnTo>
                    <a:lnTo>
                      <a:pt x="124" y="370"/>
                    </a:lnTo>
                    <a:lnTo>
                      <a:pt x="0" y="38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6" name="Freeform 465"/>
              <p:cNvSpPr/>
              <p:nvPr/>
            </p:nvSpPr>
            <p:spPr bwMode="auto">
              <a:xfrm>
                <a:off x="1777" y="2908"/>
                <a:ext cx="127" cy="123"/>
              </a:xfrm>
              <a:custGeom>
                <a:avLst/>
                <a:gdLst>
                  <a:gd name="T0" fmla="*/ 0 w 445"/>
                  <a:gd name="T1" fmla="*/ 8 h 429"/>
                  <a:gd name="T2" fmla="*/ 1 w 445"/>
                  <a:gd name="T3" fmla="*/ 2 h 429"/>
                  <a:gd name="T4" fmla="*/ 2 w 445"/>
                  <a:gd name="T5" fmla="*/ 0 h 429"/>
                  <a:gd name="T6" fmla="*/ 6 w 445"/>
                  <a:gd name="T7" fmla="*/ 1 h 429"/>
                  <a:gd name="T8" fmla="*/ 9 w 445"/>
                  <a:gd name="T9" fmla="*/ 0 h 429"/>
                  <a:gd name="T10" fmla="*/ 10 w 445"/>
                  <a:gd name="T11" fmla="*/ 1 h 429"/>
                  <a:gd name="T12" fmla="*/ 10 w 445"/>
                  <a:gd name="T13" fmla="*/ 2 h 429"/>
                  <a:gd name="T14" fmla="*/ 9 w 445"/>
                  <a:gd name="T15" fmla="*/ 3 h 429"/>
                  <a:gd name="T16" fmla="*/ 7 w 445"/>
                  <a:gd name="T17" fmla="*/ 8 h 429"/>
                  <a:gd name="T18" fmla="*/ 6 w 445"/>
                  <a:gd name="T19" fmla="*/ 7 h 429"/>
                  <a:gd name="T20" fmla="*/ 5 w 445"/>
                  <a:gd name="T21" fmla="*/ 9 h 429"/>
                  <a:gd name="T22" fmla="*/ 3 w 445"/>
                  <a:gd name="T23" fmla="*/ 10 h 429"/>
                  <a:gd name="T24" fmla="*/ 2 w 445"/>
                  <a:gd name="T25" fmla="*/ 8 h 429"/>
                  <a:gd name="T26" fmla="*/ 0 w 445"/>
                  <a:gd name="T27" fmla="*/ 8 h 4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45"/>
                  <a:gd name="T43" fmla="*/ 0 h 429"/>
                  <a:gd name="T44" fmla="*/ 445 w 445"/>
                  <a:gd name="T45" fmla="*/ 429 h 4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45" h="429">
                    <a:moveTo>
                      <a:pt x="0" y="335"/>
                    </a:moveTo>
                    <a:lnTo>
                      <a:pt x="29" y="95"/>
                    </a:lnTo>
                    <a:lnTo>
                      <a:pt x="78" y="2"/>
                    </a:lnTo>
                    <a:lnTo>
                      <a:pt x="249" y="49"/>
                    </a:lnTo>
                    <a:lnTo>
                      <a:pt x="398" y="0"/>
                    </a:lnTo>
                    <a:lnTo>
                      <a:pt x="428" y="57"/>
                    </a:lnTo>
                    <a:lnTo>
                      <a:pt x="445" y="95"/>
                    </a:lnTo>
                    <a:lnTo>
                      <a:pt x="406" y="130"/>
                    </a:lnTo>
                    <a:lnTo>
                      <a:pt x="323" y="324"/>
                    </a:lnTo>
                    <a:lnTo>
                      <a:pt x="252" y="312"/>
                    </a:lnTo>
                    <a:lnTo>
                      <a:pt x="214" y="404"/>
                    </a:lnTo>
                    <a:lnTo>
                      <a:pt x="128" y="429"/>
                    </a:lnTo>
                    <a:lnTo>
                      <a:pt x="78" y="347"/>
                    </a:lnTo>
                    <a:lnTo>
                      <a:pt x="0" y="33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7" name="Freeform 466"/>
              <p:cNvSpPr/>
              <p:nvPr/>
            </p:nvSpPr>
            <p:spPr bwMode="auto">
              <a:xfrm>
                <a:off x="1564" y="2923"/>
                <a:ext cx="33" cy="23"/>
              </a:xfrm>
              <a:custGeom>
                <a:avLst/>
                <a:gdLst>
                  <a:gd name="T0" fmla="*/ 0 w 117"/>
                  <a:gd name="T1" fmla="*/ 0 h 79"/>
                  <a:gd name="T2" fmla="*/ 1 w 117"/>
                  <a:gd name="T3" fmla="*/ 1 h 79"/>
                  <a:gd name="T4" fmla="*/ 2 w 117"/>
                  <a:gd name="T5" fmla="*/ 1 h 79"/>
                  <a:gd name="T6" fmla="*/ 1 w 117"/>
                  <a:gd name="T7" fmla="*/ 1 h 79"/>
                  <a:gd name="T8" fmla="*/ 1 w 117"/>
                  <a:gd name="T9" fmla="*/ 2 h 79"/>
                  <a:gd name="T10" fmla="*/ 3 w 117"/>
                  <a:gd name="T11" fmla="*/ 1 h 79"/>
                  <a:gd name="T12" fmla="*/ 3 w 117"/>
                  <a:gd name="T13" fmla="*/ 0 h 79"/>
                  <a:gd name="T14" fmla="*/ 0 w 117"/>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79"/>
                  <a:gd name="T26" fmla="*/ 117 w 117"/>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79">
                    <a:moveTo>
                      <a:pt x="0" y="9"/>
                    </a:moveTo>
                    <a:lnTo>
                      <a:pt x="38" y="44"/>
                    </a:lnTo>
                    <a:lnTo>
                      <a:pt x="72" y="33"/>
                    </a:lnTo>
                    <a:lnTo>
                      <a:pt x="54" y="44"/>
                    </a:lnTo>
                    <a:lnTo>
                      <a:pt x="68" y="79"/>
                    </a:lnTo>
                    <a:lnTo>
                      <a:pt x="114" y="44"/>
                    </a:lnTo>
                    <a:lnTo>
                      <a:pt x="117" y="0"/>
                    </a:lnTo>
                    <a:lnTo>
                      <a:pt x="0" y="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8" name="Freeform 467"/>
              <p:cNvSpPr/>
              <p:nvPr/>
            </p:nvSpPr>
            <p:spPr bwMode="auto">
              <a:xfrm>
                <a:off x="2300" y="2748"/>
                <a:ext cx="6" cy="22"/>
              </a:xfrm>
              <a:custGeom>
                <a:avLst/>
                <a:gdLst>
                  <a:gd name="T0" fmla="*/ 0 w 22"/>
                  <a:gd name="T1" fmla="*/ 1 h 74"/>
                  <a:gd name="T2" fmla="*/ 0 w 22"/>
                  <a:gd name="T3" fmla="*/ 2 h 74"/>
                  <a:gd name="T4" fmla="*/ 1 w 22"/>
                  <a:gd name="T5" fmla="*/ 2 h 74"/>
                  <a:gd name="T6" fmla="*/ 0 w 22"/>
                  <a:gd name="T7" fmla="*/ 0 h 74"/>
                  <a:gd name="T8" fmla="*/ 0 w 22"/>
                  <a:gd name="T9" fmla="*/ 1 h 74"/>
                  <a:gd name="T10" fmla="*/ 0 60000 65536"/>
                  <a:gd name="T11" fmla="*/ 0 60000 65536"/>
                  <a:gd name="T12" fmla="*/ 0 60000 65536"/>
                  <a:gd name="T13" fmla="*/ 0 60000 65536"/>
                  <a:gd name="T14" fmla="*/ 0 60000 65536"/>
                  <a:gd name="T15" fmla="*/ 0 w 22"/>
                  <a:gd name="T16" fmla="*/ 0 h 74"/>
                  <a:gd name="T17" fmla="*/ 22 w 22"/>
                  <a:gd name="T18" fmla="*/ 74 h 74"/>
                </a:gdLst>
                <a:ahLst/>
                <a:cxnLst>
                  <a:cxn ang="T10">
                    <a:pos x="T0" y="T1"/>
                  </a:cxn>
                  <a:cxn ang="T11">
                    <a:pos x="T2" y="T3"/>
                  </a:cxn>
                  <a:cxn ang="T12">
                    <a:pos x="T4" y="T5"/>
                  </a:cxn>
                  <a:cxn ang="T13">
                    <a:pos x="T6" y="T7"/>
                  </a:cxn>
                  <a:cxn ang="T14">
                    <a:pos x="T8" y="T9"/>
                  </a:cxn>
                </a:cxnLst>
                <a:rect l="T15" t="T16" r="T17" b="T18"/>
                <a:pathLst>
                  <a:path w="22" h="74">
                    <a:moveTo>
                      <a:pt x="0" y="61"/>
                    </a:moveTo>
                    <a:lnTo>
                      <a:pt x="10" y="74"/>
                    </a:lnTo>
                    <a:lnTo>
                      <a:pt x="22" y="70"/>
                    </a:lnTo>
                    <a:lnTo>
                      <a:pt x="12" y="0"/>
                    </a:lnTo>
                    <a:lnTo>
                      <a:pt x="0" y="6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9" name="Freeform 468"/>
              <p:cNvSpPr/>
              <p:nvPr/>
            </p:nvSpPr>
            <p:spPr bwMode="auto">
              <a:xfrm>
                <a:off x="2063" y="3096"/>
                <a:ext cx="19" cy="21"/>
              </a:xfrm>
              <a:custGeom>
                <a:avLst/>
                <a:gdLst>
                  <a:gd name="T0" fmla="*/ 0 w 66"/>
                  <a:gd name="T1" fmla="*/ 2 h 72"/>
                  <a:gd name="T2" fmla="*/ 1 w 66"/>
                  <a:gd name="T3" fmla="*/ 0 h 72"/>
                  <a:gd name="T4" fmla="*/ 1 w 66"/>
                  <a:gd name="T5" fmla="*/ 0 h 72"/>
                  <a:gd name="T6" fmla="*/ 1 w 66"/>
                  <a:gd name="T7" fmla="*/ 1 h 72"/>
                  <a:gd name="T8" fmla="*/ 0 w 66"/>
                  <a:gd name="T9" fmla="*/ 2 h 72"/>
                  <a:gd name="T10" fmla="*/ 0 60000 65536"/>
                  <a:gd name="T11" fmla="*/ 0 60000 65536"/>
                  <a:gd name="T12" fmla="*/ 0 60000 65536"/>
                  <a:gd name="T13" fmla="*/ 0 60000 65536"/>
                  <a:gd name="T14" fmla="*/ 0 60000 65536"/>
                  <a:gd name="T15" fmla="*/ 0 w 66"/>
                  <a:gd name="T16" fmla="*/ 0 h 72"/>
                  <a:gd name="T17" fmla="*/ 66 w 66"/>
                  <a:gd name="T18" fmla="*/ 72 h 72"/>
                </a:gdLst>
                <a:ahLst/>
                <a:cxnLst>
                  <a:cxn ang="T10">
                    <a:pos x="T0" y="T1"/>
                  </a:cxn>
                  <a:cxn ang="T11">
                    <a:pos x="T2" y="T3"/>
                  </a:cxn>
                  <a:cxn ang="T12">
                    <a:pos x="T4" y="T5"/>
                  </a:cxn>
                  <a:cxn ang="T13">
                    <a:pos x="T6" y="T7"/>
                  </a:cxn>
                  <a:cxn ang="T14">
                    <a:pos x="T8" y="T9"/>
                  </a:cxn>
                </a:cxnLst>
                <a:rect l="T15" t="T16" r="T17" b="T18"/>
                <a:pathLst>
                  <a:path w="66" h="72">
                    <a:moveTo>
                      <a:pt x="0" y="72"/>
                    </a:moveTo>
                    <a:lnTo>
                      <a:pt x="29" y="12"/>
                    </a:lnTo>
                    <a:lnTo>
                      <a:pt x="56" y="0"/>
                    </a:lnTo>
                    <a:lnTo>
                      <a:pt x="66" y="57"/>
                    </a:lnTo>
                    <a:lnTo>
                      <a:pt x="0" y="7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0" name="Freeform 469"/>
              <p:cNvSpPr/>
              <p:nvPr/>
            </p:nvSpPr>
            <p:spPr bwMode="auto">
              <a:xfrm>
                <a:off x="1556" y="2873"/>
                <a:ext cx="67" cy="52"/>
              </a:xfrm>
              <a:custGeom>
                <a:avLst/>
                <a:gdLst>
                  <a:gd name="T0" fmla="*/ 0 w 233"/>
                  <a:gd name="T1" fmla="*/ 2 h 184"/>
                  <a:gd name="T2" fmla="*/ 1 w 233"/>
                  <a:gd name="T3" fmla="*/ 3 h 184"/>
                  <a:gd name="T4" fmla="*/ 3 w 233"/>
                  <a:gd name="T5" fmla="*/ 3 h 184"/>
                  <a:gd name="T6" fmla="*/ 1 w 233"/>
                  <a:gd name="T7" fmla="*/ 4 h 184"/>
                  <a:gd name="T8" fmla="*/ 1 w 233"/>
                  <a:gd name="T9" fmla="*/ 4 h 184"/>
                  <a:gd name="T10" fmla="*/ 3 w 233"/>
                  <a:gd name="T11" fmla="*/ 4 h 184"/>
                  <a:gd name="T12" fmla="*/ 5 w 233"/>
                  <a:gd name="T13" fmla="*/ 4 h 184"/>
                  <a:gd name="T14" fmla="*/ 5 w 233"/>
                  <a:gd name="T15" fmla="*/ 2 h 184"/>
                  <a:gd name="T16" fmla="*/ 3 w 233"/>
                  <a:gd name="T17" fmla="*/ 0 h 184"/>
                  <a:gd name="T18" fmla="*/ 1 w 233"/>
                  <a:gd name="T19" fmla="*/ 1 h 184"/>
                  <a:gd name="T20" fmla="*/ 0 w 233"/>
                  <a:gd name="T21" fmla="*/ 2 h 1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3"/>
                  <a:gd name="T34" fmla="*/ 0 h 184"/>
                  <a:gd name="T35" fmla="*/ 233 w 233"/>
                  <a:gd name="T36" fmla="*/ 184 h 1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3" h="184">
                    <a:moveTo>
                      <a:pt x="0" y="83"/>
                    </a:moveTo>
                    <a:lnTo>
                      <a:pt x="32" y="134"/>
                    </a:lnTo>
                    <a:lnTo>
                      <a:pt x="139" y="143"/>
                    </a:lnTo>
                    <a:lnTo>
                      <a:pt x="25" y="160"/>
                    </a:lnTo>
                    <a:lnTo>
                      <a:pt x="25" y="184"/>
                    </a:lnTo>
                    <a:lnTo>
                      <a:pt x="142" y="175"/>
                    </a:lnTo>
                    <a:lnTo>
                      <a:pt x="233" y="184"/>
                    </a:lnTo>
                    <a:lnTo>
                      <a:pt x="207" y="83"/>
                    </a:lnTo>
                    <a:lnTo>
                      <a:pt x="120" y="0"/>
                    </a:lnTo>
                    <a:lnTo>
                      <a:pt x="32" y="23"/>
                    </a:lnTo>
                    <a:lnTo>
                      <a:pt x="0" y="8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1" name="Freeform 470"/>
              <p:cNvSpPr/>
              <p:nvPr/>
            </p:nvSpPr>
            <p:spPr bwMode="auto">
              <a:xfrm>
                <a:off x="1603" y="2959"/>
                <a:ext cx="34" cy="37"/>
              </a:xfrm>
              <a:custGeom>
                <a:avLst/>
                <a:gdLst>
                  <a:gd name="T0" fmla="*/ 0 w 116"/>
                  <a:gd name="T1" fmla="*/ 1 h 133"/>
                  <a:gd name="T2" fmla="*/ 0 w 116"/>
                  <a:gd name="T3" fmla="*/ 2 h 133"/>
                  <a:gd name="T4" fmla="*/ 2 w 116"/>
                  <a:gd name="T5" fmla="*/ 3 h 133"/>
                  <a:gd name="T6" fmla="*/ 3 w 116"/>
                  <a:gd name="T7" fmla="*/ 1 h 133"/>
                  <a:gd name="T8" fmla="*/ 2 w 116"/>
                  <a:gd name="T9" fmla="*/ 0 h 133"/>
                  <a:gd name="T10" fmla="*/ 0 w 116"/>
                  <a:gd name="T11" fmla="*/ 1 h 133"/>
                  <a:gd name="T12" fmla="*/ 0 60000 65536"/>
                  <a:gd name="T13" fmla="*/ 0 60000 65536"/>
                  <a:gd name="T14" fmla="*/ 0 60000 65536"/>
                  <a:gd name="T15" fmla="*/ 0 60000 65536"/>
                  <a:gd name="T16" fmla="*/ 0 60000 65536"/>
                  <a:gd name="T17" fmla="*/ 0 60000 65536"/>
                  <a:gd name="T18" fmla="*/ 0 w 116"/>
                  <a:gd name="T19" fmla="*/ 0 h 133"/>
                  <a:gd name="T20" fmla="*/ 116 w 116"/>
                  <a:gd name="T21" fmla="*/ 133 h 133"/>
                </a:gdLst>
                <a:ahLst/>
                <a:cxnLst>
                  <a:cxn ang="T12">
                    <a:pos x="T0" y="T1"/>
                  </a:cxn>
                  <a:cxn ang="T13">
                    <a:pos x="T2" y="T3"/>
                  </a:cxn>
                  <a:cxn ang="T14">
                    <a:pos x="T4" y="T5"/>
                  </a:cxn>
                  <a:cxn ang="T15">
                    <a:pos x="T6" y="T7"/>
                  </a:cxn>
                  <a:cxn ang="T16">
                    <a:pos x="T8" y="T9"/>
                  </a:cxn>
                  <a:cxn ang="T17">
                    <a:pos x="T10" y="T11"/>
                  </a:cxn>
                </a:cxnLst>
                <a:rect l="T18" t="T19" r="T20" b="T21"/>
                <a:pathLst>
                  <a:path w="116" h="133">
                    <a:moveTo>
                      <a:pt x="0" y="37"/>
                    </a:moveTo>
                    <a:lnTo>
                      <a:pt x="11" y="89"/>
                    </a:lnTo>
                    <a:lnTo>
                      <a:pt x="67" y="133"/>
                    </a:lnTo>
                    <a:lnTo>
                      <a:pt x="116" y="66"/>
                    </a:lnTo>
                    <a:lnTo>
                      <a:pt x="76" y="0"/>
                    </a:lnTo>
                    <a:lnTo>
                      <a:pt x="0" y="3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2" name="Freeform 471"/>
              <p:cNvSpPr/>
              <p:nvPr/>
            </p:nvSpPr>
            <p:spPr bwMode="auto">
              <a:xfrm>
                <a:off x="2194" y="2933"/>
                <a:ext cx="111" cy="172"/>
              </a:xfrm>
              <a:custGeom>
                <a:avLst/>
                <a:gdLst>
                  <a:gd name="T0" fmla="*/ 0 w 390"/>
                  <a:gd name="T1" fmla="*/ 13 h 602"/>
                  <a:gd name="T2" fmla="*/ 0 w 390"/>
                  <a:gd name="T3" fmla="*/ 9 h 602"/>
                  <a:gd name="T4" fmla="*/ 1 w 390"/>
                  <a:gd name="T5" fmla="*/ 8 h 602"/>
                  <a:gd name="T6" fmla="*/ 3 w 390"/>
                  <a:gd name="T7" fmla="*/ 7 h 602"/>
                  <a:gd name="T8" fmla="*/ 6 w 390"/>
                  <a:gd name="T9" fmla="*/ 4 h 602"/>
                  <a:gd name="T10" fmla="*/ 3 w 390"/>
                  <a:gd name="T11" fmla="*/ 3 h 602"/>
                  <a:gd name="T12" fmla="*/ 2 w 390"/>
                  <a:gd name="T13" fmla="*/ 1 h 602"/>
                  <a:gd name="T14" fmla="*/ 2 w 390"/>
                  <a:gd name="T15" fmla="*/ 1 h 602"/>
                  <a:gd name="T16" fmla="*/ 3 w 390"/>
                  <a:gd name="T17" fmla="*/ 2 h 602"/>
                  <a:gd name="T18" fmla="*/ 9 w 390"/>
                  <a:gd name="T19" fmla="*/ 0 h 602"/>
                  <a:gd name="T20" fmla="*/ 9 w 390"/>
                  <a:gd name="T21" fmla="*/ 2 h 602"/>
                  <a:gd name="T22" fmla="*/ 6 w 390"/>
                  <a:gd name="T23" fmla="*/ 8 h 602"/>
                  <a:gd name="T24" fmla="*/ 1 w 390"/>
                  <a:gd name="T25" fmla="*/ 14 h 602"/>
                  <a:gd name="T26" fmla="*/ 0 w 390"/>
                  <a:gd name="T27" fmla="*/ 13 h 6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0"/>
                  <a:gd name="T43" fmla="*/ 0 h 602"/>
                  <a:gd name="T44" fmla="*/ 390 w 390"/>
                  <a:gd name="T45" fmla="*/ 602 h 6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0" h="602">
                    <a:moveTo>
                      <a:pt x="0" y="565"/>
                    </a:moveTo>
                    <a:lnTo>
                      <a:pt x="0" y="403"/>
                    </a:lnTo>
                    <a:lnTo>
                      <a:pt x="32" y="354"/>
                    </a:lnTo>
                    <a:lnTo>
                      <a:pt x="151" y="305"/>
                    </a:lnTo>
                    <a:lnTo>
                      <a:pt x="268" y="173"/>
                    </a:lnTo>
                    <a:lnTo>
                      <a:pt x="115" y="128"/>
                    </a:lnTo>
                    <a:lnTo>
                      <a:pt x="71" y="48"/>
                    </a:lnTo>
                    <a:lnTo>
                      <a:pt x="84" y="23"/>
                    </a:lnTo>
                    <a:lnTo>
                      <a:pt x="145" y="70"/>
                    </a:lnTo>
                    <a:lnTo>
                      <a:pt x="373" y="0"/>
                    </a:lnTo>
                    <a:lnTo>
                      <a:pt x="390" y="70"/>
                    </a:lnTo>
                    <a:lnTo>
                      <a:pt x="255" y="351"/>
                    </a:lnTo>
                    <a:lnTo>
                      <a:pt x="20" y="602"/>
                    </a:lnTo>
                    <a:lnTo>
                      <a:pt x="0" y="56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3" name="Freeform 472"/>
              <p:cNvSpPr/>
              <p:nvPr/>
            </p:nvSpPr>
            <p:spPr bwMode="auto">
              <a:xfrm>
                <a:off x="2020" y="3281"/>
                <a:ext cx="86" cy="91"/>
              </a:xfrm>
              <a:custGeom>
                <a:avLst/>
                <a:gdLst>
                  <a:gd name="T0" fmla="*/ 0 w 301"/>
                  <a:gd name="T1" fmla="*/ 2 h 319"/>
                  <a:gd name="T2" fmla="*/ 1 w 301"/>
                  <a:gd name="T3" fmla="*/ 2 h 319"/>
                  <a:gd name="T4" fmla="*/ 3 w 301"/>
                  <a:gd name="T5" fmla="*/ 1 h 319"/>
                  <a:gd name="T6" fmla="*/ 3 w 301"/>
                  <a:gd name="T7" fmla="*/ 0 h 319"/>
                  <a:gd name="T8" fmla="*/ 5 w 301"/>
                  <a:gd name="T9" fmla="*/ 0 h 319"/>
                  <a:gd name="T10" fmla="*/ 7 w 301"/>
                  <a:gd name="T11" fmla="*/ 1 h 319"/>
                  <a:gd name="T12" fmla="*/ 7 w 301"/>
                  <a:gd name="T13" fmla="*/ 2 h 319"/>
                  <a:gd name="T14" fmla="*/ 7 w 301"/>
                  <a:gd name="T15" fmla="*/ 5 h 319"/>
                  <a:gd name="T16" fmla="*/ 6 w 301"/>
                  <a:gd name="T17" fmla="*/ 7 h 319"/>
                  <a:gd name="T18" fmla="*/ 4 w 301"/>
                  <a:gd name="T19" fmla="*/ 7 h 319"/>
                  <a:gd name="T20" fmla="*/ 3 w 301"/>
                  <a:gd name="T21" fmla="*/ 6 h 319"/>
                  <a:gd name="T22" fmla="*/ 0 w 301"/>
                  <a:gd name="T23" fmla="*/ 2 h 3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1"/>
                  <a:gd name="T37" fmla="*/ 0 h 319"/>
                  <a:gd name="T38" fmla="*/ 301 w 301"/>
                  <a:gd name="T39" fmla="*/ 319 h 3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1" h="319">
                    <a:moveTo>
                      <a:pt x="0" y="99"/>
                    </a:moveTo>
                    <a:lnTo>
                      <a:pt x="66" y="100"/>
                    </a:lnTo>
                    <a:lnTo>
                      <a:pt x="133" y="41"/>
                    </a:lnTo>
                    <a:lnTo>
                      <a:pt x="135" y="14"/>
                    </a:lnTo>
                    <a:lnTo>
                      <a:pt x="196" y="0"/>
                    </a:lnTo>
                    <a:lnTo>
                      <a:pt x="290" y="33"/>
                    </a:lnTo>
                    <a:lnTo>
                      <a:pt x="301" y="80"/>
                    </a:lnTo>
                    <a:lnTo>
                      <a:pt x="293" y="198"/>
                    </a:lnTo>
                    <a:lnTo>
                      <a:pt x="245" y="319"/>
                    </a:lnTo>
                    <a:lnTo>
                      <a:pt x="157" y="296"/>
                    </a:lnTo>
                    <a:lnTo>
                      <a:pt x="105" y="268"/>
                    </a:lnTo>
                    <a:lnTo>
                      <a:pt x="0" y="9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4" name="Freeform 473"/>
              <p:cNvSpPr/>
              <p:nvPr/>
            </p:nvSpPr>
            <p:spPr bwMode="auto">
              <a:xfrm>
                <a:off x="1872" y="3297"/>
                <a:ext cx="148" cy="161"/>
              </a:xfrm>
              <a:custGeom>
                <a:avLst/>
                <a:gdLst>
                  <a:gd name="T0" fmla="*/ 0 w 520"/>
                  <a:gd name="T1" fmla="*/ 0 h 565"/>
                  <a:gd name="T2" fmla="*/ 1 w 520"/>
                  <a:gd name="T3" fmla="*/ 0 h 565"/>
                  <a:gd name="T4" fmla="*/ 9 w 520"/>
                  <a:gd name="T5" fmla="*/ 1 h 565"/>
                  <a:gd name="T6" fmla="*/ 10 w 520"/>
                  <a:gd name="T7" fmla="*/ 1 h 565"/>
                  <a:gd name="T8" fmla="*/ 12 w 520"/>
                  <a:gd name="T9" fmla="*/ 1 h 565"/>
                  <a:gd name="T10" fmla="*/ 11 w 520"/>
                  <a:gd name="T11" fmla="*/ 2 h 565"/>
                  <a:gd name="T12" fmla="*/ 10 w 520"/>
                  <a:gd name="T13" fmla="*/ 1 h 565"/>
                  <a:gd name="T14" fmla="*/ 8 w 520"/>
                  <a:gd name="T15" fmla="*/ 2 h 565"/>
                  <a:gd name="T16" fmla="*/ 8 w 520"/>
                  <a:gd name="T17" fmla="*/ 5 h 565"/>
                  <a:gd name="T18" fmla="*/ 7 w 520"/>
                  <a:gd name="T19" fmla="*/ 5 h 565"/>
                  <a:gd name="T20" fmla="*/ 7 w 520"/>
                  <a:gd name="T21" fmla="*/ 8 h 565"/>
                  <a:gd name="T22" fmla="*/ 7 w 520"/>
                  <a:gd name="T23" fmla="*/ 13 h 565"/>
                  <a:gd name="T24" fmla="*/ 7 w 520"/>
                  <a:gd name="T25" fmla="*/ 13 h 565"/>
                  <a:gd name="T26" fmla="*/ 5 w 520"/>
                  <a:gd name="T27" fmla="*/ 13 h 565"/>
                  <a:gd name="T28" fmla="*/ 5 w 520"/>
                  <a:gd name="T29" fmla="*/ 12 h 565"/>
                  <a:gd name="T30" fmla="*/ 4 w 520"/>
                  <a:gd name="T31" fmla="*/ 13 h 565"/>
                  <a:gd name="T32" fmla="*/ 3 w 520"/>
                  <a:gd name="T33" fmla="*/ 11 h 565"/>
                  <a:gd name="T34" fmla="*/ 3 w 520"/>
                  <a:gd name="T35" fmla="*/ 7 h 565"/>
                  <a:gd name="T36" fmla="*/ 3 w 520"/>
                  <a:gd name="T37" fmla="*/ 6 h 565"/>
                  <a:gd name="T38" fmla="*/ 0 w 520"/>
                  <a:gd name="T39" fmla="*/ 0 h 56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20"/>
                  <a:gd name="T61" fmla="*/ 0 h 565"/>
                  <a:gd name="T62" fmla="*/ 520 w 520"/>
                  <a:gd name="T63" fmla="*/ 565 h 56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20" h="565">
                    <a:moveTo>
                      <a:pt x="0" y="19"/>
                    </a:moveTo>
                    <a:lnTo>
                      <a:pt x="63" y="0"/>
                    </a:lnTo>
                    <a:lnTo>
                      <a:pt x="376" y="54"/>
                    </a:lnTo>
                    <a:lnTo>
                      <a:pt x="446" y="28"/>
                    </a:lnTo>
                    <a:lnTo>
                      <a:pt x="520" y="42"/>
                    </a:lnTo>
                    <a:lnTo>
                      <a:pt x="457" y="81"/>
                    </a:lnTo>
                    <a:lnTo>
                      <a:pt x="434" y="54"/>
                    </a:lnTo>
                    <a:lnTo>
                      <a:pt x="359" y="72"/>
                    </a:lnTo>
                    <a:lnTo>
                      <a:pt x="359" y="230"/>
                    </a:lnTo>
                    <a:lnTo>
                      <a:pt x="319" y="233"/>
                    </a:lnTo>
                    <a:lnTo>
                      <a:pt x="319" y="356"/>
                    </a:lnTo>
                    <a:lnTo>
                      <a:pt x="319" y="537"/>
                    </a:lnTo>
                    <a:lnTo>
                      <a:pt x="286" y="565"/>
                    </a:lnTo>
                    <a:lnTo>
                      <a:pt x="236" y="565"/>
                    </a:lnTo>
                    <a:lnTo>
                      <a:pt x="210" y="525"/>
                    </a:lnTo>
                    <a:lnTo>
                      <a:pt x="188" y="547"/>
                    </a:lnTo>
                    <a:lnTo>
                      <a:pt x="137" y="486"/>
                    </a:lnTo>
                    <a:lnTo>
                      <a:pt x="113" y="288"/>
                    </a:lnTo>
                    <a:lnTo>
                      <a:pt x="113" y="264"/>
                    </a:lnTo>
                    <a:lnTo>
                      <a:pt x="0" y="1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5" name="Freeform 474"/>
              <p:cNvSpPr/>
              <p:nvPr/>
            </p:nvSpPr>
            <p:spPr bwMode="auto">
              <a:xfrm>
                <a:off x="1562" y="2727"/>
                <a:ext cx="92" cy="88"/>
              </a:xfrm>
              <a:custGeom>
                <a:avLst/>
                <a:gdLst>
                  <a:gd name="T0" fmla="*/ 0 w 322"/>
                  <a:gd name="T1" fmla="*/ 7 h 310"/>
                  <a:gd name="T2" fmla="*/ 4 w 322"/>
                  <a:gd name="T3" fmla="*/ 0 h 310"/>
                  <a:gd name="T4" fmla="*/ 7 w 322"/>
                  <a:gd name="T5" fmla="*/ 0 h 310"/>
                  <a:gd name="T6" fmla="*/ 7 w 322"/>
                  <a:gd name="T7" fmla="*/ 1 h 310"/>
                  <a:gd name="T8" fmla="*/ 7 w 322"/>
                  <a:gd name="T9" fmla="*/ 2 h 310"/>
                  <a:gd name="T10" fmla="*/ 5 w 322"/>
                  <a:gd name="T11" fmla="*/ 2 h 310"/>
                  <a:gd name="T12" fmla="*/ 5 w 322"/>
                  <a:gd name="T13" fmla="*/ 5 h 310"/>
                  <a:gd name="T14" fmla="*/ 3 w 322"/>
                  <a:gd name="T15" fmla="*/ 5 h 310"/>
                  <a:gd name="T16" fmla="*/ 4 w 322"/>
                  <a:gd name="T17" fmla="*/ 7 h 310"/>
                  <a:gd name="T18" fmla="*/ 0 w 322"/>
                  <a:gd name="T19" fmla="*/ 7 h 3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2"/>
                  <a:gd name="T31" fmla="*/ 0 h 310"/>
                  <a:gd name="T32" fmla="*/ 322 w 322"/>
                  <a:gd name="T33" fmla="*/ 310 h 3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2" h="310">
                    <a:moveTo>
                      <a:pt x="0" y="310"/>
                    </a:moveTo>
                    <a:lnTo>
                      <a:pt x="154" y="0"/>
                    </a:lnTo>
                    <a:lnTo>
                      <a:pt x="317" y="5"/>
                    </a:lnTo>
                    <a:lnTo>
                      <a:pt x="322" y="22"/>
                    </a:lnTo>
                    <a:lnTo>
                      <a:pt x="317" y="80"/>
                    </a:lnTo>
                    <a:lnTo>
                      <a:pt x="197" y="76"/>
                    </a:lnTo>
                    <a:lnTo>
                      <a:pt x="196" y="198"/>
                    </a:lnTo>
                    <a:lnTo>
                      <a:pt x="152" y="221"/>
                    </a:lnTo>
                    <a:lnTo>
                      <a:pt x="156" y="292"/>
                    </a:lnTo>
                    <a:lnTo>
                      <a:pt x="0" y="31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6" name="Freeform 475"/>
              <p:cNvSpPr/>
              <p:nvPr/>
            </p:nvSpPr>
            <p:spPr bwMode="auto">
              <a:xfrm>
                <a:off x="1986" y="2789"/>
                <a:ext cx="180" cy="249"/>
              </a:xfrm>
              <a:custGeom>
                <a:avLst/>
                <a:gdLst>
                  <a:gd name="T0" fmla="*/ 0 w 634"/>
                  <a:gd name="T1" fmla="*/ 11 h 874"/>
                  <a:gd name="T2" fmla="*/ 1 w 634"/>
                  <a:gd name="T3" fmla="*/ 13 h 874"/>
                  <a:gd name="T4" fmla="*/ 1 w 634"/>
                  <a:gd name="T5" fmla="*/ 15 h 874"/>
                  <a:gd name="T6" fmla="*/ 3 w 634"/>
                  <a:gd name="T7" fmla="*/ 16 h 874"/>
                  <a:gd name="T8" fmla="*/ 5 w 634"/>
                  <a:gd name="T9" fmla="*/ 19 h 874"/>
                  <a:gd name="T10" fmla="*/ 8 w 634"/>
                  <a:gd name="T11" fmla="*/ 20 h 874"/>
                  <a:gd name="T12" fmla="*/ 11 w 634"/>
                  <a:gd name="T13" fmla="*/ 20 h 874"/>
                  <a:gd name="T14" fmla="*/ 12 w 634"/>
                  <a:gd name="T15" fmla="*/ 19 h 874"/>
                  <a:gd name="T16" fmla="*/ 11 w 634"/>
                  <a:gd name="T17" fmla="*/ 17 h 874"/>
                  <a:gd name="T18" fmla="*/ 10 w 634"/>
                  <a:gd name="T19" fmla="*/ 16 h 874"/>
                  <a:gd name="T20" fmla="*/ 11 w 634"/>
                  <a:gd name="T21" fmla="*/ 15 h 874"/>
                  <a:gd name="T22" fmla="*/ 11 w 634"/>
                  <a:gd name="T23" fmla="*/ 13 h 874"/>
                  <a:gd name="T24" fmla="*/ 12 w 634"/>
                  <a:gd name="T25" fmla="*/ 11 h 874"/>
                  <a:gd name="T26" fmla="*/ 13 w 634"/>
                  <a:gd name="T27" fmla="*/ 6 h 874"/>
                  <a:gd name="T28" fmla="*/ 14 w 634"/>
                  <a:gd name="T29" fmla="*/ 5 h 874"/>
                  <a:gd name="T30" fmla="*/ 13 w 634"/>
                  <a:gd name="T31" fmla="*/ 5 h 874"/>
                  <a:gd name="T32" fmla="*/ 13 w 634"/>
                  <a:gd name="T33" fmla="*/ 1 h 874"/>
                  <a:gd name="T34" fmla="*/ 12 w 634"/>
                  <a:gd name="T35" fmla="*/ 0 h 874"/>
                  <a:gd name="T36" fmla="*/ 11 w 634"/>
                  <a:gd name="T37" fmla="*/ 1 h 874"/>
                  <a:gd name="T38" fmla="*/ 3 w 634"/>
                  <a:gd name="T39" fmla="*/ 1 h 874"/>
                  <a:gd name="T40" fmla="*/ 3 w 634"/>
                  <a:gd name="T41" fmla="*/ 3 h 874"/>
                  <a:gd name="T42" fmla="*/ 2 w 634"/>
                  <a:gd name="T43" fmla="*/ 3 h 874"/>
                  <a:gd name="T44" fmla="*/ 2 w 634"/>
                  <a:gd name="T45" fmla="*/ 4 h 874"/>
                  <a:gd name="T46" fmla="*/ 2 w 634"/>
                  <a:gd name="T47" fmla="*/ 8 h 874"/>
                  <a:gd name="T48" fmla="*/ 1 w 634"/>
                  <a:gd name="T49" fmla="*/ 8 h 874"/>
                  <a:gd name="T50" fmla="*/ 0 w 634"/>
                  <a:gd name="T51" fmla="*/ 11 h 8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34"/>
                  <a:gd name="T79" fmla="*/ 0 h 874"/>
                  <a:gd name="T80" fmla="*/ 634 w 634"/>
                  <a:gd name="T81" fmla="*/ 874 h 8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34" h="874">
                    <a:moveTo>
                      <a:pt x="0" y="460"/>
                    </a:moveTo>
                    <a:lnTo>
                      <a:pt x="30" y="549"/>
                    </a:lnTo>
                    <a:lnTo>
                      <a:pt x="59" y="644"/>
                    </a:lnTo>
                    <a:lnTo>
                      <a:pt x="124" y="679"/>
                    </a:lnTo>
                    <a:lnTo>
                      <a:pt x="216" y="807"/>
                    </a:lnTo>
                    <a:lnTo>
                      <a:pt x="344" y="874"/>
                    </a:lnTo>
                    <a:lnTo>
                      <a:pt x="460" y="857"/>
                    </a:lnTo>
                    <a:lnTo>
                      <a:pt x="532" y="832"/>
                    </a:lnTo>
                    <a:lnTo>
                      <a:pt x="488" y="740"/>
                    </a:lnTo>
                    <a:lnTo>
                      <a:pt x="423" y="684"/>
                    </a:lnTo>
                    <a:lnTo>
                      <a:pt x="466" y="652"/>
                    </a:lnTo>
                    <a:lnTo>
                      <a:pt x="474" y="572"/>
                    </a:lnTo>
                    <a:lnTo>
                      <a:pt x="544" y="462"/>
                    </a:lnTo>
                    <a:lnTo>
                      <a:pt x="575" y="273"/>
                    </a:lnTo>
                    <a:lnTo>
                      <a:pt x="634" y="230"/>
                    </a:lnTo>
                    <a:lnTo>
                      <a:pt x="587" y="192"/>
                    </a:lnTo>
                    <a:lnTo>
                      <a:pt x="570" y="50"/>
                    </a:lnTo>
                    <a:lnTo>
                      <a:pt x="521" y="0"/>
                    </a:lnTo>
                    <a:lnTo>
                      <a:pt x="460" y="59"/>
                    </a:lnTo>
                    <a:lnTo>
                      <a:pt x="116" y="49"/>
                    </a:lnTo>
                    <a:lnTo>
                      <a:pt x="116" y="138"/>
                    </a:lnTo>
                    <a:lnTo>
                      <a:pt x="83" y="139"/>
                    </a:lnTo>
                    <a:lnTo>
                      <a:pt x="83" y="166"/>
                    </a:lnTo>
                    <a:lnTo>
                      <a:pt x="82" y="334"/>
                    </a:lnTo>
                    <a:lnTo>
                      <a:pt x="42" y="343"/>
                    </a:lnTo>
                    <a:lnTo>
                      <a:pt x="0" y="46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7" name="Freeform 476"/>
              <p:cNvSpPr/>
              <p:nvPr/>
            </p:nvSpPr>
            <p:spPr bwMode="auto">
              <a:xfrm>
                <a:off x="2082" y="3413"/>
                <a:ext cx="14" cy="20"/>
              </a:xfrm>
              <a:custGeom>
                <a:avLst/>
                <a:gdLst>
                  <a:gd name="T0" fmla="*/ 0 w 46"/>
                  <a:gd name="T1" fmla="*/ 1 h 72"/>
                  <a:gd name="T2" fmla="*/ 1 w 46"/>
                  <a:gd name="T3" fmla="*/ 2 h 72"/>
                  <a:gd name="T4" fmla="*/ 1 w 46"/>
                  <a:gd name="T5" fmla="*/ 1 h 72"/>
                  <a:gd name="T6" fmla="*/ 1 w 46"/>
                  <a:gd name="T7" fmla="*/ 0 h 72"/>
                  <a:gd name="T8" fmla="*/ 0 w 46"/>
                  <a:gd name="T9" fmla="*/ 1 h 72"/>
                  <a:gd name="T10" fmla="*/ 0 60000 65536"/>
                  <a:gd name="T11" fmla="*/ 0 60000 65536"/>
                  <a:gd name="T12" fmla="*/ 0 60000 65536"/>
                  <a:gd name="T13" fmla="*/ 0 60000 65536"/>
                  <a:gd name="T14" fmla="*/ 0 60000 65536"/>
                  <a:gd name="T15" fmla="*/ 0 w 46"/>
                  <a:gd name="T16" fmla="*/ 0 h 72"/>
                  <a:gd name="T17" fmla="*/ 46 w 46"/>
                  <a:gd name="T18" fmla="*/ 72 h 72"/>
                </a:gdLst>
                <a:ahLst/>
                <a:cxnLst>
                  <a:cxn ang="T10">
                    <a:pos x="T0" y="T1"/>
                  </a:cxn>
                  <a:cxn ang="T11">
                    <a:pos x="T2" y="T3"/>
                  </a:cxn>
                  <a:cxn ang="T12">
                    <a:pos x="T4" y="T5"/>
                  </a:cxn>
                  <a:cxn ang="T13">
                    <a:pos x="T6" y="T7"/>
                  </a:cxn>
                  <a:cxn ang="T14">
                    <a:pos x="T8" y="T9"/>
                  </a:cxn>
                </a:cxnLst>
                <a:rect l="T15" t="T16" r="T17" b="T18"/>
                <a:pathLst>
                  <a:path w="46" h="72">
                    <a:moveTo>
                      <a:pt x="0" y="40"/>
                    </a:moveTo>
                    <a:lnTo>
                      <a:pt x="25" y="72"/>
                    </a:lnTo>
                    <a:lnTo>
                      <a:pt x="46" y="46"/>
                    </a:lnTo>
                    <a:lnTo>
                      <a:pt x="42" y="0"/>
                    </a:lnTo>
                    <a:lnTo>
                      <a:pt x="0" y="4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8" name="Freeform 477"/>
              <p:cNvSpPr/>
              <p:nvPr/>
            </p:nvSpPr>
            <p:spPr bwMode="auto">
              <a:xfrm>
                <a:off x="2070" y="3095"/>
                <a:ext cx="118" cy="136"/>
              </a:xfrm>
              <a:custGeom>
                <a:avLst/>
                <a:gdLst>
                  <a:gd name="T0" fmla="*/ 0 w 409"/>
                  <a:gd name="T1" fmla="*/ 3 h 475"/>
                  <a:gd name="T2" fmla="*/ 0 w 409"/>
                  <a:gd name="T3" fmla="*/ 6 h 475"/>
                  <a:gd name="T4" fmla="*/ 1 w 409"/>
                  <a:gd name="T5" fmla="*/ 8 h 475"/>
                  <a:gd name="T6" fmla="*/ 3 w 409"/>
                  <a:gd name="T7" fmla="*/ 9 h 475"/>
                  <a:gd name="T8" fmla="*/ 4 w 409"/>
                  <a:gd name="T9" fmla="*/ 9 h 475"/>
                  <a:gd name="T10" fmla="*/ 5 w 409"/>
                  <a:gd name="T11" fmla="*/ 11 h 475"/>
                  <a:gd name="T12" fmla="*/ 8 w 409"/>
                  <a:gd name="T13" fmla="*/ 11 h 475"/>
                  <a:gd name="T14" fmla="*/ 10 w 409"/>
                  <a:gd name="T15" fmla="*/ 10 h 475"/>
                  <a:gd name="T16" fmla="*/ 8 w 409"/>
                  <a:gd name="T17" fmla="*/ 5 h 475"/>
                  <a:gd name="T18" fmla="*/ 9 w 409"/>
                  <a:gd name="T19" fmla="*/ 4 h 475"/>
                  <a:gd name="T20" fmla="*/ 4 w 409"/>
                  <a:gd name="T21" fmla="*/ 0 h 475"/>
                  <a:gd name="T22" fmla="*/ 3 w 409"/>
                  <a:gd name="T23" fmla="*/ 2 h 475"/>
                  <a:gd name="T24" fmla="*/ 2 w 409"/>
                  <a:gd name="T25" fmla="*/ 1 h 475"/>
                  <a:gd name="T26" fmla="*/ 2 w 409"/>
                  <a:gd name="T27" fmla="*/ 2 h 475"/>
                  <a:gd name="T28" fmla="*/ 2 w 409"/>
                  <a:gd name="T29" fmla="*/ 0 h 475"/>
                  <a:gd name="T30" fmla="*/ 1 w 409"/>
                  <a:gd name="T31" fmla="*/ 0 h 475"/>
                  <a:gd name="T32" fmla="*/ 1 w 409"/>
                  <a:gd name="T33" fmla="*/ 1 h 475"/>
                  <a:gd name="T34" fmla="*/ 1 w 409"/>
                  <a:gd name="T35" fmla="*/ 2 h 475"/>
                  <a:gd name="T36" fmla="*/ 0 w 409"/>
                  <a:gd name="T37" fmla="*/ 3 h 4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9"/>
                  <a:gd name="T58" fmla="*/ 0 h 475"/>
                  <a:gd name="T59" fmla="*/ 409 w 409"/>
                  <a:gd name="T60" fmla="*/ 475 h 4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9" h="475">
                    <a:moveTo>
                      <a:pt x="0" y="150"/>
                    </a:moveTo>
                    <a:lnTo>
                      <a:pt x="3" y="242"/>
                    </a:lnTo>
                    <a:lnTo>
                      <a:pt x="52" y="334"/>
                    </a:lnTo>
                    <a:lnTo>
                      <a:pt x="124" y="375"/>
                    </a:lnTo>
                    <a:lnTo>
                      <a:pt x="160" y="384"/>
                    </a:lnTo>
                    <a:lnTo>
                      <a:pt x="199" y="475"/>
                    </a:lnTo>
                    <a:lnTo>
                      <a:pt x="353" y="462"/>
                    </a:lnTo>
                    <a:lnTo>
                      <a:pt x="409" y="423"/>
                    </a:lnTo>
                    <a:lnTo>
                      <a:pt x="351" y="237"/>
                    </a:lnTo>
                    <a:lnTo>
                      <a:pt x="367" y="165"/>
                    </a:lnTo>
                    <a:lnTo>
                      <a:pt x="175" y="0"/>
                    </a:lnTo>
                    <a:lnTo>
                      <a:pt x="118" y="84"/>
                    </a:lnTo>
                    <a:lnTo>
                      <a:pt x="98" y="61"/>
                    </a:lnTo>
                    <a:lnTo>
                      <a:pt x="84" y="80"/>
                    </a:lnTo>
                    <a:lnTo>
                      <a:pt x="82" y="0"/>
                    </a:lnTo>
                    <a:lnTo>
                      <a:pt x="29" y="5"/>
                    </a:lnTo>
                    <a:lnTo>
                      <a:pt x="39" y="62"/>
                    </a:lnTo>
                    <a:lnTo>
                      <a:pt x="42" y="97"/>
                    </a:lnTo>
                    <a:lnTo>
                      <a:pt x="0" y="15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9" name="Freeform 478"/>
              <p:cNvSpPr/>
              <p:nvPr/>
            </p:nvSpPr>
            <p:spPr bwMode="auto">
              <a:xfrm>
                <a:off x="1745" y="2943"/>
                <a:ext cx="24" cy="65"/>
              </a:xfrm>
              <a:custGeom>
                <a:avLst/>
                <a:gdLst>
                  <a:gd name="T0" fmla="*/ 0 w 82"/>
                  <a:gd name="T1" fmla="*/ 0 h 227"/>
                  <a:gd name="T2" fmla="*/ 1 w 82"/>
                  <a:gd name="T3" fmla="*/ 0 h 227"/>
                  <a:gd name="T4" fmla="*/ 2 w 82"/>
                  <a:gd name="T5" fmla="*/ 5 h 227"/>
                  <a:gd name="T6" fmla="*/ 1 w 82"/>
                  <a:gd name="T7" fmla="*/ 5 h 227"/>
                  <a:gd name="T8" fmla="*/ 0 w 82"/>
                  <a:gd name="T9" fmla="*/ 0 h 227"/>
                  <a:gd name="T10" fmla="*/ 0 60000 65536"/>
                  <a:gd name="T11" fmla="*/ 0 60000 65536"/>
                  <a:gd name="T12" fmla="*/ 0 60000 65536"/>
                  <a:gd name="T13" fmla="*/ 0 60000 65536"/>
                  <a:gd name="T14" fmla="*/ 0 60000 65536"/>
                  <a:gd name="T15" fmla="*/ 0 w 82"/>
                  <a:gd name="T16" fmla="*/ 0 h 227"/>
                  <a:gd name="T17" fmla="*/ 82 w 82"/>
                  <a:gd name="T18" fmla="*/ 227 h 227"/>
                </a:gdLst>
                <a:ahLst/>
                <a:cxnLst>
                  <a:cxn ang="T10">
                    <a:pos x="T0" y="T1"/>
                  </a:cxn>
                  <a:cxn ang="T11">
                    <a:pos x="T2" y="T3"/>
                  </a:cxn>
                  <a:cxn ang="T12">
                    <a:pos x="T4" y="T5"/>
                  </a:cxn>
                  <a:cxn ang="T13">
                    <a:pos x="T6" y="T7"/>
                  </a:cxn>
                  <a:cxn ang="T14">
                    <a:pos x="T8" y="T9"/>
                  </a:cxn>
                </a:cxnLst>
                <a:rect l="T15" t="T16" r="T17" b="T18"/>
                <a:pathLst>
                  <a:path w="82" h="227">
                    <a:moveTo>
                      <a:pt x="0" y="0"/>
                    </a:moveTo>
                    <a:lnTo>
                      <a:pt x="41" y="10"/>
                    </a:lnTo>
                    <a:lnTo>
                      <a:pt x="82" y="219"/>
                    </a:lnTo>
                    <a:lnTo>
                      <a:pt x="53" y="227"/>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0" name="Freeform 479"/>
              <p:cNvSpPr/>
              <p:nvPr/>
            </p:nvSpPr>
            <p:spPr bwMode="auto">
              <a:xfrm>
                <a:off x="2071" y="3033"/>
                <a:ext cx="57" cy="67"/>
              </a:xfrm>
              <a:custGeom>
                <a:avLst/>
                <a:gdLst>
                  <a:gd name="T0" fmla="*/ 0 w 198"/>
                  <a:gd name="T1" fmla="*/ 5 h 234"/>
                  <a:gd name="T2" fmla="*/ 1 w 198"/>
                  <a:gd name="T3" fmla="*/ 5 h 234"/>
                  <a:gd name="T4" fmla="*/ 2 w 198"/>
                  <a:gd name="T5" fmla="*/ 5 h 234"/>
                  <a:gd name="T6" fmla="*/ 2 w 198"/>
                  <a:gd name="T7" fmla="*/ 4 h 234"/>
                  <a:gd name="T8" fmla="*/ 4 w 198"/>
                  <a:gd name="T9" fmla="*/ 4 h 234"/>
                  <a:gd name="T10" fmla="*/ 5 w 198"/>
                  <a:gd name="T11" fmla="*/ 2 h 234"/>
                  <a:gd name="T12" fmla="*/ 4 w 198"/>
                  <a:gd name="T13" fmla="*/ 0 h 234"/>
                  <a:gd name="T14" fmla="*/ 1 w 198"/>
                  <a:gd name="T15" fmla="*/ 0 h 234"/>
                  <a:gd name="T16" fmla="*/ 1 w 198"/>
                  <a:gd name="T17" fmla="*/ 2 h 234"/>
                  <a:gd name="T18" fmla="*/ 1 w 198"/>
                  <a:gd name="T19" fmla="*/ 3 h 234"/>
                  <a:gd name="T20" fmla="*/ 0 w 198"/>
                  <a:gd name="T21" fmla="*/ 5 h 2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8"/>
                  <a:gd name="T34" fmla="*/ 0 h 234"/>
                  <a:gd name="T35" fmla="*/ 198 w 198"/>
                  <a:gd name="T36" fmla="*/ 234 h 2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8" h="234">
                    <a:moveTo>
                      <a:pt x="0" y="234"/>
                    </a:moveTo>
                    <a:lnTo>
                      <a:pt x="27" y="222"/>
                    </a:lnTo>
                    <a:lnTo>
                      <a:pt x="80" y="217"/>
                    </a:lnTo>
                    <a:lnTo>
                      <a:pt x="82" y="186"/>
                    </a:lnTo>
                    <a:lnTo>
                      <a:pt x="159" y="165"/>
                    </a:lnTo>
                    <a:lnTo>
                      <a:pt x="198" y="87"/>
                    </a:lnTo>
                    <a:lnTo>
                      <a:pt x="159" y="0"/>
                    </a:lnTo>
                    <a:lnTo>
                      <a:pt x="43" y="17"/>
                    </a:lnTo>
                    <a:lnTo>
                      <a:pt x="56" y="82"/>
                    </a:lnTo>
                    <a:lnTo>
                      <a:pt x="29" y="124"/>
                    </a:lnTo>
                    <a:lnTo>
                      <a:pt x="0" y="23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1" name="Freeform 480"/>
              <p:cNvSpPr/>
              <p:nvPr/>
            </p:nvSpPr>
            <p:spPr bwMode="auto">
              <a:xfrm>
                <a:off x="2014" y="2673"/>
                <a:ext cx="122" cy="133"/>
              </a:xfrm>
              <a:custGeom>
                <a:avLst/>
                <a:gdLst>
                  <a:gd name="T0" fmla="*/ 0 w 429"/>
                  <a:gd name="T1" fmla="*/ 2 h 464"/>
                  <a:gd name="T2" fmla="*/ 0 w 429"/>
                  <a:gd name="T3" fmla="*/ 11 h 464"/>
                  <a:gd name="T4" fmla="*/ 8 w 429"/>
                  <a:gd name="T5" fmla="*/ 11 h 464"/>
                  <a:gd name="T6" fmla="*/ 10 w 429"/>
                  <a:gd name="T7" fmla="*/ 9 h 464"/>
                  <a:gd name="T8" fmla="*/ 10 w 429"/>
                  <a:gd name="T9" fmla="*/ 9 h 464"/>
                  <a:gd name="T10" fmla="*/ 7 w 429"/>
                  <a:gd name="T11" fmla="*/ 2 h 464"/>
                  <a:gd name="T12" fmla="*/ 8 w 429"/>
                  <a:gd name="T13" fmla="*/ 4 h 464"/>
                  <a:gd name="T14" fmla="*/ 9 w 429"/>
                  <a:gd name="T15" fmla="*/ 3 h 464"/>
                  <a:gd name="T16" fmla="*/ 8 w 429"/>
                  <a:gd name="T17" fmla="*/ 0 h 464"/>
                  <a:gd name="T18" fmla="*/ 7 w 429"/>
                  <a:gd name="T19" fmla="*/ 1 h 464"/>
                  <a:gd name="T20" fmla="*/ 7 w 429"/>
                  <a:gd name="T21" fmla="*/ 0 h 464"/>
                  <a:gd name="T22" fmla="*/ 5 w 429"/>
                  <a:gd name="T23" fmla="*/ 0 h 464"/>
                  <a:gd name="T24" fmla="*/ 4 w 429"/>
                  <a:gd name="T25" fmla="*/ 1 h 464"/>
                  <a:gd name="T26" fmla="*/ 0 w 429"/>
                  <a:gd name="T27" fmla="*/ 0 h 464"/>
                  <a:gd name="T28" fmla="*/ 0 w 429"/>
                  <a:gd name="T29" fmla="*/ 2 h 46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9"/>
                  <a:gd name="T46" fmla="*/ 0 h 464"/>
                  <a:gd name="T47" fmla="*/ 429 w 429"/>
                  <a:gd name="T48" fmla="*/ 464 h 46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9" h="464">
                    <a:moveTo>
                      <a:pt x="0" y="75"/>
                    </a:moveTo>
                    <a:lnTo>
                      <a:pt x="17" y="454"/>
                    </a:lnTo>
                    <a:lnTo>
                      <a:pt x="361" y="464"/>
                    </a:lnTo>
                    <a:lnTo>
                      <a:pt x="422" y="405"/>
                    </a:lnTo>
                    <a:lnTo>
                      <a:pt x="429" y="364"/>
                    </a:lnTo>
                    <a:lnTo>
                      <a:pt x="298" y="98"/>
                    </a:lnTo>
                    <a:lnTo>
                      <a:pt x="361" y="183"/>
                    </a:lnTo>
                    <a:lnTo>
                      <a:pt x="392" y="110"/>
                    </a:lnTo>
                    <a:lnTo>
                      <a:pt x="361" y="17"/>
                    </a:lnTo>
                    <a:lnTo>
                      <a:pt x="284" y="30"/>
                    </a:lnTo>
                    <a:lnTo>
                      <a:pt x="282" y="4"/>
                    </a:lnTo>
                    <a:lnTo>
                      <a:pt x="239" y="4"/>
                    </a:lnTo>
                    <a:lnTo>
                      <a:pt x="166" y="40"/>
                    </a:lnTo>
                    <a:lnTo>
                      <a:pt x="17" y="0"/>
                    </a:lnTo>
                    <a:lnTo>
                      <a:pt x="0" y="7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2" name="Freeform 481"/>
              <p:cNvSpPr/>
              <p:nvPr/>
            </p:nvSpPr>
            <p:spPr bwMode="auto">
              <a:xfrm>
                <a:off x="1690" y="2894"/>
                <a:ext cx="81" cy="69"/>
              </a:xfrm>
              <a:custGeom>
                <a:avLst/>
                <a:gdLst>
                  <a:gd name="T0" fmla="*/ 0 w 285"/>
                  <a:gd name="T1" fmla="*/ 5 h 242"/>
                  <a:gd name="T2" fmla="*/ 1 w 285"/>
                  <a:gd name="T3" fmla="*/ 5 h 242"/>
                  <a:gd name="T4" fmla="*/ 2 w 285"/>
                  <a:gd name="T5" fmla="*/ 6 h 242"/>
                  <a:gd name="T6" fmla="*/ 2 w 285"/>
                  <a:gd name="T7" fmla="*/ 4 h 242"/>
                  <a:gd name="T8" fmla="*/ 5 w 285"/>
                  <a:gd name="T9" fmla="*/ 4 h 242"/>
                  <a:gd name="T10" fmla="*/ 5 w 285"/>
                  <a:gd name="T11" fmla="*/ 4 h 242"/>
                  <a:gd name="T12" fmla="*/ 7 w 285"/>
                  <a:gd name="T13" fmla="*/ 3 h 242"/>
                  <a:gd name="T14" fmla="*/ 5 w 285"/>
                  <a:gd name="T15" fmla="*/ 1 h 242"/>
                  <a:gd name="T16" fmla="*/ 5 w 285"/>
                  <a:gd name="T17" fmla="*/ 0 h 242"/>
                  <a:gd name="T18" fmla="*/ 1 w 285"/>
                  <a:gd name="T19" fmla="*/ 2 h 242"/>
                  <a:gd name="T20" fmla="*/ 0 w 285"/>
                  <a:gd name="T21" fmla="*/ 5 h 2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5"/>
                  <a:gd name="T34" fmla="*/ 0 h 242"/>
                  <a:gd name="T35" fmla="*/ 285 w 285"/>
                  <a:gd name="T36" fmla="*/ 242 h 2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5" h="242">
                    <a:moveTo>
                      <a:pt x="0" y="207"/>
                    </a:moveTo>
                    <a:lnTo>
                      <a:pt x="23" y="233"/>
                    </a:lnTo>
                    <a:lnTo>
                      <a:pt x="102" y="242"/>
                    </a:lnTo>
                    <a:lnTo>
                      <a:pt x="92" y="181"/>
                    </a:lnTo>
                    <a:lnTo>
                      <a:pt x="192" y="171"/>
                    </a:lnTo>
                    <a:lnTo>
                      <a:pt x="233" y="181"/>
                    </a:lnTo>
                    <a:lnTo>
                      <a:pt x="285" y="135"/>
                    </a:lnTo>
                    <a:lnTo>
                      <a:pt x="214" y="42"/>
                    </a:lnTo>
                    <a:lnTo>
                      <a:pt x="206" y="0"/>
                    </a:lnTo>
                    <a:lnTo>
                      <a:pt x="49" y="79"/>
                    </a:lnTo>
                    <a:lnTo>
                      <a:pt x="0" y="20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3" name="Freeform 482"/>
              <p:cNvSpPr/>
              <p:nvPr/>
            </p:nvSpPr>
            <p:spPr bwMode="auto">
              <a:xfrm>
                <a:off x="1986" y="3186"/>
                <a:ext cx="128" cy="123"/>
              </a:xfrm>
              <a:custGeom>
                <a:avLst/>
                <a:gdLst>
                  <a:gd name="T0" fmla="*/ 0 w 450"/>
                  <a:gd name="T1" fmla="*/ 5 h 434"/>
                  <a:gd name="T2" fmla="*/ 0 w 450"/>
                  <a:gd name="T3" fmla="*/ 9 h 434"/>
                  <a:gd name="T4" fmla="*/ 1 w 450"/>
                  <a:gd name="T5" fmla="*/ 10 h 434"/>
                  <a:gd name="T6" fmla="*/ 3 w 450"/>
                  <a:gd name="T7" fmla="*/ 10 h 434"/>
                  <a:gd name="T8" fmla="*/ 4 w 450"/>
                  <a:gd name="T9" fmla="*/ 10 h 434"/>
                  <a:gd name="T10" fmla="*/ 6 w 450"/>
                  <a:gd name="T11" fmla="*/ 9 h 434"/>
                  <a:gd name="T12" fmla="*/ 6 w 450"/>
                  <a:gd name="T13" fmla="*/ 8 h 434"/>
                  <a:gd name="T14" fmla="*/ 7 w 450"/>
                  <a:gd name="T15" fmla="*/ 8 h 434"/>
                  <a:gd name="T16" fmla="*/ 7 w 450"/>
                  <a:gd name="T17" fmla="*/ 7 h 434"/>
                  <a:gd name="T18" fmla="*/ 10 w 450"/>
                  <a:gd name="T19" fmla="*/ 6 h 434"/>
                  <a:gd name="T20" fmla="*/ 9 w 450"/>
                  <a:gd name="T21" fmla="*/ 6 h 434"/>
                  <a:gd name="T22" fmla="*/ 10 w 450"/>
                  <a:gd name="T23" fmla="*/ 3 h 434"/>
                  <a:gd name="T24" fmla="*/ 10 w 450"/>
                  <a:gd name="T25" fmla="*/ 1 h 434"/>
                  <a:gd name="T26" fmla="*/ 8 w 450"/>
                  <a:gd name="T27" fmla="*/ 0 h 434"/>
                  <a:gd name="T28" fmla="*/ 8 w 450"/>
                  <a:gd name="T29" fmla="*/ 0 h 434"/>
                  <a:gd name="T30" fmla="*/ 6 w 450"/>
                  <a:gd name="T31" fmla="*/ 1 h 434"/>
                  <a:gd name="T32" fmla="*/ 6 w 450"/>
                  <a:gd name="T33" fmla="*/ 3 h 434"/>
                  <a:gd name="T34" fmla="*/ 7 w 450"/>
                  <a:gd name="T35" fmla="*/ 4 h 434"/>
                  <a:gd name="T36" fmla="*/ 7 w 450"/>
                  <a:gd name="T37" fmla="*/ 5 h 434"/>
                  <a:gd name="T38" fmla="*/ 2 w 450"/>
                  <a:gd name="T39" fmla="*/ 3 h 434"/>
                  <a:gd name="T40" fmla="*/ 2 w 450"/>
                  <a:gd name="T41" fmla="*/ 5 h 434"/>
                  <a:gd name="T42" fmla="*/ 0 w 450"/>
                  <a:gd name="T43" fmla="*/ 5 h 43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0"/>
                  <a:gd name="T67" fmla="*/ 0 h 434"/>
                  <a:gd name="T68" fmla="*/ 450 w 450"/>
                  <a:gd name="T69" fmla="*/ 434 h 43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0" h="434">
                    <a:moveTo>
                      <a:pt x="0" y="212"/>
                    </a:moveTo>
                    <a:lnTo>
                      <a:pt x="0" y="379"/>
                    </a:lnTo>
                    <a:lnTo>
                      <a:pt x="47" y="419"/>
                    </a:lnTo>
                    <a:lnTo>
                      <a:pt x="121" y="433"/>
                    </a:lnTo>
                    <a:lnTo>
                      <a:pt x="187" y="434"/>
                    </a:lnTo>
                    <a:lnTo>
                      <a:pt x="254" y="375"/>
                    </a:lnTo>
                    <a:lnTo>
                      <a:pt x="256" y="348"/>
                    </a:lnTo>
                    <a:lnTo>
                      <a:pt x="317" y="334"/>
                    </a:lnTo>
                    <a:lnTo>
                      <a:pt x="309" y="310"/>
                    </a:lnTo>
                    <a:lnTo>
                      <a:pt x="428" y="265"/>
                    </a:lnTo>
                    <a:lnTo>
                      <a:pt x="412" y="245"/>
                    </a:lnTo>
                    <a:lnTo>
                      <a:pt x="450" y="114"/>
                    </a:lnTo>
                    <a:lnTo>
                      <a:pt x="422" y="56"/>
                    </a:lnTo>
                    <a:lnTo>
                      <a:pt x="350" y="15"/>
                    </a:lnTo>
                    <a:lnTo>
                      <a:pt x="329" y="0"/>
                    </a:lnTo>
                    <a:lnTo>
                      <a:pt x="260" y="42"/>
                    </a:lnTo>
                    <a:lnTo>
                      <a:pt x="254" y="156"/>
                    </a:lnTo>
                    <a:lnTo>
                      <a:pt x="298" y="177"/>
                    </a:lnTo>
                    <a:lnTo>
                      <a:pt x="300" y="225"/>
                    </a:lnTo>
                    <a:lnTo>
                      <a:pt x="81" y="122"/>
                    </a:lnTo>
                    <a:lnTo>
                      <a:pt x="86" y="212"/>
                    </a:lnTo>
                    <a:lnTo>
                      <a:pt x="0" y="21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4" name="Freeform 483"/>
              <p:cNvSpPr/>
              <p:nvPr/>
            </p:nvSpPr>
            <p:spPr bwMode="auto">
              <a:xfrm>
                <a:off x="1926" y="3366"/>
                <a:ext cx="178" cy="166"/>
              </a:xfrm>
              <a:custGeom>
                <a:avLst/>
                <a:gdLst>
                  <a:gd name="T0" fmla="*/ 0 w 624"/>
                  <a:gd name="T1" fmla="*/ 7 h 583"/>
                  <a:gd name="T2" fmla="*/ 1 w 624"/>
                  <a:gd name="T3" fmla="*/ 7 h 583"/>
                  <a:gd name="T4" fmla="*/ 1 w 624"/>
                  <a:gd name="T5" fmla="*/ 7 h 583"/>
                  <a:gd name="T6" fmla="*/ 2 w 624"/>
                  <a:gd name="T7" fmla="*/ 7 h 583"/>
                  <a:gd name="T8" fmla="*/ 3 w 624"/>
                  <a:gd name="T9" fmla="*/ 7 h 583"/>
                  <a:gd name="T10" fmla="*/ 3 w 624"/>
                  <a:gd name="T11" fmla="*/ 3 h 583"/>
                  <a:gd name="T12" fmla="*/ 4 w 624"/>
                  <a:gd name="T13" fmla="*/ 4 h 583"/>
                  <a:gd name="T14" fmla="*/ 4 w 624"/>
                  <a:gd name="T15" fmla="*/ 5 h 583"/>
                  <a:gd name="T16" fmla="*/ 5 w 624"/>
                  <a:gd name="T17" fmla="*/ 5 h 583"/>
                  <a:gd name="T18" fmla="*/ 6 w 624"/>
                  <a:gd name="T19" fmla="*/ 4 h 583"/>
                  <a:gd name="T20" fmla="*/ 8 w 624"/>
                  <a:gd name="T21" fmla="*/ 4 h 583"/>
                  <a:gd name="T22" fmla="*/ 11 w 624"/>
                  <a:gd name="T23" fmla="*/ 0 h 583"/>
                  <a:gd name="T24" fmla="*/ 13 w 624"/>
                  <a:gd name="T25" fmla="*/ 1 h 583"/>
                  <a:gd name="T26" fmla="*/ 14 w 624"/>
                  <a:gd name="T27" fmla="*/ 4 h 583"/>
                  <a:gd name="T28" fmla="*/ 13 w 624"/>
                  <a:gd name="T29" fmla="*/ 5 h 583"/>
                  <a:gd name="T30" fmla="*/ 13 w 624"/>
                  <a:gd name="T31" fmla="*/ 5 h 583"/>
                  <a:gd name="T32" fmla="*/ 14 w 624"/>
                  <a:gd name="T33" fmla="*/ 5 h 583"/>
                  <a:gd name="T34" fmla="*/ 15 w 624"/>
                  <a:gd name="T35" fmla="*/ 5 h 583"/>
                  <a:gd name="T36" fmla="*/ 14 w 624"/>
                  <a:gd name="T37" fmla="*/ 7 h 583"/>
                  <a:gd name="T38" fmla="*/ 12 w 624"/>
                  <a:gd name="T39" fmla="*/ 10 h 583"/>
                  <a:gd name="T40" fmla="*/ 9 w 624"/>
                  <a:gd name="T41" fmla="*/ 13 h 583"/>
                  <a:gd name="T42" fmla="*/ 7 w 624"/>
                  <a:gd name="T43" fmla="*/ 13 h 583"/>
                  <a:gd name="T44" fmla="*/ 2 w 624"/>
                  <a:gd name="T45" fmla="*/ 13 h 583"/>
                  <a:gd name="T46" fmla="*/ 1 w 624"/>
                  <a:gd name="T47" fmla="*/ 12 h 583"/>
                  <a:gd name="T48" fmla="*/ 1 w 624"/>
                  <a:gd name="T49" fmla="*/ 11 h 583"/>
                  <a:gd name="T50" fmla="*/ 0 w 624"/>
                  <a:gd name="T51" fmla="*/ 7 h 5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4"/>
                  <a:gd name="T79" fmla="*/ 0 h 583"/>
                  <a:gd name="T80" fmla="*/ 624 w 624"/>
                  <a:gd name="T81" fmla="*/ 583 h 5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4" h="583">
                    <a:moveTo>
                      <a:pt x="0" y="308"/>
                    </a:moveTo>
                    <a:lnTo>
                      <a:pt x="22" y="286"/>
                    </a:lnTo>
                    <a:lnTo>
                      <a:pt x="48" y="326"/>
                    </a:lnTo>
                    <a:lnTo>
                      <a:pt x="98" y="326"/>
                    </a:lnTo>
                    <a:lnTo>
                      <a:pt x="131" y="298"/>
                    </a:lnTo>
                    <a:lnTo>
                      <a:pt x="131" y="117"/>
                    </a:lnTo>
                    <a:lnTo>
                      <a:pt x="165" y="163"/>
                    </a:lnTo>
                    <a:lnTo>
                      <a:pt x="163" y="213"/>
                    </a:lnTo>
                    <a:lnTo>
                      <a:pt x="217" y="211"/>
                    </a:lnTo>
                    <a:lnTo>
                      <a:pt x="262" y="156"/>
                    </a:lnTo>
                    <a:lnTo>
                      <a:pt x="347" y="156"/>
                    </a:lnTo>
                    <a:lnTo>
                      <a:pt x="489" y="0"/>
                    </a:lnTo>
                    <a:lnTo>
                      <a:pt x="577" y="23"/>
                    </a:lnTo>
                    <a:lnTo>
                      <a:pt x="593" y="167"/>
                    </a:lnTo>
                    <a:lnTo>
                      <a:pt x="551" y="207"/>
                    </a:lnTo>
                    <a:lnTo>
                      <a:pt x="576" y="239"/>
                    </a:lnTo>
                    <a:lnTo>
                      <a:pt x="597" y="213"/>
                    </a:lnTo>
                    <a:lnTo>
                      <a:pt x="624" y="213"/>
                    </a:lnTo>
                    <a:lnTo>
                      <a:pt x="608" y="298"/>
                    </a:lnTo>
                    <a:lnTo>
                      <a:pt x="521" y="429"/>
                    </a:lnTo>
                    <a:lnTo>
                      <a:pt x="404" y="543"/>
                    </a:lnTo>
                    <a:lnTo>
                      <a:pt x="319" y="581"/>
                    </a:lnTo>
                    <a:lnTo>
                      <a:pt x="75" y="583"/>
                    </a:lnTo>
                    <a:lnTo>
                      <a:pt x="53" y="517"/>
                    </a:lnTo>
                    <a:lnTo>
                      <a:pt x="65" y="468"/>
                    </a:lnTo>
                    <a:lnTo>
                      <a:pt x="0" y="30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5" name="Freeform 484"/>
              <p:cNvSpPr/>
              <p:nvPr/>
            </p:nvSpPr>
            <p:spPr bwMode="auto">
              <a:xfrm>
                <a:off x="2040" y="3455"/>
                <a:ext cx="25" cy="30"/>
              </a:xfrm>
              <a:custGeom>
                <a:avLst/>
                <a:gdLst>
                  <a:gd name="T0" fmla="*/ 0 w 86"/>
                  <a:gd name="T1" fmla="*/ 1 h 106"/>
                  <a:gd name="T2" fmla="*/ 1 w 86"/>
                  <a:gd name="T3" fmla="*/ 2 h 106"/>
                  <a:gd name="T4" fmla="*/ 2 w 86"/>
                  <a:gd name="T5" fmla="*/ 1 h 106"/>
                  <a:gd name="T6" fmla="*/ 1 w 86"/>
                  <a:gd name="T7" fmla="*/ 0 h 106"/>
                  <a:gd name="T8" fmla="*/ 0 w 86"/>
                  <a:gd name="T9" fmla="*/ 1 h 106"/>
                  <a:gd name="T10" fmla="*/ 0 60000 65536"/>
                  <a:gd name="T11" fmla="*/ 0 60000 65536"/>
                  <a:gd name="T12" fmla="*/ 0 60000 65536"/>
                  <a:gd name="T13" fmla="*/ 0 60000 65536"/>
                  <a:gd name="T14" fmla="*/ 0 60000 65536"/>
                  <a:gd name="T15" fmla="*/ 0 w 86"/>
                  <a:gd name="T16" fmla="*/ 0 h 106"/>
                  <a:gd name="T17" fmla="*/ 86 w 86"/>
                  <a:gd name="T18" fmla="*/ 106 h 106"/>
                </a:gdLst>
                <a:ahLst/>
                <a:cxnLst>
                  <a:cxn ang="T10">
                    <a:pos x="T0" y="T1"/>
                  </a:cxn>
                  <a:cxn ang="T11">
                    <a:pos x="T2" y="T3"/>
                  </a:cxn>
                  <a:cxn ang="T12">
                    <a:pos x="T4" y="T5"/>
                  </a:cxn>
                  <a:cxn ang="T13">
                    <a:pos x="T6" y="T7"/>
                  </a:cxn>
                  <a:cxn ang="T14">
                    <a:pos x="T8" y="T9"/>
                  </a:cxn>
                </a:cxnLst>
                <a:rect l="T15" t="T16" r="T17" b="T18"/>
                <a:pathLst>
                  <a:path w="86" h="106">
                    <a:moveTo>
                      <a:pt x="0" y="52"/>
                    </a:moveTo>
                    <a:lnTo>
                      <a:pt x="33" y="106"/>
                    </a:lnTo>
                    <a:lnTo>
                      <a:pt x="86" y="52"/>
                    </a:lnTo>
                    <a:lnTo>
                      <a:pt x="61" y="0"/>
                    </a:lnTo>
                    <a:lnTo>
                      <a:pt x="0" y="5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6" name="Freeform 485"/>
              <p:cNvSpPr/>
              <p:nvPr/>
            </p:nvSpPr>
            <p:spPr bwMode="auto">
              <a:xfrm>
                <a:off x="2000" y="2304"/>
                <a:ext cx="86" cy="77"/>
              </a:xfrm>
              <a:custGeom>
                <a:avLst/>
                <a:gdLst>
                  <a:gd name="T0" fmla="*/ 2 w 302"/>
                  <a:gd name="T1" fmla="*/ 0 h 272"/>
                  <a:gd name="T2" fmla="*/ 3 w 302"/>
                  <a:gd name="T3" fmla="*/ 0 h 272"/>
                  <a:gd name="T4" fmla="*/ 3 w 302"/>
                  <a:gd name="T5" fmla="*/ 1 h 272"/>
                  <a:gd name="T6" fmla="*/ 4 w 302"/>
                  <a:gd name="T7" fmla="*/ 1 h 272"/>
                  <a:gd name="T8" fmla="*/ 5 w 302"/>
                  <a:gd name="T9" fmla="*/ 1 h 272"/>
                  <a:gd name="T10" fmla="*/ 6 w 302"/>
                  <a:gd name="T11" fmla="*/ 1 h 272"/>
                  <a:gd name="T12" fmla="*/ 6 w 302"/>
                  <a:gd name="T13" fmla="*/ 3 h 272"/>
                  <a:gd name="T14" fmla="*/ 6 w 302"/>
                  <a:gd name="T15" fmla="*/ 3 h 272"/>
                  <a:gd name="T16" fmla="*/ 7 w 302"/>
                  <a:gd name="T17" fmla="*/ 3 h 272"/>
                  <a:gd name="T18" fmla="*/ 7 w 302"/>
                  <a:gd name="T19" fmla="*/ 3 h 272"/>
                  <a:gd name="T20" fmla="*/ 7 w 302"/>
                  <a:gd name="T21" fmla="*/ 4 h 272"/>
                  <a:gd name="T22" fmla="*/ 7 w 302"/>
                  <a:gd name="T23" fmla="*/ 4 h 272"/>
                  <a:gd name="T24" fmla="*/ 6 w 302"/>
                  <a:gd name="T25" fmla="*/ 4 h 272"/>
                  <a:gd name="T26" fmla="*/ 6 w 302"/>
                  <a:gd name="T27" fmla="*/ 4 h 272"/>
                  <a:gd name="T28" fmla="*/ 6 w 302"/>
                  <a:gd name="T29" fmla="*/ 5 h 272"/>
                  <a:gd name="T30" fmla="*/ 7 w 302"/>
                  <a:gd name="T31" fmla="*/ 5 h 272"/>
                  <a:gd name="T32" fmla="*/ 6 w 302"/>
                  <a:gd name="T33" fmla="*/ 5 h 272"/>
                  <a:gd name="T34" fmla="*/ 6 w 302"/>
                  <a:gd name="T35" fmla="*/ 5 h 272"/>
                  <a:gd name="T36" fmla="*/ 6 w 302"/>
                  <a:gd name="T37" fmla="*/ 5 h 272"/>
                  <a:gd name="T38" fmla="*/ 5 w 302"/>
                  <a:gd name="T39" fmla="*/ 6 h 272"/>
                  <a:gd name="T40" fmla="*/ 5 w 302"/>
                  <a:gd name="T41" fmla="*/ 6 h 272"/>
                  <a:gd name="T42" fmla="*/ 5 w 302"/>
                  <a:gd name="T43" fmla="*/ 6 h 272"/>
                  <a:gd name="T44" fmla="*/ 5 w 302"/>
                  <a:gd name="T45" fmla="*/ 6 h 272"/>
                  <a:gd name="T46" fmla="*/ 4 w 302"/>
                  <a:gd name="T47" fmla="*/ 6 h 272"/>
                  <a:gd name="T48" fmla="*/ 4 w 302"/>
                  <a:gd name="T49" fmla="*/ 6 h 272"/>
                  <a:gd name="T50" fmla="*/ 3 w 302"/>
                  <a:gd name="T51" fmla="*/ 6 h 272"/>
                  <a:gd name="T52" fmla="*/ 2 w 302"/>
                  <a:gd name="T53" fmla="*/ 5 h 272"/>
                  <a:gd name="T54" fmla="*/ 1 w 302"/>
                  <a:gd name="T55" fmla="*/ 5 h 272"/>
                  <a:gd name="T56" fmla="*/ 1 w 302"/>
                  <a:gd name="T57" fmla="*/ 5 h 272"/>
                  <a:gd name="T58" fmla="*/ 0 w 302"/>
                  <a:gd name="T59" fmla="*/ 6 h 272"/>
                  <a:gd name="T60" fmla="*/ 0 w 302"/>
                  <a:gd name="T61" fmla="*/ 5 h 272"/>
                  <a:gd name="T62" fmla="*/ 1 w 302"/>
                  <a:gd name="T63" fmla="*/ 4 h 272"/>
                  <a:gd name="T64" fmla="*/ 0 w 302"/>
                  <a:gd name="T65" fmla="*/ 3 h 272"/>
                  <a:gd name="T66" fmla="*/ 1 w 302"/>
                  <a:gd name="T67" fmla="*/ 3 h 272"/>
                  <a:gd name="T68" fmla="*/ 1 w 302"/>
                  <a:gd name="T69" fmla="*/ 2 h 272"/>
                  <a:gd name="T70" fmla="*/ 1 w 302"/>
                  <a:gd name="T71" fmla="*/ 2 h 272"/>
                  <a:gd name="T72" fmla="*/ 1 w 302"/>
                  <a:gd name="T73" fmla="*/ 2 h 272"/>
                  <a:gd name="T74" fmla="*/ 1 w 302"/>
                  <a:gd name="T75" fmla="*/ 1 h 272"/>
                  <a:gd name="T76" fmla="*/ 1 w 302"/>
                  <a:gd name="T77" fmla="*/ 1 h 272"/>
                  <a:gd name="T78" fmla="*/ 2 w 302"/>
                  <a:gd name="T79" fmla="*/ 0 h 272"/>
                  <a:gd name="T80" fmla="*/ 2 w 302"/>
                  <a:gd name="T81" fmla="*/ 0 h 27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2"/>
                  <a:gd name="T124" fmla="*/ 0 h 272"/>
                  <a:gd name="T125" fmla="*/ 302 w 302"/>
                  <a:gd name="T126" fmla="*/ 272 h 27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2" h="272">
                    <a:moveTo>
                      <a:pt x="96" y="0"/>
                    </a:moveTo>
                    <a:lnTo>
                      <a:pt x="125" y="5"/>
                    </a:lnTo>
                    <a:lnTo>
                      <a:pt x="147" y="25"/>
                    </a:lnTo>
                    <a:lnTo>
                      <a:pt x="189" y="25"/>
                    </a:lnTo>
                    <a:lnTo>
                      <a:pt x="232" y="31"/>
                    </a:lnTo>
                    <a:lnTo>
                      <a:pt x="254" y="65"/>
                    </a:lnTo>
                    <a:lnTo>
                      <a:pt x="270" y="109"/>
                    </a:lnTo>
                    <a:lnTo>
                      <a:pt x="274" y="127"/>
                    </a:lnTo>
                    <a:lnTo>
                      <a:pt x="293" y="142"/>
                    </a:lnTo>
                    <a:lnTo>
                      <a:pt x="302" y="154"/>
                    </a:lnTo>
                    <a:lnTo>
                      <a:pt x="302" y="172"/>
                    </a:lnTo>
                    <a:lnTo>
                      <a:pt x="284" y="172"/>
                    </a:lnTo>
                    <a:lnTo>
                      <a:pt x="260" y="172"/>
                    </a:lnTo>
                    <a:lnTo>
                      <a:pt x="270" y="189"/>
                    </a:lnTo>
                    <a:lnTo>
                      <a:pt x="278" y="200"/>
                    </a:lnTo>
                    <a:lnTo>
                      <a:pt x="284" y="223"/>
                    </a:lnTo>
                    <a:lnTo>
                      <a:pt x="270" y="234"/>
                    </a:lnTo>
                    <a:lnTo>
                      <a:pt x="248" y="234"/>
                    </a:lnTo>
                    <a:lnTo>
                      <a:pt x="246" y="234"/>
                    </a:lnTo>
                    <a:lnTo>
                      <a:pt x="232" y="245"/>
                    </a:lnTo>
                    <a:lnTo>
                      <a:pt x="232" y="268"/>
                    </a:lnTo>
                    <a:lnTo>
                      <a:pt x="215" y="272"/>
                    </a:lnTo>
                    <a:lnTo>
                      <a:pt x="200" y="261"/>
                    </a:lnTo>
                    <a:lnTo>
                      <a:pt x="176" y="255"/>
                    </a:lnTo>
                    <a:lnTo>
                      <a:pt x="155" y="245"/>
                    </a:lnTo>
                    <a:lnTo>
                      <a:pt x="135" y="250"/>
                    </a:lnTo>
                    <a:lnTo>
                      <a:pt x="73" y="223"/>
                    </a:lnTo>
                    <a:lnTo>
                      <a:pt x="47" y="227"/>
                    </a:lnTo>
                    <a:lnTo>
                      <a:pt x="26" y="223"/>
                    </a:lnTo>
                    <a:lnTo>
                      <a:pt x="12" y="245"/>
                    </a:lnTo>
                    <a:lnTo>
                      <a:pt x="0" y="199"/>
                    </a:lnTo>
                    <a:lnTo>
                      <a:pt x="28" y="169"/>
                    </a:lnTo>
                    <a:lnTo>
                      <a:pt x="8" y="109"/>
                    </a:lnTo>
                    <a:lnTo>
                      <a:pt x="26" y="117"/>
                    </a:lnTo>
                    <a:lnTo>
                      <a:pt x="29" y="104"/>
                    </a:lnTo>
                    <a:lnTo>
                      <a:pt x="34" y="82"/>
                    </a:lnTo>
                    <a:lnTo>
                      <a:pt x="42" y="71"/>
                    </a:lnTo>
                    <a:lnTo>
                      <a:pt x="47" y="46"/>
                    </a:lnTo>
                    <a:lnTo>
                      <a:pt x="68" y="21"/>
                    </a:lnTo>
                    <a:lnTo>
                      <a:pt x="82" y="0"/>
                    </a:lnTo>
                    <a:lnTo>
                      <a:pt x="96"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7" name="Freeform 486"/>
              <p:cNvSpPr/>
              <p:nvPr/>
            </p:nvSpPr>
            <p:spPr bwMode="auto">
              <a:xfrm>
                <a:off x="1987" y="2359"/>
                <a:ext cx="192" cy="128"/>
              </a:xfrm>
              <a:custGeom>
                <a:avLst/>
                <a:gdLst>
                  <a:gd name="T0" fmla="*/ 8 w 671"/>
                  <a:gd name="T1" fmla="*/ 0 h 446"/>
                  <a:gd name="T2" fmla="*/ 9 w 671"/>
                  <a:gd name="T3" fmla="*/ 0 h 446"/>
                  <a:gd name="T4" fmla="*/ 10 w 671"/>
                  <a:gd name="T5" fmla="*/ 1 h 446"/>
                  <a:gd name="T6" fmla="*/ 10 w 671"/>
                  <a:gd name="T7" fmla="*/ 1 h 446"/>
                  <a:gd name="T8" fmla="*/ 11 w 671"/>
                  <a:gd name="T9" fmla="*/ 2 h 446"/>
                  <a:gd name="T10" fmla="*/ 13 w 671"/>
                  <a:gd name="T11" fmla="*/ 3 h 446"/>
                  <a:gd name="T12" fmla="*/ 14 w 671"/>
                  <a:gd name="T13" fmla="*/ 3 h 446"/>
                  <a:gd name="T14" fmla="*/ 15 w 671"/>
                  <a:gd name="T15" fmla="*/ 4 h 446"/>
                  <a:gd name="T16" fmla="*/ 15 w 671"/>
                  <a:gd name="T17" fmla="*/ 6 h 446"/>
                  <a:gd name="T18" fmla="*/ 13 w 671"/>
                  <a:gd name="T19" fmla="*/ 7 h 446"/>
                  <a:gd name="T20" fmla="*/ 11 w 671"/>
                  <a:gd name="T21" fmla="*/ 9 h 446"/>
                  <a:gd name="T22" fmla="*/ 11 w 671"/>
                  <a:gd name="T23" fmla="*/ 9 h 446"/>
                  <a:gd name="T24" fmla="*/ 11 w 671"/>
                  <a:gd name="T25" fmla="*/ 11 h 446"/>
                  <a:gd name="T26" fmla="*/ 10 w 671"/>
                  <a:gd name="T27" fmla="*/ 9 h 446"/>
                  <a:gd name="T28" fmla="*/ 9 w 671"/>
                  <a:gd name="T29" fmla="*/ 8 h 446"/>
                  <a:gd name="T30" fmla="*/ 9 w 671"/>
                  <a:gd name="T31" fmla="*/ 7 h 446"/>
                  <a:gd name="T32" fmla="*/ 7 w 671"/>
                  <a:gd name="T33" fmla="*/ 9 h 446"/>
                  <a:gd name="T34" fmla="*/ 6 w 671"/>
                  <a:gd name="T35" fmla="*/ 8 h 446"/>
                  <a:gd name="T36" fmla="*/ 7 w 671"/>
                  <a:gd name="T37" fmla="*/ 8 h 446"/>
                  <a:gd name="T38" fmla="*/ 7 w 671"/>
                  <a:gd name="T39" fmla="*/ 7 h 446"/>
                  <a:gd name="T40" fmla="*/ 6 w 671"/>
                  <a:gd name="T41" fmla="*/ 6 h 446"/>
                  <a:gd name="T42" fmla="*/ 5 w 671"/>
                  <a:gd name="T43" fmla="*/ 5 h 446"/>
                  <a:gd name="T44" fmla="*/ 2 w 671"/>
                  <a:gd name="T45" fmla="*/ 6 h 446"/>
                  <a:gd name="T46" fmla="*/ 1 w 671"/>
                  <a:gd name="T47" fmla="*/ 6 h 446"/>
                  <a:gd name="T48" fmla="*/ 0 w 671"/>
                  <a:gd name="T49" fmla="*/ 4 h 446"/>
                  <a:gd name="T50" fmla="*/ 2 w 671"/>
                  <a:gd name="T51" fmla="*/ 2 h 446"/>
                  <a:gd name="T52" fmla="*/ 1 w 671"/>
                  <a:gd name="T53" fmla="*/ 1 h 446"/>
                  <a:gd name="T54" fmla="*/ 2 w 671"/>
                  <a:gd name="T55" fmla="*/ 1 h 446"/>
                  <a:gd name="T56" fmla="*/ 3 w 671"/>
                  <a:gd name="T57" fmla="*/ 1 h 446"/>
                  <a:gd name="T58" fmla="*/ 5 w 671"/>
                  <a:gd name="T59" fmla="*/ 1 h 446"/>
                  <a:gd name="T60" fmla="*/ 6 w 671"/>
                  <a:gd name="T61" fmla="*/ 1 h 446"/>
                  <a:gd name="T62" fmla="*/ 7 w 671"/>
                  <a:gd name="T63" fmla="*/ 2 h 446"/>
                  <a:gd name="T64" fmla="*/ 7 w 671"/>
                  <a:gd name="T65" fmla="*/ 1 h 446"/>
                  <a:gd name="T66" fmla="*/ 7 w 671"/>
                  <a:gd name="T67" fmla="*/ 1 h 4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71"/>
                  <a:gd name="T103" fmla="*/ 0 h 446"/>
                  <a:gd name="T104" fmla="*/ 671 w 671"/>
                  <a:gd name="T105" fmla="*/ 446 h 4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71" h="446">
                    <a:moveTo>
                      <a:pt x="334" y="20"/>
                    </a:moveTo>
                    <a:lnTo>
                      <a:pt x="344" y="17"/>
                    </a:lnTo>
                    <a:lnTo>
                      <a:pt x="362" y="4"/>
                    </a:lnTo>
                    <a:lnTo>
                      <a:pt x="379" y="0"/>
                    </a:lnTo>
                    <a:lnTo>
                      <a:pt x="406" y="4"/>
                    </a:lnTo>
                    <a:lnTo>
                      <a:pt x="418" y="27"/>
                    </a:lnTo>
                    <a:lnTo>
                      <a:pt x="424" y="54"/>
                    </a:lnTo>
                    <a:lnTo>
                      <a:pt x="435" y="63"/>
                    </a:lnTo>
                    <a:lnTo>
                      <a:pt x="448" y="58"/>
                    </a:lnTo>
                    <a:lnTo>
                      <a:pt x="481" y="95"/>
                    </a:lnTo>
                    <a:lnTo>
                      <a:pt x="498" y="124"/>
                    </a:lnTo>
                    <a:lnTo>
                      <a:pt x="542" y="145"/>
                    </a:lnTo>
                    <a:lnTo>
                      <a:pt x="574" y="150"/>
                    </a:lnTo>
                    <a:lnTo>
                      <a:pt x="587" y="145"/>
                    </a:lnTo>
                    <a:lnTo>
                      <a:pt x="617" y="160"/>
                    </a:lnTo>
                    <a:lnTo>
                      <a:pt x="650" y="165"/>
                    </a:lnTo>
                    <a:lnTo>
                      <a:pt x="671" y="233"/>
                    </a:lnTo>
                    <a:lnTo>
                      <a:pt x="638" y="242"/>
                    </a:lnTo>
                    <a:lnTo>
                      <a:pt x="631" y="276"/>
                    </a:lnTo>
                    <a:lnTo>
                      <a:pt x="579" y="311"/>
                    </a:lnTo>
                    <a:lnTo>
                      <a:pt x="500" y="334"/>
                    </a:lnTo>
                    <a:lnTo>
                      <a:pt x="491" y="366"/>
                    </a:lnTo>
                    <a:lnTo>
                      <a:pt x="462" y="352"/>
                    </a:lnTo>
                    <a:lnTo>
                      <a:pt x="493" y="395"/>
                    </a:lnTo>
                    <a:lnTo>
                      <a:pt x="540" y="400"/>
                    </a:lnTo>
                    <a:lnTo>
                      <a:pt x="453" y="446"/>
                    </a:lnTo>
                    <a:lnTo>
                      <a:pt x="400" y="396"/>
                    </a:lnTo>
                    <a:lnTo>
                      <a:pt x="444" y="358"/>
                    </a:lnTo>
                    <a:lnTo>
                      <a:pt x="400" y="349"/>
                    </a:lnTo>
                    <a:lnTo>
                      <a:pt x="376" y="349"/>
                    </a:lnTo>
                    <a:lnTo>
                      <a:pt x="383" y="315"/>
                    </a:lnTo>
                    <a:lnTo>
                      <a:pt x="374" y="320"/>
                    </a:lnTo>
                    <a:lnTo>
                      <a:pt x="310" y="338"/>
                    </a:lnTo>
                    <a:lnTo>
                      <a:pt x="289" y="396"/>
                    </a:lnTo>
                    <a:lnTo>
                      <a:pt x="244" y="394"/>
                    </a:lnTo>
                    <a:lnTo>
                      <a:pt x="254" y="352"/>
                    </a:lnTo>
                    <a:lnTo>
                      <a:pt x="255" y="334"/>
                    </a:lnTo>
                    <a:lnTo>
                      <a:pt x="283" y="325"/>
                    </a:lnTo>
                    <a:lnTo>
                      <a:pt x="295" y="312"/>
                    </a:lnTo>
                    <a:lnTo>
                      <a:pt x="298" y="302"/>
                    </a:lnTo>
                    <a:lnTo>
                      <a:pt x="283" y="296"/>
                    </a:lnTo>
                    <a:lnTo>
                      <a:pt x="262" y="253"/>
                    </a:lnTo>
                    <a:lnTo>
                      <a:pt x="236" y="227"/>
                    </a:lnTo>
                    <a:lnTo>
                      <a:pt x="203" y="227"/>
                    </a:lnTo>
                    <a:lnTo>
                      <a:pt x="162" y="239"/>
                    </a:lnTo>
                    <a:lnTo>
                      <a:pt x="100" y="242"/>
                    </a:lnTo>
                    <a:lnTo>
                      <a:pt x="72" y="250"/>
                    </a:lnTo>
                    <a:lnTo>
                      <a:pt x="24" y="250"/>
                    </a:lnTo>
                    <a:lnTo>
                      <a:pt x="0" y="224"/>
                    </a:lnTo>
                    <a:lnTo>
                      <a:pt x="16" y="185"/>
                    </a:lnTo>
                    <a:lnTo>
                      <a:pt x="41" y="143"/>
                    </a:lnTo>
                    <a:lnTo>
                      <a:pt x="73" y="99"/>
                    </a:lnTo>
                    <a:lnTo>
                      <a:pt x="56" y="47"/>
                    </a:lnTo>
                    <a:lnTo>
                      <a:pt x="57" y="38"/>
                    </a:lnTo>
                    <a:lnTo>
                      <a:pt x="70" y="27"/>
                    </a:lnTo>
                    <a:lnTo>
                      <a:pt x="91" y="31"/>
                    </a:lnTo>
                    <a:lnTo>
                      <a:pt x="117" y="27"/>
                    </a:lnTo>
                    <a:lnTo>
                      <a:pt x="143" y="39"/>
                    </a:lnTo>
                    <a:lnTo>
                      <a:pt x="177" y="54"/>
                    </a:lnTo>
                    <a:lnTo>
                      <a:pt x="199" y="47"/>
                    </a:lnTo>
                    <a:lnTo>
                      <a:pt x="220" y="59"/>
                    </a:lnTo>
                    <a:lnTo>
                      <a:pt x="244" y="65"/>
                    </a:lnTo>
                    <a:lnTo>
                      <a:pt x="259" y="76"/>
                    </a:lnTo>
                    <a:lnTo>
                      <a:pt x="276" y="72"/>
                    </a:lnTo>
                    <a:lnTo>
                      <a:pt x="279" y="49"/>
                    </a:lnTo>
                    <a:lnTo>
                      <a:pt x="290" y="38"/>
                    </a:lnTo>
                    <a:lnTo>
                      <a:pt x="314" y="38"/>
                    </a:lnTo>
                    <a:lnTo>
                      <a:pt x="322" y="31"/>
                    </a:lnTo>
                    <a:lnTo>
                      <a:pt x="334" y="2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8" name="Freeform 487"/>
              <p:cNvSpPr/>
              <p:nvPr/>
            </p:nvSpPr>
            <p:spPr bwMode="auto">
              <a:xfrm>
                <a:off x="2036" y="2424"/>
                <a:ext cx="37" cy="47"/>
              </a:xfrm>
              <a:custGeom>
                <a:avLst/>
                <a:gdLst>
                  <a:gd name="T0" fmla="*/ 1 w 129"/>
                  <a:gd name="T1" fmla="*/ 1 h 165"/>
                  <a:gd name="T2" fmla="*/ 1 w 129"/>
                  <a:gd name="T3" fmla="*/ 2 h 165"/>
                  <a:gd name="T4" fmla="*/ 1 w 129"/>
                  <a:gd name="T5" fmla="*/ 2 h 165"/>
                  <a:gd name="T6" fmla="*/ 1 w 129"/>
                  <a:gd name="T7" fmla="*/ 4 h 165"/>
                  <a:gd name="T8" fmla="*/ 2 w 129"/>
                  <a:gd name="T9" fmla="*/ 4 h 165"/>
                  <a:gd name="T10" fmla="*/ 2 w 129"/>
                  <a:gd name="T11" fmla="*/ 3 h 165"/>
                  <a:gd name="T12" fmla="*/ 2 w 129"/>
                  <a:gd name="T13" fmla="*/ 3 h 165"/>
                  <a:gd name="T14" fmla="*/ 3 w 129"/>
                  <a:gd name="T15" fmla="*/ 2 h 165"/>
                  <a:gd name="T16" fmla="*/ 3 w 129"/>
                  <a:gd name="T17" fmla="*/ 2 h 165"/>
                  <a:gd name="T18" fmla="*/ 3 w 129"/>
                  <a:gd name="T19" fmla="*/ 2 h 165"/>
                  <a:gd name="T20" fmla="*/ 2 w 129"/>
                  <a:gd name="T21" fmla="*/ 1 h 165"/>
                  <a:gd name="T22" fmla="*/ 1 w 129"/>
                  <a:gd name="T23" fmla="*/ 0 h 165"/>
                  <a:gd name="T24" fmla="*/ 1 w 129"/>
                  <a:gd name="T25" fmla="*/ 0 h 165"/>
                  <a:gd name="T26" fmla="*/ 0 w 129"/>
                  <a:gd name="T27" fmla="*/ 0 h 165"/>
                  <a:gd name="T28" fmla="*/ 1 w 129"/>
                  <a:gd name="T29" fmla="*/ 1 h 1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9"/>
                  <a:gd name="T46" fmla="*/ 0 h 165"/>
                  <a:gd name="T47" fmla="*/ 129 w 129"/>
                  <a:gd name="T48" fmla="*/ 165 h 1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9" h="165">
                    <a:moveTo>
                      <a:pt x="29" y="45"/>
                    </a:moveTo>
                    <a:lnTo>
                      <a:pt x="46" y="69"/>
                    </a:lnTo>
                    <a:lnTo>
                      <a:pt x="53" y="87"/>
                    </a:lnTo>
                    <a:lnTo>
                      <a:pt x="61" y="164"/>
                    </a:lnTo>
                    <a:lnTo>
                      <a:pt x="73" y="165"/>
                    </a:lnTo>
                    <a:lnTo>
                      <a:pt x="83" y="125"/>
                    </a:lnTo>
                    <a:lnTo>
                      <a:pt x="84" y="106"/>
                    </a:lnTo>
                    <a:lnTo>
                      <a:pt x="121" y="93"/>
                    </a:lnTo>
                    <a:lnTo>
                      <a:pt x="129" y="76"/>
                    </a:lnTo>
                    <a:lnTo>
                      <a:pt x="115" y="71"/>
                    </a:lnTo>
                    <a:lnTo>
                      <a:pt x="93" y="27"/>
                    </a:lnTo>
                    <a:lnTo>
                      <a:pt x="65" y="3"/>
                    </a:lnTo>
                    <a:lnTo>
                      <a:pt x="32" y="0"/>
                    </a:lnTo>
                    <a:lnTo>
                      <a:pt x="0" y="6"/>
                    </a:lnTo>
                    <a:lnTo>
                      <a:pt x="29" y="4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9" name="Freeform 488"/>
              <p:cNvSpPr/>
              <p:nvPr/>
            </p:nvSpPr>
            <p:spPr bwMode="auto">
              <a:xfrm>
                <a:off x="2167" y="2487"/>
                <a:ext cx="80" cy="42"/>
              </a:xfrm>
              <a:custGeom>
                <a:avLst/>
                <a:gdLst>
                  <a:gd name="T0" fmla="*/ 0 w 282"/>
                  <a:gd name="T1" fmla="*/ 0 h 147"/>
                  <a:gd name="T2" fmla="*/ 1 w 282"/>
                  <a:gd name="T3" fmla="*/ 0 h 147"/>
                  <a:gd name="T4" fmla="*/ 3 w 282"/>
                  <a:gd name="T5" fmla="*/ 1 h 147"/>
                  <a:gd name="T6" fmla="*/ 4 w 282"/>
                  <a:gd name="T7" fmla="*/ 1 h 147"/>
                  <a:gd name="T8" fmla="*/ 4 w 282"/>
                  <a:gd name="T9" fmla="*/ 1 h 147"/>
                  <a:gd name="T10" fmla="*/ 5 w 282"/>
                  <a:gd name="T11" fmla="*/ 1 h 147"/>
                  <a:gd name="T12" fmla="*/ 5 w 282"/>
                  <a:gd name="T13" fmla="*/ 1 h 147"/>
                  <a:gd name="T14" fmla="*/ 6 w 282"/>
                  <a:gd name="T15" fmla="*/ 2 h 147"/>
                  <a:gd name="T16" fmla="*/ 6 w 282"/>
                  <a:gd name="T17" fmla="*/ 2 h 147"/>
                  <a:gd name="T18" fmla="*/ 6 w 282"/>
                  <a:gd name="T19" fmla="*/ 2 h 147"/>
                  <a:gd name="T20" fmla="*/ 7 w 282"/>
                  <a:gd name="T21" fmla="*/ 3 h 147"/>
                  <a:gd name="T22" fmla="*/ 6 w 282"/>
                  <a:gd name="T23" fmla="*/ 3 h 147"/>
                  <a:gd name="T24" fmla="*/ 6 w 282"/>
                  <a:gd name="T25" fmla="*/ 3 h 147"/>
                  <a:gd name="T26" fmla="*/ 5 w 282"/>
                  <a:gd name="T27" fmla="*/ 3 h 147"/>
                  <a:gd name="T28" fmla="*/ 5 w 282"/>
                  <a:gd name="T29" fmla="*/ 3 h 147"/>
                  <a:gd name="T30" fmla="*/ 5 w 282"/>
                  <a:gd name="T31" fmla="*/ 3 h 147"/>
                  <a:gd name="T32" fmla="*/ 4 w 282"/>
                  <a:gd name="T33" fmla="*/ 3 h 147"/>
                  <a:gd name="T34" fmla="*/ 3 w 282"/>
                  <a:gd name="T35" fmla="*/ 3 h 147"/>
                  <a:gd name="T36" fmla="*/ 3 w 282"/>
                  <a:gd name="T37" fmla="*/ 3 h 147"/>
                  <a:gd name="T38" fmla="*/ 3 w 282"/>
                  <a:gd name="T39" fmla="*/ 2 h 147"/>
                  <a:gd name="T40" fmla="*/ 1 w 282"/>
                  <a:gd name="T41" fmla="*/ 1 h 147"/>
                  <a:gd name="T42" fmla="*/ 0 w 282"/>
                  <a:gd name="T43" fmla="*/ 0 h 1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2"/>
                  <a:gd name="T67" fmla="*/ 0 h 147"/>
                  <a:gd name="T68" fmla="*/ 282 w 282"/>
                  <a:gd name="T69" fmla="*/ 147 h 1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2" h="147">
                    <a:moveTo>
                      <a:pt x="0" y="8"/>
                    </a:moveTo>
                    <a:lnTo>
                      <a:pt x="68" y="0"/>
                    </a:lnTo>
                    <a:lnTo>
                      <a:pt x="130" y="31"/>
                    </a:lnTo>
                    <a:lnTo>
                      <a:pt x="160" y="63"/>
                    </a:lnTo>
                    <a:lnTo>
                      <a:pt x="192" y="63"/>
                    </a:lnTo>
                    <a:lnTo>
                      <a:pt x="214" y="50"/>
                    </a:lnTo>
                    <a:lnTo>
                      <a:pt x="235" y="43"/>
                    </a:lnTo>
                    <a:lnTo>
                      <a:pt x="249" y="78"/>
                    </a:lnTo>
                    <a:lnTo>
                      <a:pt x="278" y="86"/>
                    </a:lnTo>
                    <a:lnTo>
                      <a:pt x="275" y="100"/>
                    </a:lnTo>
                    <a:lnTo>
                      <a:pt x="282" y="125"/>
                    </a:lnTo>
                    <a:lnTo>
                      <a:pt x="278" y="144"/>
                    </a:lnTo>
                    <a:lnTo>
                      <a:pt x="249" y="115"/>
                    </a:lnTo>
                    <a:lnTo>
                      <a:pt x="235" y="105"/>
                    </a:lnTo>
                    <a:lnTo>
                      <a:pt x="215" y="105"/>
                    </a:lnTo>
                    <a:lnTo>
                      <a:pt x="208" y="139"/>
                    </a:lnTo>
                    <a:lnTo>
                      <a:pt x="187" y="130"/>
                    </a:lnTo>
                    <a:lnTo>
                      <a:pt x="152" y="147"/>
                    </a:lnTo>
                    <a:lnTo>
                      <a:pt x="110" y="142"/>
                    </a:lnTo>
                    <a:lnTo>
                      <a:pt x="109" y="86"/>
                    </a:lnTo>
                    <a:lnTo>
                      <a:pt x="39" y="35"/>
                    </a:lnTo>
                    <a:lnTo>
                      <a:pt x="0" y="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0" name="Freeform 489"/>
              <p:cNvSpPr/>
              <p:nvPr/>
            </p:nvSpPr>
            <p:spPr bwMode="auto">
              <a:xfrm>
                <a:off x="2227" y="2512"/>
                <a:ext cx="67" cy="63"/>
              </a:xfrm>
              <a:custGeom>
                <a:avLst/>
                <a:gdLst>
                  <a:gd name="T0" fmla="*/ 2 w 234"/>
                  <a:gd name="T1" fmla="*/ 0 h 221"/>
                  <a:gd name="T2" fmla="*/ 2 w 234"/>
                  <a:gd name="T3" fmla="*/ 0 h 221"/>
                  <a:gd name="T4" fmla="*/ 3 w 234"/>
                  <a:gd name="T5" fmla="*/ 0 h 221"/>
                  <a:gd name="T6" fmla="*/ 4 w 234"/>
                  <a:gd name="T7" fmla="*/ 1 h 221"/>
                  <a:gd name="T8" fmla="*/ 5 w 234"/>
                  <a:gd name="T9" fmla="*/ 2 h 221"/>
                  <a:gd name="T10" fmla="*/ 5 w 234"/>
                  <a:gd name="T11" fmla="*/ 3 h 221"/>
                  <a:gd name="T12" fmla="*/ 5 w 234"/>
                  <a:gd name="T13" fmla="*/ 3 h 221"/>
                  <a:gd name="T14" fmla="*/ 5 w 234"/>
                  <a:gd name="T15" fmla="*/ 4 h 221"/>
                  <a:gd name="T16" fmla="*/ 5 w 234"/>
                  <a:gd name="T17" fmla="*/ 4 h 221"/>
                  <a:gd name="T18" fmla="*/ 4 w 234"/>
                  <a:gd name="T19" fmla="*/ 5 h 221"/>
                  <a:gd name="T20" fmla="*/ 4 w 234"/>
                  <a:gd name="T21" fmla="*/ 5 h 221"/>
                  <a:gd name="T22" fmla="*/ 3 w 234"/>
                  <a:gd name="T23" fmla="*/ 4 h 221"/>
                  <a:gd name="T24" fmla="*/ 3 w 234"/>
                  <a:gd name="T25" fmla="*/ 4 h 221"/>
                  <a:gd name="T26" fmla="*/ 2 w 234"/>
                  <a:gd name="T27" fmla="*/ 5 h 221"/>
                  <a:gd name="T28" fmla="*/ 1 w 234"/>
                  <a:gd name="T29" fmla="*/ 5 h 221"/>
                  <a:gd name="T30" fmla="*/ 1 w 234"/>
                  <a:gd name="T31" fmla="*/ 4 h 221"/>
                  <a:gd name="T32" fmla="*/ 1 w 234"/>
                  <a:gd name="T33" fmla="*/ 4 h 221"/>
                  <a:gd name="T34" fmla="*/ 1 w 234"/>
                  <a:gd name="T35" fmla="*/ 3 h 221"/>
                  <a:gd name="T36" fmla="*/ 1 w 234"/>
                  <a:gd name="T37" fmla="*/ 4 h 221"/>
                  <a:gd name="T38" fmla="*/ 2 w 234"/>
                  <a:gd name="T39" fmla="*/ 4 h 221"/>
                  <a:gd name="T40" fmla="*/ 3 w 234"/>
                  <a:gd name="T41" fmla="*/ 4 h 221"/>
                  <a:gd name="T42" fmla="*/ 1 w 234"/>
                  <a:gd name="T43" fmla="*/ 3 h 221"/>
                  <a:gd name="T44" fmla="*/ 1 w 234"/>
                  <a:gd name="T45" fmla="*/ 2 h 221"/>
                  <a:gd name="T46" fmla="*/ 1 w 234"/>
                  <a:gd name="T47" fmla="*/ 2 h 221"/>
                  <a:gd name="T48" fmla="*/ 1 w 234"/>
                  <a:gd name="T49" fmla="*/ 1 h 221"/>
                  <a:gd name="T50" fmla="*/ 1 w 234"/>
                  <a:gd name="T51" fmla="*/ 1 h 221"/>
                  <a:gd name="T52" fmla="*/ 0 w 234"/>
                  <a:gd name="T53" fmla="*/ 1 h 221"/>
                  <a:gd name="T54" fmla="*/ 0 w 234"/>
                  <a:gd name="T55" fmla="*/ 1 h 221"/>
                  <a:gd name="T56" fmla="*/ 0 w 234"/>
                  <a:gd name="T57" fmla="*/ 0 h 221"/>
                  <a:gd name="T58" fmla="*/ 1 w 234"/>
                  <a:gd name="T59" fmla="*/ 0 h 221"/>
                  <a:gd name="T60" fmla="*/ 1 w 234"/>
                  <a:gd name="T61" fmla="*/ 1 h 221"/>
                  <a:gd name="T62" fmla="*/ 2 w 234"/>
                  <a:gd name="T63" fmla="*/ 1 h 221"/>
                  <a:gd name="T64" fmla="*/ 2 w 234"/>
                  <a:gd name="T65" fmla="*/ 1 h 221"/>
                  <a:gd name="T66" fmla="*/ 1 w 234"/>
                  <a:gd name="T67" fmla="*/ 0 h 221"/>
                  <a:gd name="T68" fmla="*/ 2 w 234"/>
                  <a:gd name="T69" fmla="*/ 0 h 221"/>
                  <a:gd name="T70" fmla="*/ 2 w 234"/>
                  <a:gd name="T71" fmla="*/ 0 h 2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4"/>
                  <a:gd name="T109" fmla="*/ 0 h 221"/>
                  <a:gd name="T110" fmla="*/ 234 w 234"/>
                  <a:gd name="T111" fmla="*/ 221 h 2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4" h="221">
                    <a:moveTo>
                      <a:pt x="89" y="8"/>
                    </a:moveTo>
                    <a:lnTo>
                      <a:pt x="103" y="8"/>
                    </a:lnTo>
                    <a:lnTo>
                      <a:pt x="137" y="19"/>
                    </a:lnTo>
                    <a:lnTo>
                      <a:pt x="171" y="49"/>
                    </a:lnTo>
                    <a:lnTo>
                      <a:pt x="193" y="83"/>
                    </a:lnTo>
                    <a:lnTo>
                      <a:pt x="234" y="125"/>
                    </a:lnTo>
                    <a:lnTo>
                      <a:pt x="211" y="134"/>
                    </a:lnTo>
                    <a:lnTo>
                      <a:pt x="199" y="160"/>
                    </a:lnTo>
                    <a:lnTo>
                      <a:pt x="196" y="172"/>
                    </a:lnTo>
                    <a:lnTo>
                      <a:pt x="185" y="221"/>
                    </a:lnTo>
                    <a:lnTo>
                      <a:pt x="153" y="207"/>
                    </a:lnTo>
                    <a:lnTo>
                      <a:pt x="143" y="165"/>
                    </a:lnTo>
                    <a:lnTo>
                      <a:pt x="114" y="181"/>
                    </a:lnTo>
                    <a:lnTo>
                      <a:pt x="79" y="206"/>
                    </a:lnTo>
                    <a:lnTo>
                      <a:pt x="59" y="200"/>
                    </a:lnTo>
                    <a:lnTo>
                      <a:pt x="42" y="180"/>
                    </a:lnTo>
                    <a:lnTo>
                      <a:pt x="34" y="160"/>
                    </a:lnTo>
                    <a:lnTo>
                      <a:pt x="46" y="141"/>
                    </a:lnTo>
                    <a:lnTo>
                      <a:pt x="56" y="156"/>
                    </a:lnTo>
                    <a:lnTo>
                      <a:pt x="98" y="179"/>
                    </a:lnTo>
                    <a:lnTo>
                      <a:pt x="108" y="158"/>
                    </a:lnTo>
                    <a:lnTo>
                      <a:pt x="68" y="123"/>
                    </a:lnTo>
                    <a:lnTo>
                      <a:pt x="53" y="94"/>
                    </a:lnTo>
                    <a:lnTo>
                      <a:pt x="41" y="83"/>
                    </a:lnTo>
                    <a:lnTo>
                      <a:pt x="41" y="65"/>
                    </a:lnTo>
                    <a:lnTo>
                      <a:pt x="27" y="58"/>
                    </a:lnTo>
                    <a:lnTo>
                      <a:pt x="0" y="54"/>
                    </a:lnTo>
                    <a:lnTo>
                      <a:pt x="6" y="33"/>
                    </a:lnTo>
                    <a:lnTo>
                      <a:pt x="8" y="19"/>
                    </a:lnTo>
                    <a:lnTo>
                      <a:pt x="30" y="19"/>
                    </a:lnTo>
                    <a:lnTo>
                      <a:pt x="41" y="29"/>
                    </a:lnTo>
                    <a:lnTo>
                      <a:pt x="70" y="58"/>
                    </a:lnTo>
                    <a:lnTo>
                      <a:pt x="74" y="39"/>
                    </a:lnTo>
                    <a:lnTo>
                      <a:pt x="67" y="16"/>
                    </a:lnTo>
                    <a:lnTo>
                      <a:pt x="70" y="0"/>
                    </a:lnTo>
                    <a:lnTo>
                      <a:pt x="89" y="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1" name="Freeform 490"/>
              <p:cNvSpPr/>
              <p:nvPr/>
            </p:nvSpPr>
            <p:spPr bwMode="auto">
              <a:xfrm>
                <a:off x="2213" y="2524"/>
                <a:ext cx="45" cy="39"/>
              </a:xfrm>
              <a:custGeom>
                <a:avLst/>
                <a:gdLst>
                  <a:gd name="T0" fmla="*/ 0 w 156"/>
                  <a:gd name="T1" fmla="*/ 0 h 135"/>
                  <a:gd name="T2" fmla="*/ 0 w 156"/>
                  <a:gd name="T3" fmla="*/ 1 h 135"/>
                  <a:gd name="T4" fmla="*/ 1 w 156"/>
                  <a:gd name="T5" fmla="*/ 2 h 135"/>
                  <a:gd name="T6" fmla="*/ 2 w 156"/>
                  <a:gd name="T7" fmla="*/ 3 h 135"/>
                  <a:gd name="T8" fmla="*/ 2 w 156"/>
                  <a:gd name="T9" fmla="*/ 2 h 135"/>
                  <a:gd name="T10" fmla="*/ 2 w 156"/>
                  <a:gd name="T11" fmla="*/ 3 h 135"/>
                  <a:gd name="T12" fmla="*/ 3 w 156"/>
                  <a:gd name="T13" fmla="*/ 3 h 135"/>
                  <a:gd name="T14" fmla="*/ 3 w 156"/>
                  <a:gd name="T15" fmla="*/ 3 h 135"/>
                  <a:gd name="T16" fmla="*/ 4 w 156"/>
                  <a:gd name="T17" fmla="*/ 3 h 135"/>
                  <a:gd name="T18" fmla="*/ 3 w 156"/>
                  <a:gd name="T19" fmla="*/ 2 h 135"/>
                  <a:gd name="T20" fmla="*/ 3 w 156"/>
                  <a:gd name="T21" fmla="*/ 1 h 135"/>
                  <a:gd name="T22" fmla="*/ 2 w 156"/>
                  <a:gd name="T23" fmla="*/ 1 h 135"/>
                  <a:gd name="T24" fmla="*/ 2 w 156"/>
                  <a:gd name="T25" fmla="*/ 1 h 135"/>
                  <a:gd name="T26" fmla="*/ 2 w 156"/>
                  <a:gd name="T27" fmla="*/ 0 h 135"/>
                  <a:gd name="T28" fmla="*/ 1 w 156"/>
                  <a:gd name="T29" fmla="*/ 0 h 135"/>
                  <a:gd name="T30" fmla="*/ 1 w 156"/>
                  <a:gd name="T31" fmla="*/ 0 h 135"/>
                  <a:gd name="T32" fmla="*/ 0 w 156"/>
                  <a:gd name="T33" fmla="*/ 0 h 135"/>
                  <a:gd name="T34" fmla="*/ 0 w 156"/>
                  <a:gd name="T35" fmla="*/ 0 h 1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6"/>
                  <a:gd name="T55" fmla="*/ 0 h 135"/>
                  <a:gd name="T56" fmla="*/ 156 w 156"/>
                  <a:gd name="T57" fmla="*/ 135 h 1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6" h="135">
                    <a:moveTo>
                      <a:pt x="0" y="18"/>
                    </a:moveTo>
                    <a:lnTo>
                      <a:pt x="16" y="40"/>
                    </a:lnTo>
                    <a:lnTo>
                      <a:pt x="40" y="74"/>
                    </a:lnTo>
                    <a:lnTo>
                      <a:pt x="77" y="117"/>
                    </a:lnTo>
                    <a:lnTo>
                      <a:pt x="99" y="91"/>
                    </a:lnTo>
                    <a:lnTo>
                      <a:pt x="100" y="114"/>
                    </a:lnTo>
                    <a:lnTo>
                      <a:pt x="117" y="117"/>
                    </a:lnTo>
                    <a:lnTo>
                      <a:pt x="145" y="135"/>
                    </a:lnTo>
                    <a:lnTo>
                      <a:pt x="156" y="114"/>
                    </a:lnTo>
                    <a:lnTo>
                      <a:pt x="116" y="79"/>
                    </a:lnTo>
                    <a:lnTo>
                      <a:pt x="104" y="52"/>
                    </a:lnTo>
                    <a:lnTo>
                      <a:pt x="89" y="39"/>
                    </a:lnTo>
                    <a:lnTo>
                      <a:pt x="89" y="21"/>
                    </a:lnTo>
                    <a:lnTo>
                      <a:pt x="75" y="14"/>
                    </a:lnTo>
                    <a:lnTo>
                      <a:pt x="47" y="9"/>
                    </a:lnTo>
                    <a:lnTo>
                      <a:pt x="26" y="0"/>
                    </a:lnTo>
                    <a:lnTo>
                      <a:pt x="5" y="4"/>
                    </a:lnTo>
                    <a:lnTo>
                      <a:pt x="0" y="1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2" name="Freeform 491"/>
              <p:cNvSpPr/>
              <p:nvPr/>
            </p:nvSpPr>
            <p:spPr bwMode="auto">
              <a:xfrm>
                <a:off x="2238" y="2308"/>
                <a:ext cx="455" cy="227"/>
              </a:xfrm>
              <a:custGeom>
                <a:avLst/>
                <a:gdLst>
                  <a:gd name="T0" fmla="*/ 35 w 1596"/>
                  <a:gd name="T1" fmla="*/ 8 h 795"/>
                  <a:gd name="T2" fmla="*/ 31 w 1596"/>
                  <a:gd name="T3" fmla="*/ 7 h 795"/>
                  <a:gd name="T4" fmla="*/ 30 w 1596"/>
                  <a:gd name="T5" fmla="*/ 6 h 795"/>
                  <a:gd name="T6" fmla="*/ 29 w 1596"/>
                  <a:gd name="T7" fmla="*/ 6 h 795"/>
                  <a:gd name="T8" fmla="*/ 27 w 1596"/>
                  <a:gd name="T9" fmla="*/ 5 h 795"/>
                  <a:gd name="T10" fmla="*/ 24 w 1596"/>
                  <a:gd name="T11" fmla="*/ 3 h 795"/>
                  <a:gd name="T12" fmla="*/ 20 w 1596"/>
                  <a:gd name="T13" fmla="*/ 2 h 795"/>
                  <a:gd name="T14" fmla="*/ 17 w 1596"/>
                  <a:gd name="T15" fmla="*/ 1 h 795"/>
                  <a:gd name="T16" fmla="*/ 15 w 1596"/>
                  <a:gd name="T17" fmla="*/ 1 h 795"/>
                  <a:gd name="T18" fmla="*/ 12 w 1596"/>
                  <a:gd name="T19" fmla="*/ 1 h 795"/>
                  <a:gd name="T20" fmla="*/ 9 w 1596"/>
                  <a:gd name="T21" fmla="*/ 1 h 795"/>
                  <a:gd name="T22" fmla="*/ 9 w 1596"/>
                  <a:gd name="T23" fmla="*/ 4 h 795"/>
                  <a:gd name="T24" fmla="*/ 10 w 1596"/>
                  <a:gd name="T25" fmla="*/ 5 h 795"/>
                  <a:gd name="T26" fmla="*/ 10 w 1596"/>
                  <a:gd name="T27" fmla="*/ 6 h 795"/>
                  <a:gd name="T28" fmla="*/ 9 w 1596"/>
                  <a:gd name="T29" fmla="*/ 6 h 795"/>
                  <a:gd name="T30" fmla="*/ 7 w 1596"/>
                  <a:gd name="T31" fmla="*/ 5 h 795"/>
                  <a:gd name="T32" fmla="*/ 6 w 1596"/>
                  <a:gd name="T33" fmla="*/ 6 h 795"/>
                  <a:gd name="T34" fmla="*/ 5 w 1596"/>
                  <a:gd name="T35" fmla="*/ 5 h 795"/>
                  <a:gd name="T36" fmla="*/ 2 w 1596"/>
                  <a:gd name="T37" fmla="*/ 5 h 795"/>
                  <a:gd name="T38" fmla="*/ 1 w 1596"/>
                  <a:gd name="T39" fmla="*/ 6 h 795"/>
                  <a:gd name="T40" fmla="*/ 1 w 1596"/>
                  <a:gd name="T41" fmla="*/ 7 h 795"/>
                  <a:gd name="T42" fmla="*/ 0 w 1596"/>
                  <a:gd name="T43" fmla="*/ 7 h 795"/>
                  <a:gd name="T44" fmla="*/ 0 w 1596"/>
                  <a:gd name="T45" fmla="*/ 9 h 795"/>
                  <a:gd name="T46" fmla="*/ 1 w 1596"/>
                  <a:gd name="T47" fmla="*/ 10 h 795"/>
                  <a:gd name="T48" fmla="*/ 2 w 1596"/>
                  <a:gd name="T49" fmla="*/ 10 h 795"/>
                  <a:gd name="T50" fmla="*/ 3 w 1596"/>
                  <a:gd name="T51" fmla="*/ 12 h 795"/>
                  <a:gd name="T52" fmla="*/ 7 w 1596"/>
                  <a:gd name="T53" fmla="*/ 11 h 795"/>
                  <a:gd name="T54" fmla="*/ 6 w 1596"/>
                  <a:gd name="T55" fmla="*/ 13 h 795"/>
                  <a:gd name="T56" fmla="*/ 4 w 1596"/>
                  <a:gd name="T57" fmla="*/ 15 h 795"/>
                  <a:gd name="T58" fmla="*/ 7 w 1596"/>
                  <a:gd name="T59" fmla="*/ 17 h 795"/>
                  <a:gd name="T60" fmla="*/ 8 w 1596"/>
                  <a:gd name="T61" fmla="*/ 17 h 795"/>
                  <a:gd name="T62" fmla="*/ 9 w 1596"/>
                  <a:gd name="T63" fmla="*/ 17 h 795"/>
                  <a:gd name="T64" fmla="*/ 9 w 1596"/>
                  <a:gd name="T65" fmla="*/ 13 h 795"/>
                  <a:gd name="T66" fmla="*/ 11 w 1596"/>
                  <a:gd name="T67" fmla="*/ 12 h 795"/>
                  <a:gd name="T68" fmla="*/ 11 w 1596"/>
                  <a:gd name="T69" fmla="*/ 11 h 795"/>
                  <a:gd name="T70" fmla="*/ 12 w 1596"/>
                  <a:gd name="T71" fmla="*/ 11 h 795"/>
                  <a:gd name="T72" fmla="*/ 13 w 1596"/>
                  <a:gd name="T73" fmla="*/ 12 h 795"/>
                  <a:gd name="T74" fmla="*/ 13 w 1596"/>
                  <a:gd name="T75" fmla="*/ 13 h 795"/>
                  <a:gd name="T76" fmla="*/ 14 w 1596"/>
                  <a:gd name="T77" fmla="*/ 15 h 795"/>
                  <a:gd name="T78" fmla="*/ 17 w 1596"/>
                  <a:gd name="T79" fmla="*/ 15 h 795"/>
                  <a:gd name="T80" fmla="*/ 17 w 1596"/>
                  <a:gd name="T81" fmla="*/ 17 h 795"/>
                  <a:gd name="T82" fmla="*/ 18 w 1596"/>
                  <a:gd name="T83" fmla="*/ 19 h 795"/>
                  <a:gd name="T84" fmla="*/ 21 w 1596"/>
                  <a:gd name="T85" fmla="*/ 18 h 795"/>
                  <a:gd name="T86" fmla="*/ 23 w 1596"/>
                  <a:gd name="T87" fmla="*/ 18 h 795"/>
                  <a:gd name="T88" fmla="*/ 23 w 1596"/>
                  <a:gd name="T89" fmla="*/ 17 h 795"/>
                  <a:gd name="T90" fmla="*/ 23 w 1596"/>
                  <a:gd name="T91" fmla="*/ 16 h 795"/>
                  <a:gd name="T92" fmla="*/ 25 w 1596"/>
                  <a:gd name="T93" fmla="*/ 17 h 795"/>
                  <a:gd name="T94" fmla="*/ 27 w 1596"/>
                  <a:gd name="T95" fmla="*/ 16 h 795"/>
                  <a:gd name="T96" fmla="*/ 31 w 1596"/>
                  <a:gd name="T97" fmla="*/ 17 h 795"/>
                  <a:gd name="T98" fmla="*/ 31 w 1596"/>
                  <a:gd name="T99" fmla="*/ 14 h 795"/>
                  <a:gd name="T100" fmla="*/ 34 w 1596"/>
                  <a:gd name="T101" fmla="*/ 11 h 7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96"/>
                  <a:gd name="T154" fmla="*/ 0 h 795"/>
                  <a:gd name="T155" fmla="*/ 1596 w 1596"/>
                  <a:gd name="T156" fmla="*/ 795 h 7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96" h="795">
                    <a:moveTo>
                      <a:pt x="1561" y="408"/>
                    </a:moveTo>
                    <a:lnTo>
                      <a:pt x="1596" y="391"/>
                    </a:lnTo>
                    <a:lnTo>
                      <a:pt x="1516" y="328"/>
                    </a:lnTo>
                    <a:lnTo>
                      <a:pt x="1467" y="354"/>
                    </a:lnTo>
                    <a:lnTo>
                      <a:pt x="1395" y="331"/>
                    </a:lnTo>
                    <a:lnTo>
                      <a:pt x="1358" y="311"/>
                    </a:lnTo>
                    <a:lnTo>
                      <a:pt x="1327" y="311"/>
                    </a:lnTo>
                    <a:lnTo>
                      <a:pt x="1310" y="272"/>
                    </a:lnTo>
                    <a:lnTo>
                      <a:pt x="1297" y="246"/>
                    </a:lnTo>
                    <a:lnTo>
                      <a:pt x="1273" y="246"/>
                    </a:lnTo>
                    <a:lnTo>
                      <a:pt x="1247" y="246"/>
                    </a:lnTo>
                    <a:lnTo>
                      <a:pt x="1226" y="257"/>
                    </a:lnTo>
                    <a:lnTo>
                      <a:pt x="1186" y="212"/>
                    </a:lnTo>
                    <a:lnTo>
                      <a:pt x="1171" y="220"/>
                    </a:lnTo>
                    <a:lnTo>
                      <a:pt x="1150" y="230"/>
                    </a:lnTo>
                    <a:lnTo>
                      <a:pt x="1133" y="239"/>
                    </a:lnTo>
                    <a:lnTo>
                      <a:pt x="1098" y="207"/>
                    </a:lnTo>
                    <a:lnTo>
                      <a:pt x="1017" y="134"/>
                    </a:lnTo>
                    <a:lnTo>
                      <a:pt x="958" y="89"/>
                    </a:lnTo>
                    <a:lnTo>
                      <a:pt x="919" y="50"/>
                    </a:lnTo>
                    <a:lnTo>
                      <a:pt x="852" y="97"/>
                    </a:lnTo>
                    <a:lnTo>
                      <a:pt x="841" y="62"/>
                    </a:lnTo>
                    <a:lnTo>
                      <a:pt x="750" y="58"/>
                    </a:lnTo>
                    <a:lnTo>
                      <a:pt x="739" y="58"/>
                    </a:lnTo>
                    <a:lnTo>
                      <a:pt x="696" y="0"/>
                    </a:lnTo>
                    <a:lnTo>
                      <a:pt x="654" y="8"/>
                    </a:lnTo>
                    <a:lnTo>
                      <a:pt x="623" y="31"/>
                    </a:lnTo>
                    <a:lnTo>
                      <a:pt x="566" y="44"/>
                    </a:lnTo>
                    <a:lnTo>
                      <a:pt x="546" y="32"/>
                    </a:lnTo>
                    <a:lnTo>
                      <a:pt x="516" y="67"/>
                    </a:lnTo>
                    <a:lnTo>
                      <a:pt x="492" y="62"/>
                    </a:lnTo>
                    <a:lnTo>
                      <a:pt x="409" y="70"/>
                    </a:lnTo>
                    <a:lnTo>
                      <a:pt x="395" y="67"/>
                    </a:lnTo>
                    <a:lnTo>
                      <a:pt x="384" y="75"/>
                    </a:lnTo>
                    <a:lnTo>
                      <a:pt x="417" y="119"/>
                    </a:lnTo>
                    <a:lnTo>
                      <a:pt x="395" y="159"/>
                    </a:lnTo>
                    <a:lnTo>
                      <a:pt x="396" y="189"/>
                    </a:lnTo>
                    <a:lnTo>
                      <a:pt x="396" y="204"/>
                    </a:lnTo>
                    <a:lnTo>
                      <a:pt x="441" y="204"/>
                    </a:lnTo>
                    <a:lnTo>
                      <a:pt x="454" y="230"/>
                    </a:lnTo>
                    <a:lnTo>
                      <a:pt x="454" y="257"/>
                    </a:lnTo>
                    <a:lnTo>
                      <a:pt x="441" y="263"/>
                    </a:lnTo>
                    <a:lnTo>
                      <a:pt x="425" y="246"/>
                    </a:lnTo>
                    <a:lnTo>
                      <a:pt x="405" y="257"/>
                    </a:lnTo>
                    <a:lnTo>
                      <a:pt x="395" y="269"/>
                    </a:lnTo>
                    <a:lnTo>
                      <a:pt x="361" y="246"/>
                    </a:lnTo>
                    <a:lnTo>
                      <a:pt x="351" y="224"/>
                    </a:lnTo>
                    <a:lnTo>
                      <a:pt x="322" y="235"/>
                    </a:lnTo>
                    <a:lnTo>
                      <a:pt x="322" y="243"/>
                    </a:lnTo>
                    <a:lnTo>
                      <a:pt x="302" y="224"/>
                    </a:lnTo>
                    <a:lnTo>
                      <a:pt x="273" y="246"/>
                    </a:lnTo>
                    <a:lnTo>
                      <a:pt x="240" y="257"/>
                    </a:lnTo>
                    <a:lnTo>
                      <a:pt x="229" y="246"/>
                    </a:lnTo>
                    <a:lnTo>
                      <a:pt x="221" y="224"/>
                    </a:lnTo>
                    <a:lnTo>
                      <a:pt x="176" y="220"/>
                    </a:lnTo>
                    <a:lnTo>
                      <a:pt x="103" y="216"/>
                    </a:lnTo>
                    <a:lnTo>
                      <a:pt x="85" y="220"/>
                    </a:lnTo>
                    <a:lnTo>
                      <a:pt x="81" y="235"/>
                    </a:lnTo>
                    <a:lnTo>
                      <a:pt x="69" y="230"/>
                    </a:lnTo>
                    <a:lnTo>
                      <a:pt x="54" y="254"/>
                    </a:lnTo>
                    <a:lnTo>
                      <a:pt x="43" y="272"/>
                    </a:lnTo>
                    <a:lnTo>
                      <a:pt x="43" y="281"/>
                    </a:lnTo>
                    <a:lnTo>
                      <a:pt x="51" y="299"/>
                    </a:lnTo>
                    <a:lnTo>
                      <a:pt x="39" y="304"/>
                    </a:lnTo>
                    <a:lnTo>
                      <a:pt x="28" y="272"/>
                    </a:lnTo>
                    <a:lnTo>
                      <a:pt x="7" y="276"/>
                    </a:lnTo>
                    <a:lnTo>
                      <a:pt x="0" y="318"/>
                    </a:lnTo>
                    <a:lnTo>
                      <a:pt x="0" y="343"/>
                    </a:lnTo>
                    <a:lnTo>
                      <a:pt x="0" y="366"/>
                    </a:lnTo>
                    <a:lnTo>
                      <a:pt x="11" y="387"/>
                    </a:lnTo>
                    <a:lnTo>
                      <a:pt x="20" y="399"/>
                    </a:lnTo>
                    <a:lnTo>
                      <a:pt x="20" y="424"/>
                    </a:lnTo>
                    <a:lnTo>
                      <a:pt x="39" y="422"/>
                    </a:lnTo>
                    <a:lnTo>
                      <a:pt x="62" y="403"/>
                    </a:lnTo>
                    <a:lnTo>
                      <a:pt x="74" y="422"/>
                    </a:lnTo>
                    <a:lnTo>
                      <a:pt x="91" y="445"/>
                    </a:lnTo>
                    <a:lnTo>
                      <a:pt x="103" y="468"/>
                    </a:lnTo>
                    <a:lnTo>
                      <a:pt x="121" y="512"/>
                    </a:lnTo>
                    <a:lnTo>
                      <a:pt x="157" y="501"/>
                    </a:lnTo>
                    <a:lnTo>
                      <a:pt x="209" y="489"/>
                    </a:lnTo>
                    <a:lnTo>
                      <a:pt x="291" y="477"/>
                    </a:lnTo>
                    <a:lnTo>
                      <a:pt x="312" y="506"/>
                    </a:lnTo>
                    <a:lnTo>
                      <a:pt x="316" y="562"/>
                    </a:lnTo>
                    <a:lnTo>
                      <a:pt x="273" y="573"/>
                    </a:lnTo>
                    <a:lnTo>
                      <a:pt x="240" y="581"/>
                    </a:lnTo>
                    <a:lnTo>
                      <a:pt x="248" y="621"/>
                    </a:lnTo>
                    <a:lnTo>
                      <a:pt x="191" y="621"/>
                    </a:lnTo>
                    <a:lnTo>
                      <a:pt x="240" y="699"/>
                    </a:lnTo>
                    <a:lnTo>
                      <a:pt x="262" y="706"/>
                    </a:lnTo>
                    <a:lnTo>
                      <a:pt x="284" y="710"/>
                    </a:lnTo>
                    <a:lnTo>
                      <a:pt x="298" y="744"/>
                    </a:lnTo>
                    <a:lnTo>
                      <a:pt x="311" y="731"/>
                    </a:lnTo>
                    <a:lnTo>
                      <a:pt x="352" y="723"/>
                    </a:lnTo>
                    <a:lnTo>
                      <a:pt x="378" y="736"/>
                    </a:lnTo>
                    <a:lnTo>
                      <a:pt x="395" y="753"/>
                    </a:lnTo>
                    <a:lnTo>
                      <a:pt x="406" y="736"/>
                    </a:lnTo>
                    <a:lnTo>
                      <a:pt x="435" y="741"/>
                    </a:lnTo>
                    <a:lnTo>
                      <a:pt x="386" y="565"/>
                    </a:lnTo>
                    <a:lnTo>
                      <a:pt x="405" y="556"/>
                    </a:lnTo>
                    <a:lnTo>
                      <a:pt x="469" y="518"/>
                    </a:lnTo>
                    <a:lnTo>
                      <a:pt x="480" y="515"/>
                    </a:lnTo>
                    <a:lnTo>
                      <a:pt x="471" y="501"/>
                    </a:lnTo>
                    <a:lnTo>
                      <a:pt x="484" y="508"/>
                    </a:lnTo>
                    <a:lnTo>
                      <a:pt x="484" y="489"/>
                    </a:lnTo>
                    <a:lnTo>
                      <a:pt x="492" y="477"/>
                    </a:lnTo>
                    <a:lnTo>
                      <a:pt x="498" y="483"/>
                    </a:lnTo>
                    <a:lnTo>
                      <a:pt x="513" y="483"/>
                    </a:lnTo>
                    <a:lnTo>
                      <a:pt x="527" y="493"/>
                    </a:lnTo>
                    <a:lnTo>
                      <a:pt x="544" y="470"/>
                    </a:lnTo>
                    <a:lnTo>
                      <a:pt x="558" y="477"/>
                    </a:lnTo>
                    <a:lnTo>
                      <a:pt x="544" y="508"/>
                    </a:lnTo>
                    <a:lnTo>
                      <a:pt x="554" y="550"/>
                    </a:lnTo>
                    <a:lnTo>
                      <a:pt x="584" y="575"/>
                    </a:lnTo>
                    <a:lnTo>
                      <a:pt x="584" y="581"/>
                    </a:lnTo>
                    <a:lnTo>
                      <a:pt x="575" y="602"/>
                    </a:lnTo>
                    <a:lnTo>
                      <a:pt x="577" y="611"/>
                    </a:lnTo>
                    <a:lnTo>
                      <a:pt x="621" y="629"/>
                    </a:lnTo>
                    <a:lnTo>
                      <a:pt x="632" y="656"/>
                    </a:lnTo>
                    <a:lnTo>
                      <a:pt x="671" y="639"/>
                    </a:lnTo>
                    <a:lnTo>
                      <a:pt x="717" y="629"/>
                    </a:lnTo>
                    <a:lnTo>
                      <a:pt x="750" y="708"/>
                    </a:lnTo>
                    <a:lnTo>
                      <a:pt x="763" y="745"/>
                    </a:lnTo>
                    <a:lnTo>
                      <a:pt x="751" y="754"/>
                    </a:lnTo>
                    <a:lnTo>
                      <a:pt x="746" y="768"/>
                    </a:lnTo>
                    <a:lnTo>
                      <a:pt x="779" y="779"/>
                    </a:lnTo>
                    <a:lnTo>
                      <a:pt x="789" y="795"/>
                    </a:lnTo>
                    <a:lnTo>
                      <a:pt x="835" y="779"/>
                    </a:lnTo>
                    <a:lnTo>
                      <a:pt x="848" y="795"/>
                    </a:lnTo>
                    <a:lnTo>
                      <a:pt x="882" y="776"/>
                    </a:lnTo>
                    <a:lnTo>
                      <a:pt x="904" y="771"/>
                    </a:lnTo>
                    <a:lnTo>
                      <a:pt x="930" y="777"/>
                    </a:lnTo>
                    <a:lnTo>
                      <a:pt x="989" y="777"/>
                    </a:lnTo>
                    <a:lnTo>
                      <a:pt x="977" y="764"/>
                    </a:lnTo>
                    <a:lnTo>
                      <a:pt x="977" y="741"/>
                    </a:lnTo>
                    <a:lnTo>
                      <a:pt x="984" y="726"/>
                    </a:lnTo>
                    <a:lnTo>
                      <a:pt x="984" y="714"/>
                    </a:lnTo>
                    <a:lnTo>
                      <a:pt x="967" y="702"/>
                    </a:lnTo>
                    <a:lnTo>
                      <a:pt x="1004" y="698"/>
                    </a:lnTo>
                    <a:lnTo>
                      <a:pt x="1039" y="702"/>
                    </a:lnTo>
                    <a:lnTo>
                      <a:pt x="1047" y="714"/>
                    </a:lnTo>
                    <a:lnTo>
                      <a:pt x="1071" y="708"/>
                    </a:lnTo>
                    <a:lnTo>
                      <a:pt x="1055" y="673"/>
                    </a:lnTo>
                    <a:lnTo>
                      <a:pt x="1073" y="669"/>
                    </a:lnTo>
                    <a:lnTo>
                      <a:pt x="1166" y="683"/>
                    </a:lnTo>
                    <a:lnTo>
                      <a:pt x="1241" y="691"/>
                    </a:lnTo>
                    <a:lnTo>
                      <a:pt x="1297" y="719"/>
                    </a:lnTo>
                    <a:lnTo>
                      <a:pt x="1327" y="719"/>
                    </a:lnTo>
                    <a:lnTo>
                      <a:pt x="1336" y="753"/>
                    </a:lnTo>
                    <a:lnTo>
                      <a:pt x="1358" y="683"/>
                    </a:lnTo>
                    <a:lnTo>
                      <a:pt x="1327" y="607"/>
                    </a:lnTo>
                    <a:lnTo>
                      <a:pt x="1422" y="581"/>
                    </a:lnTo>
                    <a:lnTo>
                      <a:pt x="1436" y="539"/>
                    </a:lnTo>
                    <a:lnTo>
                      <a:pt x="1448" y="477"/>
                    </a:lnTo>
                    <a:lnTo>
                      <a:pt x="1545" y="483"/>
                    </a:lnTo>
                    <a:lnTo>
                      <a:pt x="1561" y="40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3" name="Freeform 492"/>
              <p:cNvSpPr/>
              <p:nvPr/>
            </p:nvSpPr>
            <p:spPr bwMode="auto">
              <a:xfrm>
                <a:off x="2347" y="2454"/>
                <a:ext cx="200" cy="141"/>
              </a:xfrm>
              <a:custGeom>
                <a:avLst/>
                <a:gdLst>
                  <a:gd name="T0" fmla="*/ 1 w 697"/>
                  <a:gd name="T1" fmla="*/ 5 h 492"/>
                  <a:gd name="T2" fmla="*/ 2 w 697"/>
                  <a:gd name="T3" fmla="*/ 4 h 492"/>
                  <a:gd name="T4" fmla="*/ 2 w 697"/>
                  <a:gd name="T5" fmla="*/ 4 h 492"/>
                  <a:gd name="T6" fmla="*/ 3 w 697"/>
                  <a:gd name="T7" fmla="*/ 4 h 492"/>
                  <a:gd name="T8" fmla="*/ 4 w 697"/>
                  <a:gd name="T9" fmla="*/ 4 h 492"/>
                  <a:gd name="T10" fmla="*/ 4 w 697"/>
                  <a:gd name="T11" fmla="*/ 5 h 492"/>
                  <a:gd name="T12" fmla="*/ 4 w 697"/>
                  <a:gd name="T13" fmla="*/ 5 h 492"/>
                  <a:gd name="T14" fmla="*/ 5 w 697"/>
                  <a:gd name="T15" fmla="*/ 7 h 492"/>
                  <a:gd name="T16" fmla="*/ 5 w 697"/>
                  <a:gd name="T17" fmla="*/ 6 h 492"/>
                  <a:gd name="T18" fmla="*/ 6 w 697"/>
                  <a:gd name="T19" fmla="*/ 7 h 492"/>
                  <a:gd name="T20" fmla="*/ 8 w 697"/>
                  <a:gd name="T21" fmla="*/ 8 h 492"/>
                  <a:gd name="T22" fmla="*/ 9 w 697"/>
                  <a:gd name="T23" fmla="*/ 9 h 492"/>
                  <a:gd name="T24" fmla="*/ 10 w 697"/>
                  <a:gd name="T25" fmla="*/ 10 h 492"/>
                  <a:gd name="T26" fmla="*/ 11 w 697"/>
                  <a:gd name="T27" fmla="*/ 11 h 492"/>
                  <a:gd name="T28" fmla="*/ 12 w 697"/>
                  <a:gd name="T29" fmla="*/ 10 h 492"/>
                  <a:gd name="T30" fmla="*/ 12 w 697"/>
                  <a:gd name="T31" fmla="*/ 9 h 492"/>
                  <a:gd name="T32" fmla="*/ 11 w 697"/>
                  <a:gd name="T33" fmla="*/ 7 h 492"/>
                  <a:gd name="T34" fmla="*/ 12 w 697"/>
                  <a:gd name="T35" fmla="*/ 7 h 492"/>
                  <a:gd name="T36" fmla="*/ 14 w 697"/>
                  <a:gd name="T37" fmla="*/ 7 h 492"/>
                  <a:gd name="T38" fmla="*/ 16 w 697"/>
                  <a:gd name="T39" fmla="*/ 7 h 492"/>
                  <a:gd name="T40" fmla="*/ 16 w 697"/>
                  <a:gd name="T41" fmla="*/ 6 h 492"/>
                  <a:gd name="T42" fmla="*/ 13 w 697"/>
                  <a:gd name="T43" fmla="*/ 6 h 492"/>
                  <a:gd name="T44" fmla="*/ 12 w 697"/>
                  <a:gd name="T45" fmla="*/ 6 h 492"/>
                  <a:gd name="T46" fmla="*/ 11 w 697"/>
                  <a:gd name="T47" fmla="*/ 7 h 492"/>
                  <a:gd name="T48" fmla="*/ 10 w 697"/>
                  <a:gd name="T49" fmla="*/ 6 h 492"/>
                  <a:gd name="T50" fmla="*/ 9 w 697"/>
                  <a:gd name="T51" fmla="*/ 7 h 492"/>
                  <a:gd name="T52" fmla="*/ 9 w 697"/>
                  <a:gd name="T53" fmla="*/ 6 h 492"/>
                  <a:gd name="T54" fmla="*/ 9 w 697"/>
                  <a:gd name="T55" fmla="*/ 5 h 492"/>
                  <a:gd name="T56" fmla="*/ 9 w 697"/>
                  <a:gd name="T57" fmla="*/ 4 h 492"/>
                  <a:gd name="T58" fmla="*/ 6 w 697"/>
                  <a:gd name="T59" fmla="*/ 3 h 492"/>
                  <a:gd name="T60" fmla="*/ 5 w 697"/>
                  <a:gd name="T61" fmla="*/ 2 h 492"/>
                  <a:gd name="T62" fmla="*/ 3 w 697"/>
                  <a:gd name="T63" fmla="*/ 3 h 492"/>
                  <a:gd name="T64" fmla="*/ 2 w 697"/>
                  <a:gd name="T65" fmla="*/ 1 h 492"/>
                  <a:gd name="T66" fmla="*/ 2 w 697"/>
                  <a:gd name="T67" fmla="*/ 0 h 492"/>
                  <a:gd name="T68" fmla="*/ 1 w 697"/>
                  <a:gd name="T69" fmla="*/ 5 h 4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97"/>
                  <a:gd name="T106" fmla="*/ 0 h 492"/>
                  <a:gd name="T107" fmla="*/ 697 w 697"/>
                  <a:gd name="T108" fmla="*/ 492 h 4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97" h="492">
                    <a:moveTo>
                      <a:pt x="49" y="226"/>
                    </a:moveTo>
                    <a:lnTo>
                      <a:pt x="65" y="221"/>
                    </a:lnTo>
                    <a:lnTo>
                      <a:pt x="72" y="202"/>
                    </a:lnTo>
                    <a:lnTo>
                      <a:pt x="81" y="184"/>
                    </a:lnTo>
                    <a:lnTo>
                      <a:pt x="98" y="193"/>
                    </a:lnTo>
                    <a:lnTo>
                      <a:pt x="94" y="168"/>
                    </a:lnTo>
                    <a:lnTo>
                      <a:pt x="112" y="158"/>
                    </a:lnTo>
                    <a:lnTo>
                      <a:pt x="124" y="176"/>
                    </a:lnTo>
                    <a:lnTo>
                      <a:pt x="141" y="176"/>
                    </a:lnTo>
                    <a:lnTo>
                      <a:pt x="158" y="187"/>
                    </a:lnTo>
                    <a:lnTo>
                      <a:pt x="168" y="193"/>
                    </a:lnTo>
                    <a:lnTo>
                      <a:pt x="168" y="199"/>
                    </a:lnTo>
                    <a:lnTo>
                      <a:pt x="169" y="214"/>
                    </a:lnTo>
                    <a:lnTo>
                      <a:pt x="189" y="221"/>
                    </a:lnTo>
                    <a:lnTo>
                      <a:pt x="189" y="244"/>
                    </a:lnTo>
                    <a:lnTo>
                      <a:pt x="205" y="276"/>
                    </a:lnTo>
                    <a:lnTo>
                      <a:pt x="225" y="280"/>
                    </a:lnTo>
                    <a:lnTo>
                      <a:pt x="230" y="272"/>
                    </a:lnTo>
                    <a:lnTo>
                      <a:pt x="251" y="258"/>
                    </a:lnTo>
                    <a:lnTo>
                      <a:pt x="270" y="276"/>
                    </a:lnTo>
                    <a:lnTo>
                      <a:pt x="290" y="306"/>
                    </a:lnTo>
                    <a:lnTo>
                      <a:pt x="325" y="344"/>
                    </a:lnTo>
                    <a:lnTo>
                      <a:pt x="383" y="360"/>
                    </a:lnTo>
                    <a:lnTo>
                      <a:pt x="386" y="384"/>
                    </a:lnTo>
                    <a:lnTo>
                      <a:pt x="423" y="400"/>
                    </a:lnTo>
                    <a:lnTo>
                      <a:pt x="440" y="425"/>
                    </a:lnTo>
                    <a:lnTo>
                      <a:pt x="427" y="491"/>
                    </a:lnTo>
                    <a:lnTo>
                      <a:pt x="459" y="492"/>
                    </a:lnTo>
                    <a:lnTo>
                      <a:pt x="485" y="457"/>
                    </a:lnTo>
                    <a:lnTo>
                      <a:pt x="498" y="440"/>
                    </a:lnTo>
                    <a:lnTo>
                      <a:pt x="507" y="421"/>
                    </a:lnTo>
                    <a:lnTo>
                      <a:pt x="501" y="387"/>
                    </a:lnTo>
                    <a:lnTo>
                      <a:pt x="473" y="373"/>
                    </a:lnTo>
                    <a:lnTo>
                      <a:pt x="481" y="314"/>
                    </a:lnTo>
                    <a:lnTo>
                      <a:pt x="505" y="290"/>
                    </a:lnTo>
                    <a:lnTo>
                      <a:pt x="527" y="298"/>
                    </a:lnTo>
                    <a:lnTo>
                      <a:pt x="579" y="287"/>
                    </a:lnTo>
                    <a:lnTo>
                      <a:pt x="586" y="311"/>
                    </a:lnTo>
                    <a:lnTo>
                      <a:pt x="614" y="310"/>
                    </a:lnTo>
                    <a:lnTo>
                      <a:pt x="680" y="306"/>
                    </a:lnTo>
                    <a:lnTo>
                      <a:pt x="697" y="276"/>
                    </a:lnTo>
                    <a:lnTo>
                      <a:pt x="680" y="261"/>
                    </a:lnTo>
                    <a:lnTo>
                      <a:pt x="637" y="261"/>
                    </a:lnTo>
                    <a:lnTo>
                      <a:pt x="566" y="261"/>
                    </a:lnTo>
                    <a:lnTo>
                      <a:pt x="538" y="261"/>
                    </a:lnTo>
                    <a:lnTo>
                      <a:pt x="510" y="256"/>
                    </a:lnTo>
                    <a:lnTo>
                      <a:pt x="462" y="280"/>
                    </a:lnTo>
                    <a:lnTo>
                      <a:pt x="457" y="276"/>
                    </a:lnTo>
                    <a:lnTo>
                      <a:pt x="449" y="264"/>
                    </a:lnTo>
                    <a:lnTo>
                      <a:pt x="426" y="272"/>
                    </a:lnTo>
                    <a:lnTo>
                      <a:pt x="403" y="280"/>
                    </a:lnTo>
                    <a:lnTo>
                      <a:pt x="398" y="275"/>
                    </a:lnTo>
                    <a:lnTo>
                      <a:pt x="394" y="264"/>
                    </a:lnTo>
                    <a:lnTo>
                      <a:pt x="365" y="256"/>
                    </a:lnTo>
                    <a:lnTo>
                      <a:pt x="360" y="253"/>
                    </a:lnTo>
                    <a:lnTo>
                      <a:pt x="364" y="239"/>
                    </a:lnTo>
                    <a:lnTo>
                      <a:pt x="378" y="230"/>
                    </a:lnTo>
                    <a:lnTo>
                      <a:pt x="360" y="183"/>
                    </a:lnTo>
                    <a:lnTo>
                      <a:pt x="331" y="114"/>
                    </a:lnTo>
                    <a:lnTo>
                      <a:pt x="247" y="137"/>
                    </a:lnTo>
                    <a:lnTo>
                      <a:pt x="230" y="114"/>
                    </a:lnTo>
                    <a:lnTo>
                      <a:pt x="191" y="96"/>
                    </a:lnTo>
                    <a:lnTo>
                      <a:pt x="158" y="123"/>
                    </a:lnTo>
                    <a:lnTo>
                      <a:pt x="126" y="116"/>
                    </a:lnTo>
                    <a:lnTo>
                      <a:pt x="89" y="87"/>
                    </a:lnTo>
                    <a:lnTo>
                      <a:pt x="83" y="51"/>
                    </a:lnTo>
                    <a:lnTo>
                      <a:pt x="85" y="26"/>
                    </a:lnTo>
                    <a:lnTo>
                      <a:pt x="83" y="0"/>
                    </a:lnTo>
                    <a:lnTo>
                      <a:pt x="0" y="51"/>
                    </a:lnTo>
                    <a:lnTo>
                      <a:pt x="49" y="22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4" name="Freeform 493"/>
              <p:cNvSpPr/>
              <p:nvPr/>
            </p:nvSpPr>
            <p:spPr bwMode="auto">
              <a:xfrm>
                <a:off x="2322" y="2500"/>
                <a:ext cx="152" cy="123"/>
              </a:xfrm>
              <a:custGeom>
                <a:avLst/>
                <a:gdLst>
                  <a:gd name="T0" fmla="*/ 0 w 534"/>
                  <a:gd name="T1" fmla="*/ 1 h 433"/>
                  <a:gd name="T2" fmla="*/ 0 w 534"/>
                  <a:gd name="T3" fmla="*/ 3 h 433"/>
                  <a:gd name="T4" fmla="*/ 1 w 534"/>
                  <a:gd name="T5" fmla="*/ 2 h 433"/>
                  <a:gd name="T6" fmla="*/ 2 w 534"/>
                  <a:gd name="T7" fmla="*/ 3 h 433"/>
                  <a:gd name="T8" fmla="*/ 1 w 534"/>
                  <a:gd name="T9" fmla="*/ 3 h 433"/>
                  <a:gd name="T10" fmla="*/ 0 w 534"/>
                  <a:gd name="T11" fmla="*/ 3 h 433"/>
                  <a:gd name="T12" fmla="*/ 0 w 534"/>
                  <a:gd name="T13" fmla="*/ 4 h 433"/>
                  <a:gd name="T14" fmla="*/ 0 w 534"/>
                  <a:gd name="T15" fmla="*/ 4 h 433"/>
                  <a:gd name="T16" fmla="*/ 1 w 534"/>
                  <a:gd name="T17" fmla="*/ 5 h 433"/>
                  <a:gd name="T18" fmla="*/ 1 w 534"/>
                  <a:gd name="T19" fmla="*/ 5 h 433"/>
                  <a:gd name="T20" fmla="*/ 1 w 534"/>
                  <a:gd name="T21" fmla="*/ 5 h 433"/>
                  <a:gd name="T22" fmla="*/ 1 w 534"/>
                  <a:gd name="T23" fmla="*/ 7 h 433"/>
                  <a:gd name="T24" fmla="*/ 3 w 534"/>
                  <a:gd name="T25" fmla="*/ 7 h 433"/>
                  <a:gd name="T26" fmla="*/ 4 w 534"/>
                  <a:gd name="T27" fmla="*/ 6 h 433"/>
                  <a:gd name="T28" fmla="*/ 6 w 534"/>
                  <a:gd name="T29" fmla="*/ 7 h 433"/>
                  <a:gd name="T30" fmla="*/ 7 w 534"/>
                  <a:gd name="T31" fmla="*/ 8 h 433"/>
                  <a:gd name="T32" fmla="*/ 7 w 534"/>
                  <a:gd name="T33" fmla="*/ 9 h 433"/>
                  <a:gd name="T34" fmla="*/ 7 w 534"/>
                  <a:gd name="T35" fmla="*/ 9 h 433"/>
                  <a:gd name="T36" fmla="*/ 9 w 534"/>
                  <a:gd name="T37" fmla="*/ 10 h 433"/>
                  <a:gd name="T38" fmla="*/ 11 w 534"/>
                  <a:gd name="T39" fmla="*/ 7 h 433"/>
                  <a:gd name="T40" fmla="*/ 12 w 534"/>
                  <a:gd name="T41" fmla="*/ 7 h 433"/>
                  <a:gd name="T42" fmla="*/ 12 w 534"/>
                  <a:gd name="T43" fmla="*/ 7 h 433"/>
                  <a:gd name="T44" fmla="*/ 12 w 534"/>
                  <a:gd name="T45" fmla="*/ 6 h 433"/>
                  <a:gd name="T46" fmla="*/ 12 w 534"/>
                  <a:gd name="T47" fmla="*/ 5 h 433"/>
                  <a:gd name="T48" fmla="*/ 11 w 534"/>
                  <a:gd name="T49" fmla="*/ 5 h 433"/>
                  <a:gd name="T50" fmla="*/ 11 w 534"/>
                  <a:gd name="T51" fmla="*/ 5 h 433"/>
                  <a:gd name="T52" fmla="*/ 10 w 534"/>
                  <a:gd name="T53" fmla="*/ 4 h 433"/>
                  <a:gd name="T54" fmla="*/ 9 w 534"/>
                  <a:gd name="T55" fmla="*/ 3 h 433"/>
                  <a:gd name="T56" fmla="*/ 9 w 534"/>
                  <a:gd name="T57" fmla="*/ 3 h 433"/>
                  <a:gd name="T58" fmla="*/ 8 w 534"/>
                  <a:gd name="T59" fmla="*/ 2 h 433"/>
                  <a:gd name="T60" fmla="*/ 7 w 534"/>
                  <a:gd name="T61" fmla="*/ 3 h 433"/>
                  <a:gd name="T62" fmla="*/ 7 w 534"/>
                  <a:gd name="T63" fmla="*/ 3 h 433"/>
                  <a:gd name="T64" fmla="*/ 7 w 534"/>
                  <a:gd name="T65" fmla="*/ 3 h 433"/>
                  <a:gd name="T66" fmla="*/ 7 w 534"/>
                  <a:gd name="T67" fmla="*/ 2 h 433"/>
                  <a:gd name="T68" fmla="*/ 7 w 534"/>
                  <a:gd name="T69" fmla="*/ 1 h 433"/>
                  <a:gd name="T70" fmla="*/ 6 w 534"/>
                  <a:gd name="T71" fmla="*/ 1 h 433"/>
                  <a:gd name="T72" fmla="*/ 6 w 534"/>
                  <a:gd name="T73" fmla="*/ 1 h 433"/>
                  <a:gd name="T74" fmla="*/ 5 w 534"/>
                  <a:gd name="T75" fmla="*/ 0 h 433"/>
                  <a:gd name="T76" fmla="*/ 5 w 534"/>
                  <a:gd name="T77" fmla="*/ 0 h 433"/>
                  <a:gd name="T78" fmla="*/ 5 w 534"/>
                  <a:gd name="T79" fmla="*/ 0 h 433"/>
                  <a:gd name="T80" fmla="*/ 4 w 534"/>
                  <a:gd name="T81" fmla="*/ 0 h 433"/>
                  <a:gd name="T82" fmla="*/ 5 w 534"/>
                  <a:gd name="T83" fmla="*/ 1 h 433"/>
                  <a:gd name="T84" fmla="*/ 4 w 534"/>
                  <a:gd name="T85" fmla="*/ 1 h 433"/>
                  <a:gd name="T86" fmla="*/ 4 w 534"/>
                  <a:gd name="T87" fmla="*/ 1 h 433"/>
                  <a:gd name="T88" fmla="*/ 4 w 534"/>
                  <a:gd name="T89" fmla="*/ 1 h 433"/>
                  <a:gd name="T90" fmla="*/ 3 w 534"/>
                  <a:gd name="T91" fmla="*/ 1 h 433"/>
                  <a:gd name="T92" fmla="*/ 3 w 534"/>
                  <a:gd name="T93" fmla="*/ 1 h 433"/>
                  <a:gd name="T94" fmla="*/ 2 w 534"/>
                  <a:gd name="T95" fmla="*/ 2 h 433"/>
                  <a:gd name="T96" fmla="*/ 2 w 534"/>
                  <a:gd name="T97" fmla="*/ 1 h 433"/>
                  <a:gd name="T98" fmla="*/ 1 w 534"/>
                  <a:gd name="T99" fmla="*/ 1 h 433"/>
                  <a:gd name="T100" fmla="*/ 0 w 534"/>
                  <a:gd name="T101" fmla="*/ 1 h 4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4"/>
                  <a:gd name="T154" fmla="*/ 0 h 433"/>
                  <a:gd name="T155" fmla="*/ 534 w 534"/>
                  <a:gd name="T156" fmla="*/ 433 h 43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4" h="433">
                    <a:moveTo>
                      <a:pt x="0" y="63"/>
                    </a:moveTo>
                    <a:lnTo>
                      <a:pt x="4" y="118"/>
                    </a:lnTo>
                    <a:lnTo>
                      <a:pt x="32" y="86"/>
                    </a:lnTo>
                    <a:lnTo>
                      <a:pt x="72" y="129"/>
                    </a:lnTo>
                    <a:lnTo>
                      <a:pt x="53" y="156"/>
                    </a:lnTo>
                    <a:lnTo>
                      <a:pt x="7" y="130"/>
                    </a:lnTo>
                    <a:lnTo>
                      <a:pt x="1" y="168"/>
                    </a:lnTo>
                    <a:lnTo>
                      <a:pt x="7" y="191"/>
                    </a:lnTo>
                    <a:lnTo>
                      <a:pt x="32" y="196"/>
                    </a:lnTo>
                    <a:lnTo>
                      <a:pt x="22" y="221"/>
                    </a:lnTo>
                    <a:lnTo>
                      <a:pt x="41" y="238"/>
                    </a:lnTo>
                    <a:lnTo>
                      <a:pt x="41" y="314"/>
                    </a:lnTo>
                    <a:lnTo>
                      <a:pt x="115" y="292"/>
                    </a:lnTo>
                    <a:lnTo>
                      <a:pt x="157" y="269"/>
                    </a:lnTo>
                    <a:lnTo>
                      <a:pt x="250" y="320"/>
                    </a:lnTo>
                    <a:lnTo>
                      <a:pt x="311" y="352"/>
                    </a:lnTo>
                    <a:lnTo>
                      <a:pt x="322" y="366"/>
                    </a:lnTo>
                    <a:lnTo>
                      <a:pt x="328" y="405"/>
                    </a:lnTo>
                    <a:lnTo>
                      <a:pt x="382" y="433"/>
                    </a:lnTo>
                    <a:lnTo>
                      <a:pt x="466" y="329"/>
                    </a:lnTo>
                    <a:lnTo>
                      <a:pt x="519" y="329"/>
                    </a:lnTo>
                    <a:lnTo>
                      <a:pt x="528" y="286"/>
                    </a:lnTo>
                    <a:lnTo>
                      <a:pt x="534" y="268"/>
                    </a:lnTo>
                    <a:lnTo>
                      <a:pt x="517" y="240"/>
                    </a:lnTo>
                    <a:lnTo>
                      <a:pt x="478" y="223"/>
                    </a:lnTo>
                    <a:lnTo>
                      <a:pt x="472" y="202"/>
                    </a:lnTo>
                    <a:lnTo>
                      <a:pt x="417" y="186"/>
                    </a:lnTo>
                    <a:lnTo>
                      <a:pt x="382" y="148"/>
                    </a:lnTo>
                    <a:lnTo>
                      <a:pt x="371" y="122"/>
                    </a:lnTo>
                    <a:lnTo>
                      <a:pt x="343" y="98"/>
                    </a:lnTo>
                    <a:lnTo>
                      <a:pt x="327" y="113"/>
                    </a:lnTo>
                    <a:lnTo>
                      <a:pt x="317" y="122"/>
                    </a:lnTo>
                    <a:lnTo>
                      <a:pt x="297" y="118"/>
                    </a:lnTo>
                    <a:lnTo>
                      <a:pt x="281" y="86"/>
                    </a:lnTo>
                    <a:lnTo>
                      <a:pt x="281" y="63"/>
                    </a:lnTo>
                    <a:lnTo>
                      <a:pt x="261" y="56"/>
                    </a:lnTo>
                    <a:lnTo>
                      <a:pt x="256" y="35"/>
                    </a:lnTo>
                    <a:lnTo>
                      <a:pt x="233" y="18"/>
                    </a:lnTo>
                    <a:lnTo>
                      <a:pt x="216" y="18"/>
                    </a:lnTo>
                    <a:lnTo>
                      <a:pt x="204" y="0"/>
                    </a:lnTo>
                    <a:lnTo>
                      <a:pt x="186" y="10"/>
                    </a:lnTo>
                    <a:lnTo>
                      <a:pt x="192" y="35"/>
                    </a:lnTo>
                    <a:lnTo>
                      <a:pt x="182" y="31"/>
                    </a:lnTo>
                    <a:lnTo>
                      <a:pt x="173" y="26"/>
                    </a:lnTo>
                    <a:lnTo>
                      <a:pt x="157" y="63"/>
                    </a:lnTo>
                    <a:lnTo>
                      <a:pt x="136" y="68"/>
                    </a:lnTo>
                    <a:lnTo>
                      <a:pt x="115" y="61"/>
                    </a:lnTo>
                    <a:lnTo>
                      <a:pt x="101" y="80"/>
                    </a:lnTo>
                    <a:lnTo>
                      <a:pt x="84" y="63"/>
                    </a:lnTo>
                    <a:lnTo>
                      <a:pt x="57" y="46"/>
                    </a:lnTo>
                    <a:lnTo>
                      <a:pt x="0" y="6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5" name="Freeform 494"/>
              <p:cNvSpPr/>
              <p:nvPr/>
            </p:nvSpPr>
            <p:spPr bwMode="auto">
              <a:xfrm>
                <a:off x="2492" y="2499"/>
                <a:ext cx="127" cy="62"/>
              </a:xfrm>
              <a:custGeom>
                <a:avLst/>
                <a:gdLst>
                  <a:gd name="T0" fmla="*/ 3 w 444"/>
                  <a:gd name="T1" fmla="*/ 3 h 219"/>
                  <a:gd name="T2" fmla="*/ 2 w 444"/>
                  <a:gd name="T3" fmla="*/ 3 h 219"/>
                  <a:gd name="T4" fmla="*/ 0 w 444"/>
                  <a:gd name="T5" fmla="*/ 4 h 219"/>
                  <a:gd name="T6" fmla="*/ 0 w 444"/>
                  <a:gd name="T7" fmla="*/ 4 h 219"/>
                  <a:gd name="T8" fmla="*/ 0 w 444"/>
                  <a:gd name="T9" fmla="*/ 5 h 219"/>
                  <a:gd name="T10" fmla="*/ 1 w 444"/>
                  <a:gd name="T11" fmla="*/ 5 h 219"/>
                  <a:gd name="T12" fmla="*/ 3 w 444"/>
                  <a:gd name="T13" fmla="*/ 5 h 219"/>
                  <a:gd name="T14" fmla="*/ 4 w 444"/>
                  <a:gd name="T15" fmla="*/ 5 h 219"/>
                  <a:gd name="T16" fmla="*/ 5 w 444"/>
                  <a:gd name="T17" fmla="*/ 5 h 219"/>
                  <a:gd name="T18" fmla="*/ 5 w 444"/>
                  <a:gd name="T19" fmla="*/ 4 h 219"/>
                  <a:gd name="T20" fmla="*/ 6 w 444"/>
                  <a:gd name="T21" fmla="*/ 4 h 219"/>
                  <a:gd name="T22" fmla="*/ 7 w 444"/>
                  <a:gd name="T23" fmla="*/ 4 h 219"/>
                  <a:gd name="T24" fmla="*/ 7 w 444"/>
                  <a:gd name="T25" fmla="*/ 4 h 219"/>
                  <a:gd name="T26" fmla="*/ 9 w 444"/>
                  <a:gd name="T27" fmla="*/ 3 h 219"/>
                  <a:gd name="T28" fmla="*/ 10 w 444"/>
                  <a:gd name="T29" fmla="*/ 2 h 219"/>
                  <a:gd name="T30" fmla="*/ 10 w 444"/>
                  <a:gd name="T31" fmla="*/ 2 h 219"/>
                  <a:gd name="T32" fmla="*/ 10 w 444"/>
                  <a:gd name="T33" fmla="*/ 1 h 219"/>
                  <a:gd name="T34" fmla="*/ 9 w 444"/>
                  <a:gd name="T35" fmla="*/ 1 h 219"/>
                  <a:gd name="T36" fmla="*/ 9 w 444"/>
                  <a:gd name="T37" fmla="*/ 1 h 219"/>
                  <a:gd name="T38" fmla="*/ 8 w 444"/>
                  <a:gd name="T39" fmla="*/ 1 h 219"/>
                  <a:gd name="T40" fmla="*/ 7 w 444"/>
                  <a:gd name="T41" fmla="*/ 0 h 219"/>
                  <a:gd name="T42" fmla="*/ 4 w 444"/>
                  <a:gd name="T43" fmla="*/ 0 h 219"/>
                  <a:gd name="T44" fmla="*/ 4 w 444"/>
                  <a:gd name="T45" fmla="*/ 0 h 219"/>
                  <a:gd name="T46" fmla="*/ 4 w 444"/>
                  <a:gd name="T47" fmla="*/ 1 h 219"/>
                  <a:gd name="T48" fmla="*/ 4 w 444"/>
                  <a:gd name="T49" fmla="*/ 1 h 219"/>
                  <a:gd name="T50" fmla="*/ 4 w 444"/>
                  <a:gd name="T51" fmla="*/ 1 h 219"/>
                  <a:gd name="T52" fmla="*/ 3 w 444"/>
                  <a:gd name="T53" fmla="*/ 1 h 219"/>
                  <a:gd name="T54" fmla="*/ 3 w 444"/>
                  <a:gd name="T55" fmla="*/ 1 h 219"/>
                  <a:gd name="T56" fmla="*/ 2 w 444"/>
                  <a:gd name="T57" fmla="*/ 1 h 219"/>
                  <a:gd name="T58" fmla="*/ 2 w 444"/>
                  <a:gd name="T59" fmla="*/ 1 h 219"/>
                  <a:gd name="T60" fmla="*/ 2 w 444"/>
                  <a:gd name="T61" fmla="*/ 1 h 219"/>
                  <a:gd name="T62" fmla="*/ 2 w 444"/>
                  <a:gd name="T63" fmla="*/ 2 h 219"/>
                  <a:gd name="T64" fmla="*/ 2 w 444"/>
                  <a:gd name="T65" fmla="*/ 2 h 219"/>
                  <a:gd name="T66" fmla="*/ 2 w 444"/>
                  <a:gd name="T67" fmla="*/ 3 h 219"/>
                  <a:gd name="T68" fmla="*/ 4 w 444"/>
                  <a:gd name="T69" fmla="*/ 3 h 219"/>
                  <a:gd name="T70" fmla="*/ 4 w 444"/>
                  <a:gd name="T71" fmla="*/ 2 h 219"/>
                  <a:gd name="T72" fmla="*/ 5 w 444"/>
                  <a:gd name="T73" fmla="*/ 3 h 219"/>
                  <a:gd name="T74" fmla="*/ 4 w 444"/>
                  <a:gd name="T75" fmla="*/ 3 h 219"/>
                  <a:gd name="T76" fmla="*/ 4 w 444"/>
                  <a:gd name="T77" fmla="*/ 3 h 219"/>
                  <a:gd name="T78" fmla="*/ 3 w 444"/>
                  <a:gd name="T79" fmla="*/ 3 h 219"/>
                  <a:gd name="T80" fmla="*/ 3 w 444"/>
                  <a:gd name="T81" fmla="*/ 3 h 219"/>
                  <a:gd name="T82" fmla="*/ 3 w 444"/>
                  <a:gd name="T83" fmla="*/ 3 h 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44"/>
                  <a:gd name="T127" fmla="*/ 0 h 219"/>
                  <a:gd name="T128" fmla="*/ 444 w 444"/>
                  <a:gd name="T129" fmla="*/ 219 h 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44" h="219">
                    <a:moveTo>
                      <a:pt x="113" y="156"/>
                    </a:moveTo>
                    <a:lnTo>
                      <a:pt x="81" y="156"/>
                    </a:lnTo>
                    <a:lnTo>
                      <a:pt x="16" y="165"/>
                    </a:lnTo>
                    <a:lnTo>
                      <a:pt x="0" y="190"/>
                    </a:lnTo>
                    <a:lnTo>
                      <a:pt x="16" y="200"/>
                    </a:lnTo>
                    <a:lnTo>
                      <a:pt x="29" y="207"/>
                    </a:lnTo>
                    <a:lnTo>
                      <a:pt x="118" y="206"/>
                    </a:lnTo>
                    <a:lnTo>
                      <a:pt x="179" y="206"/>
                    </a:lnTo>
                    <a:lnTo>
                      <a:pt x="207" y="219"/>
                    </a:lnTo>
                    <a:lnTo>
                      <a:pt x="216" y="192"/>
                    </a:lnTo>
                    <a:lnTo>
                      <a:pt x="242" y="190"/>
                    </a:lnTo>
                    <a:lnTo>
                      <a:pt x="278" y="180"/>
                    </a:lnTo>
                    <a:lnTo>
                      <a:pt x="309" y="172"/>
                    </a:lnTo>
                    <a:lnTo>
                      <a:pt x="363" y="136"/>
                    </a:lnTo>
                    <a:lnTo>
                      <a:pt x="423" y="102"/>
                    </a:lnTo>
                    <a:lnTo>
                      <a:pt x="444" y="84"/>
                    </a:lnTo>
                    <a:lnTo>
                      <a:pt x="436" y="50"/>
                    </a:lnTo>
                    <a:lnTo>
                      <a:pt x="406" y="50"/>
                    </a:lnTo>
                    <a:lnTo>
                      <a:pt x="382" y="35"/>
                    </a:lnTo>
                    <a:lnTo>
                      <a:pt x="349" y="22"/>
                    </a:lnTo>
                    <a:lnTo>
                      <a:pt x="275" y="14"/>
                    </a:lnTo>
                    <a:lnTo>
                      <a:pt x="182" y="0"/>
                    </a:lnTo>
                    <a:lnTo>
                      <a:pt x="165" y="4"/>
                    </a:lnTo>
                    <a:lnTo>
                      <a:pt x="171" y="22"/>
                    </a:lnTo>
                    <a:lnTo>
                      <a:pt x="180" y="39"/>
                    </a:lnTo>
                    <a:lnTo>
                      <a:pt x="156" y="45"/>
                    </a:lnTo>
                    <a:lnTo>
                      <a:pt x="148" y="33"/>
                    </a:lnTo>
                    <a:lnTo>
                      <a:pt x="117" y="29"/>
                    </a:lnTo>
                    <a:lnTo>
                      <a:pt x="76" y="33"/>
                    </a:lnTo>
                    <a:lnTo>
                      <a:pt x="93" y="45"/>
                    </a:lnTo>
                    <a:lnTo>
                      <a:pt x="93" y="57"/>
                    </a:lnTo>
                    <a:lnTo>
                      <a:pt x="86" y="72"/>
                    </a:lnTo>
                    <a:lnTo>
                      <a:pt x="86" y="95"/>
                    </a:lnTo>
                    <a:lnTo>
                      <a:pt x="98" y="108"/>
                    </a:lnTo>
                    <a:lnTo>
                      <a:pt x="156" y="108"/>
                    </a:lnTo>
                    <a:lnTo>
                      <a:pt x="174" y="107"/>
                    </a:lnTo>
                    <a:lnTo>
                      <a:pt x="192" y="126"/>
                    </a:lnTo>
                    <a:lnTo>
                      <a:pt x="173" y="153"/>
                    </a:lnTo>
                    <a:lnTo>
                      <a:pt x="154" y="153"/>
                    </a:lnTo>
                    <a:lnTo>
                      <a:pt x="132" y="152"/>
                    </a:lnTo>
                    <a:lnTo>
                      <a:pt x="123" y="153"/>
                    </a:lnTo>
                    <a:lnTo>
                      <a:pt x="113" y="15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6" name="Freeform 495"/>
              <p:cNvSpPr/>
              <p:nvPr/>
            </p:nvSpPr>
            <p:spPr bwMode="auto">
              <a:xfrm>
                <a:off x="2479" y="2536"/>
                <a:ext cx="81" cy="65"/>
              </a:xfrm>
              <a:custGeom>
                <a:avLst/>
                <a:gdLst>
                  <a:gd name="T0" fmla="*/ 0 w 285"/>
                  <a:gd name="T1" fmla="*/ 5 h 227"/>
                  <a:gd name="T2" fmla="*/ 0 w 285"/>
                  <a:gd name="T3" fmla="*/ 5 h 227"/>
                  <a:gd name="T4" fmla="*/ 1 w 285"/>
                  <a:gd name="T5" fmla="*/ 5 h 227"/>
                  <a:gd name="T6" fmla="*/ 2 w 285"/>
                  <a:gd name="T7" fmla="*/ 5 h 227"/>
                  <a:gd name="T8" fmla="*/ 3 w 285"/>
                  <a:gd name="T9" fmla="*/ 3 h 227"/>
                  <a:gd name="T10" fmla="*/ 3 w 285"/>
                  <a:gd name="T11" fmla="*/ 4 h 227"/>
                  <a:gd name="T12" fmla="*/ 4 w 285"/>
                  <a:gd name="T13" fmla="*/ 5 h 227"/>
                  <a:gd name="T14" fmla="*/ 5 w 285"/>
                  <a:gd name="T15" fmla="*/ 5 h 227"/>
                  <a:gd name="T16" fmla="*/ 6 w 285"/>
                  <a:gd name="T17" fmla="*/ 5 h 227"/>
                  <a:gd name="T18" fmla="*/ 7 w 285"/>
                  <a:gd name="T19" fmla="*/ 5 h 227"/>
                  <a:gd name="T20" fmla="*/ 7 w 285"/>
                  <a:gd name="T21" fmla="*/ 3 h 227"/>
                  <a:gd name="T22" fmla="*/ 6 w 285"/>
                  <a:gd name="T23" fmla="*/ 3 h 227"/>
                  <a:gd name="T24" fmla="*/ 6 w 285"/>
                  <a:gd name="T25" fmla="*/ 3 h 227"/>
                  <a:gd name="T26" fmla="*/ 6 w 285"/>
                  <a:gd name="T27" fmla="*/ 2 h 227"/>
                  <a:gd name="T28" fmla="*/ 5 w 285"/>
                  <a:gd name="T29" fmla="*/ 2 h 227"/>
                  <a:gd name="T30" fmla="*/ 5 w 285"/>
                  <a:gd name="T31" fmla="*/ 2 h 227"/>
                  <a:gd name="T32" fmla="*/ 3 w 285"/>
                  <a:gd name="T33" fmla="*/ 2 h 227"/>
                  <a:gd name="T34" fmla="*/ 3 w 285"/>
                  <a:gd name="T35" fmla="*/ 2 h 227"/>
                  <a:gd name="T36" fmla="*/ 2 w 285"/>
                  <a:gd name="T37" fmla="*/ 2 h 227"/>
                  <a:gd name="T38" fmla="*/ 1 w 285"/>
                  <a:gd name="T39" fmla="*/ 1 h 227"/>
                  <a:gd name="T40" fmla="*/ 1 w 285"/>
                  <a:gd name="T41" fmla="*/ 1 h 227"/>
                  <a:gd name="T42" fmla="*/ 1 w 285"/>
                  <a:gd name="T43" fmla="*/ 1 h 227"/>
                  <a:gd name="T44" fmla="*/ 1 w 285"/>
                  <a:gd name="T45" fmla="*/ 1 h 227"/>
                  <a:gd name="T46" fmla="*/ 3 w 285"/>
                  <a:gd name="T47" fmla="*/ 1 h 227"/>
                  <a:gd name="T48" fmla="*/ 3 w 285"/>
                  <a:gd name="T49" fmla="*/ 0 h 227"/>
                  <a:gd name="T50" fmla="*/ 2 w 285"/>
                  <a:gd name="T51" fmla="*/ 0 h 227"/>
                  <a:gd name="T52" fmla="*/ 1 w 285"/>
                  <a:gd name="T53" fmla="*/ 0 h 227"/>
                  <a:gd name="T54" fmla="*/ 0 w 285"/>
                  <a:gd name="T55" fmla="*/ 1 h 227"/>
                  <a:gd name="T56" fmla="*/ 0 w 285"/>
                  <a:gd name="T57" fmla="*/ 2 h 227"/>
                  <a:gd name="T58" fmla="*/ 0 w 285"/>
                  <a:gd name="T59" fmla="*/ 2 h 227"/>
                  <a:gd name="T60" fmla="*/ 0 w 285"/>
                  <a:gd name="T61" fmla="*/ 2 h 227"/>
                  <a:gd name="T62" fmla="*/ 1 w 285"/>
                  <a:gd name="T63" fmla="*/ 2 h 227"/>
                  <a:gd name="T64" fmla="*/ 1 w 285"/>
                  <a:gd name="T65" fmla="*/ 3 h 227"/>
                  <a:gd name="T66" fmla="*/ 1 w 285"/>
                  <a:gd name="T67" fmla="*/ 4 h 227"/>
                  <a:gd name="T68" fmla="*/ 1 w 285"/>
                  <a:gd name="T69" fmla="*/ 4 h 227"/>
                  <a:gd name="T70" fmla="*/ 1 w 285"/>
                  <a:gd name="T71" fmla="*/ 4 h 227"/>
                  <a:gd name="T72" fmla="*/ 0 w 285"/>
                  <a:gd name="T73" fmla="*/ 5 h 22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
                  <a:gd name="T112" fmla="*/ 0 h 227"/>
                  <a:gd name="T113" fmla="*/ 285 w 285"/>
                  <a:gd name="T114" fmla="*/ 227 h 22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 h="227">
                    <a:moveTo>
                      <a:pt x="0" y="192"/>
                    </a:moveTo>
                    <a:lnTo>
                      <a:pt x="4" y="201"/>
                    </a:lnTo>
                    <a:lnTo>
                      <a:pt x="27" y="205"/>
                    </a:lnTo>
                    <a:lnTo>
                      <a:pt x="76" y="207"/>
                    </a:lnTo>
                    <a:lnTo>
                      <a:pt x="135" y="138"/>
                    </a:lnTo>
                    <a:lnTo>
                      <a:pt x="150" y="181"/>
                    </a:lnTo>
                    <a:lnTo>
                      <a:pt x="166" y="227"/>
                    </a:lnTo>
                    <a:lnTo>
                      <a:pt x="206" y="209"/>
                    </a:lnTo>
                    <a:lnTo>
                      <a:pt x="243" y="191"/>
                    </a:lnTo>
                    <a:lnTo>
                      <a:pt x="285" y="205"/>
                    </a:lnTo>
                    <a:lnTo>
                      <a:pt x="285" y="139"/>
                    </a:lnTo>
                    <a:lnTo>
                      <a:pt x="258" y="127"/>
                    </a:lnTo>
                    <a:lnTo>
                      <a:pt x="242" y="128"/>
                    </a:lnTo>
                    <a:lnTo>
                      <a:pt x="253" y="85"/>
                    </a:lnTo>
                    <a:lnTo>
                      <a:pt x="218" y="76"/>
                    </a:lnTo>
                    <a:lnTo>
                      <a:pt x="192" y="73"/>
                    </a:lnTo>
                    <a:lnTo>
                      <a:pt x="151" y="73"/>
                    </a:lnTo>
                    <a:lnTo>
                      <a:pt x="121" y="73"/>
                    </a:lnTo>
                    <a:lnTo>
                      <a:pt x="81" y="73"/>
                    </a:lnTo>
                    <a:lnTo>
                      <a:pt x="49" y="66"/>
                    </a:lnTo>
                    <a:lnTo>
                      <a:pt x="45" y="59"/>
                    </a:lnTo>
                    <a:lnTo>
                      <a:pt x="50" y="44"/>
                    </a:lnTo>
                    <a:lnTo>
                      <a:pt x="65" y="32"/>
                    </a:lnTo>
                    <a:lnTo>
                      <a:pt x="119" y="21"/>
                    </a:lnTo>
                    <a:lnTo>
                      <a:pt x="117" y="0"/>
                    </a:lnTo>
                    <a:lnTo>
                      <a:pt x="73" y="7"/>
                    </a:lnTo>
                    <a:lnTo>
                      <a:pt x="40" y="4"/>
                    </a:lnTo>
                    <a:lnTo>
                      <a:pt x="19" y="27"/>
                    </a:lnTo>
                    <a:lnTo>
                      <a:pt x="9" y="73"/>
                    </a:lnTo>
                    <a:lnTo>
                      <a:pt x="11" y="84"/>
                    </a:lnTo>
                    <a:lnTo>
                      <a:pt x="8" y="86"/>
                    </a:lnTo>
                    <a:lnTo>
                      <a:pt x="34" y="97"/>
                    </a:lnTo>
                    <a:lnTo>
                      <a:pt x="47" y="122"/>
                    </a:lnTo>
                    <a:lnTo>
                      <a:pt x="39" y="153"/>
                    </a:lnTo>
                    <a:lnTo>
                      <a:pt x="32" y="155"/>
                    </a:lnTo>
                    <a:lnTo>
                      <a:pt x="25" y="166"/>
                    </a:lnTo>
                    <a:lnTo>
                      <a:pt x="0" y="19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7" name="Freeform 496"/>
              <p:cNvSpPr/>
              <p:nvPr/>
            </p:nvSpPr>
            <p:spPr bwMode="auto">
              <a:xfrm>
                <a:off x="2998" y="2793"/>
                <a:ext cx="6" cy="10"/>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grpSp>
      </p:grpSp>
      <p:sp>
        <p:nvSpPr>
          <p:cNvPr id="25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58" name="文本框 257"/>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500"/>
                            </p:stCondLst>
                            <p:childTnLst>
                              <p:par>
                                <p:cTn id="11" presetID="22" presetClass="entr" presetSubtype="4" fill="hold" grpId="0" nodeType="afterEffect">
                                  <p:stCondLst>
                                    <p:cond delay="0"/>
                                  </p:stCondLst>
                                  <p:childTnLst>
                                    <p:set>
                                      <p:cBhvr>
                                        <p:cTn id="12" dur="1" fill="hold">
                                          <p:stCondLst>
                                            <p:cond delay="0"/>
                                          </p:stCondLst>
                                        </p:cTn>
                                        <p:tgtEl>
                                          <p:spTgt spid="258"/>
                                        </p:tgtEl>
                                        <p:attrNameLst>
                                          <p:attrName>style.visibility</p:attrName>
                                        </p:attrNameLst>
                                      </p:cBhvr>
                                      <p:to>
                                        <p:strVal val="visible"/>
                                      </p:to>
                                    </p:set>
                                    <p:animEffect transition="in" filter="wipe(down)">
                                      <p:cBhvr>
                                        <p:cTn id="13" dur="1250"/>
                                        <p:tgtEl>
                                          <p:spTgt spid="2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C:\Users\shangdongying\Desktop\Chicago-City-1920.jpg"/>
          <p:cNvPicPr>
            <a:picLocks noChangeAspect="1" noChangeArrowheads="1"/>
          </p:cNvPicPr>
          <p:nvPr/>
        </p:nvPicPr>
        <p:blipFill>
          <a:blip r:embed="rId1" cstate="print"/>
          <a:srcRect/>
          <a:stretch>
            <a:fillRect/>
          </a:stretch>
        </p:blipFill>
        <p:spPr bwMode="auto">
          <a:xfrm>
            <a:off x="0" y="0"/>
            <a:ext cx="12192000" cy="6858000"/>
          </a:xfrm>
          <a:prstGeom prst="rect">
            <a:avLst/>
          </a:prstGeom>
          <a:noFill/>
        </p:spPr>
      </p:pic>
      <p:sp>
        <p:nvSpPr>
          <p:cNvPr id="5" name="梯形 4"/>
          <p:cNvSpPr/>
          <p:nvPr/>
        </p:nvSpPr>
        <p:spPr>
          <a:xfrm rot="5400000">
            <a:off x="2667000" y="-2667000"/>
            <a:ext cx="6858000" cy="12192000"/>
          </a:xfrm>
          <a:prstGeom prst="trapezoid">
            <a:avLst>
              <a:gd name="adj" fmla="val 27989"/>
            </a:avLst>
          </a:prstGeom>
          <a:solidFill>
            <a:schemeClr val="accent6">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6" name="直角三角形 5"/>
          <p:cNvSpPr/>
          <p:nvPr/>
        </p:nvSpPr>
        <p:spPr>
          <a:xfrm flipH="1">
            <a:off x="0" y="4773149"/>
            <a:ext cx="12192000" cy="20848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7" name="直角三角形 6"/>
          <p:cNvSpPr/>
          <p:nvPr/>
        </p:nvSpPr>
        <p:spPr>
          <a:xfrm flipH="1" flipV="1">
            <a:off x="0" y="0"/>
            <a:ext cx="12192000" cy="198884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8" name="TextBox 7"/>
          <p:cNvSpPr txBox="1"/>
          <p:nvPr/>
        </p:nvSpPr>
        <p:spPr>
          <a:xfrm>
            <a:off x="527381" y="1700809"/>
            <a:ext cx="2016224" cy="2533899"/>
          </a:xfrm>
          <a:prstGeom prst="rect">
            <a:avLst/>
          </a:prstGeom>
          <a:noFill/>
        </p:spPr>
        <p:txBody>
          <a:bodyPr wrap="square" rtlCol="0">
            <a:spAutoFit/>
          </a:bodyPr>
          <a:lstStyle/>
          <a:p>
            <a:r>
              <a:rPr lang="en-US" altLang="zh-CN" sz="15865" dirty="0">
                <a:solidFill>
                  <a:schemeClr val="bg1"/>
                </a:solidFill>
                <a:latin typeface="+mn-ea"/>
                <a:cs typeface="+mn-ea"/>
              </a:rPr>
              <a:t>P</a:t>
            </a:r>
            <a:endParaRPr lang="zh-CN" altLang="en-US" sz="15865" dirty="0">
              <a:solidFill>
                <a:schemeClr val="bg1"/>
              </a:solidFill>
              <a:latin typeface="+mn-ea"/>
              <a:cs typeface="+mn-ea"/>
            </a:endParaRPr>
          </a:p>
        </p:txBody>
      </p:sp>
      <p:sp>
        <p:nvSpPr>
          <p:cNvPr id="9" name="TextBox 8"/>
          <p:cNvSpPr txBox="1"/>
          <p:nvPr/>
        </p:nvSpPr>
        <p:spPr>
          <a:xfrm>
            <a:off x="1487488" y="2334931"/>
            <a:ext cx="3360373" cy="1733680"/>
          </a:xfrm>
          <a:prstGeom prst="rect">
            <a:avLst/>
          </a:prstGeom>
          <a:noFill/>
        </p:spPr>
        <p:txBody>
          <a:bodyPr wrap="square" rtlCol="0">
            <a:spAutoFit/>
          </a:bodyPr>
          <a:lstStyle/>
          <a:p>
            <a:r>
              <a:rPr lang="en-US" altLang="zh-CN" sz="10665" dirty="0">
                <a:solidFill>
                  <a:schemeClr val="bg1"/>
                </a:solidFill>
                <a:latin typeface="+mn-ea"/>
                <a:cs typeface="+mn-ea"/>
              </a:rPr>
              <a:t>art</a:t>
            </a:r>
            <a:endParaRPr lang="zh-CN" altLang="en-US" sz="10665" dirty="0">
              <a:solidFill>
                <a:schemeClr val="bg1"/>
              </a:solidFill>
              <a:latin typeface="+mn-ea"/>
              <a:cs typeface="+mn-ea"/>
            </a:endParaRPr>
          </a:p>
        </p:txBody>
      </p:sp>
      <p:sp>
        <p:nvSpPr>
          <p:cNvPr id="10" name="TextBox 9"/>
          <p:cNvSpPr txBox="1"/>
          <p:nvPr/>
        </p:nvSpPr>
        <p:spPr>
          <a:xfrm>
            <a:off x="3599723" y="2336490"/>
            <a:ext cx="4224469" cy="1733680"/>
          </a:xfrm>
          <a:prstGeom prst="rect">
            <a:avLst/>
          </a:prstGeom>
          <a:noFill/>
        </p:spPr>
        <p:txBody>
          <a:bodyPr wrap="square" rtlCol="0">
            <a:spAutoFit/>
          </a:bodyPr>
          <a:lstStyle/>
          <a:p>
            <a:r>
              <a:rPr lang="en-US" altLang="zh-CN" sz="10665" dirty="0">
                <a:solidFill>
                  <a:schemeClr val="bg1"/>
                </a:solidFill>
                <a:latin typeface="+mn-ea"/>
                <a:cs typeface="+mn-ea"/>
              </a:rPr>
              <a:t>four</a:t>
            </a:r>
            <a:endParaRPr lang="zh-CN" altLang="en-US" sz="10665" dirty="0">
              <a:solidFill>
                <a:schemeClr val="bg1"/>
              </a:solidFill>
              <a:latin typeface="+mn-ea"/>
              <a:cs typeface="+mn-ea"/>
            </a:endParaRPr>
          </a:p>
        </p:txBody>
      </p:sp>
      <p:sp>
        <p:nvSpPr>
          <p:cNvPr id="11" name="直角三角形 10"/>
          <p:cNvSpPr/>
          <p:nvPr/>
        </p:nvSpPr>
        <p:spPr>
          <a:xfrm rot="10800000">
            <a:off x="0" y="-3"/>
            <a:ext cx="12192000" cy="20848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nvGrpSpPr>
          <p:cNvPr id="2" name="组合 1"/>
          <p:cNvGrpSpPr/>
          <p:nvPr/>
        </p:nvGrpSpPr>
        <p:grpSpPr>
          <a:xfrm>
            <a:off x="8592275" y="0"/>
            <a:ext cx="3599725" cy="6316257"/>
            <a:chOff x="8592275" y="0"/>
            <a:chExt cx="3599725" cy="6316257"/>
          </a:xfrm>
        </p:grpSpPr>
        <p:sp>
          <p:nvSpPr>
            <p:cNvPr id="13" name="平行四边形 12"/>
            <p:cNvSpPr/>
            <p:nvPr/>
          </p:nvSpPr>
          <p:spPr>
            <a:xfrm rot="5400000" flipH="1">
              <a:off x="8197585" y="394692"/>
              <a:ext cx="4389107" cy="3599723"/>
            </a:xfrm>
            <a:prstGeom prst="parallelogram">
              <a:avLst>
                <a:gd name="adj" fmla="val 63758"/>
              </a:avLst>
            </a:prstGeom>
            <a:solidFill>
              <a:schemeClr val="accent6">
                <a:lumMod val="50000"/>
                <a:alpha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4" name="平行四边形 13"/>
            <p:cNvSpPr/>
            <p:nvPr/>
          </p:nvSpPr>
          <p:spPr>
            <a:xfrm rot="5400000">
              <a:off x="8380937" y="2505195"/>
              <a:ext cx="4022400" cy="3599723"/>
            </a:xfrm>
            <a:prstGeom prst="parallelogram">
              <a:avLst>
                <a:gd name="adj" fmla="val 54036"/>
              </a:avLst>
            </a:prstGeom>
            <a:solidFill>
              <a:schemeClr val="accent6">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sp>
        <p:nvSpPr>
          <p:cNvPr id="15" name="TextBox 51"/>
          <p:cNvSpPr txBox="1"/>
          <p:nvPr/>
        </p:nvSpPr>
        <p:spPr>
          <a:xfrm>
            <a:off x="719403" y="883547"/>
            <a:ext cx="2592288" cy="913007"/>
          </a:xfrm>
          <a:prstGeom prst="rect">
            <a:avLst/>
          </a:prstGeom>
          <a:noFill/>
        </p:spPr>
        <p:txBody>
          <a:bodyPr wrap="square" rtlCol="0">
            <a:spAutoFit/>
          </a:bodyPr>
          <a:lstStyle/>
          <a:p>
            <a:r>
              <a:rPr lang="en-US" altLang="zh-CN" sz="5335" b="1" dirty="0">
                <a:solidFill>
                  <a:schemeClr val="bg1"/>
                </a:solidFill>
                <a:latin typeface="+mn-ea"/>
                <a:cs typeface="+mn-ea"/>
              </a:rPr>
              <a:t>LOGO</a:t>
            </a:r>
            <a:endParaRPr lang="zh-CN" altLang="en-US" sz="5335" b="1" dirty="0">
              <a:solidFill>
                <a:schemeClr val="bg1"/>
              </a:solidFill>
              <a:latin typeface="+mn-ea"/>
              <a:cs typeface="+mn-ea"/>
            </a:endParaRPr>
          </a:p>
        </p:txBody>
      </p:sp>
      <p:sp>
        <p:nvSpPr>
          <p:cNvPr id="16" name="文本框 15"/>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randombar(horizontal)">
                                      <p:cBhvr>
                                        <p:cTn id="7" dur="500"/>
                                        <p:tgtEl>
                                          <p:spTgt spid="8"/>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randombar(horizontal)">
                                      <p:cBhvr>
                                        <p:cTn id="10" dur="500"/>
                                        <p:tgtEl>
                                          <p:spTgt spid="9"/>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randombar(horizontal)">
                                      <p:cBhvr>
                                        <p:cTn id="13" dur="500"/>
                                        <p:tgtEl>
                                          <p:spTgt spid="10"/>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randombar(horizontal)">
                                      <p:cBhvr>
                                        <p:cTn id="16" dur="500"/>
                                        <p:tgtEl>
                                          <p:spTgt spid="15"/>
                                        </p:tgtEl>
                                      </p:cBhvr>
                                    </p:animEffect>
                                  </p:childTnLst>
                                </p:cTn>
                              </p:par>
                            </p:childTnLst>
                          </p:cTn>
                        </p:par>
                        <p:par>
                          <p:cTn id="17" fill="hold">
                            <p:stCondLst>
                              <p:cond delay="500"/>
                            </p:stCondLst>
                            <p:childTnLst>
                              <p:par>
                                <p:cTn id="18" presetID="22" presetClass="entr" presetSubtype="4"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wipe(down)">
                                      <p:cBhvr>
                                        <p:cTn id="20" dur="500"/>
                                        <p:tgtEl>
                                          <p:spTgt spid="2"/>
                                        </p:tgtEl>
                                      </p:cBhvr>
                                    </p:animEffect>
                                  </p:childTnLst>
                                </p:cTn>
                              </p:par>
                            </p:childTnLst>
                          </p:cTn>
                        </p:par>
                        <p:par>
                          <p:cTn id="21" fill="hold">
                            <p:stCondLst>
                              <p:cond delay="1000"/>
                            </p:stCondLst>
                            <p:childTnLst>
                              <p:par>
                                <p:cTn id="22" presetID="22" presetClass="entr" presetSubtype="4" fill="hold" grpId="0"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ipe(down)">
                                      <p:cBhvr>
                                        <p:cTn id="24" dur="1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5" grpId="0"/>
      <p:bldP spid="1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29"/>
          <p:cNvGrpSpPr/>
          <p:nvPr/>
        </p:nvGrpSpPr>
        <p:grpSpPr bwMode="auto">
          <a:xfrm>
            <a:off x="3407833" y="2743234"/>
            <a:ext cx="7681384" cy="3353817"/>
            <a:chOff x="1519" y="1661"/>
            <a:chExt cx="3629" cy="1633"/>
          </a:xfrm>
        </p:grpSpPr>
        <p:sp>
          <p:nvSpPr>
            <p:cNvPr id="6" name="Freeform 30"/>
            <p:cNvSpPr/>
            <p:nvPr/>
          </p:nvSpPr>
          <p:spPr bwMode="auto">
            <a:xfrm>
              <a:off x="2245" y="2886"/>
              <a:ext cx="726" cy="408"/>
            </a:xfrm>
            <a:custGeom>
              <a:avLst/>
              <a:gdLst>
                <a:gd name="T0" fmla="*/ 0 w 726"/>
                <a:gd name="T1" fmla="*/ 408 h 408"/>
                <a:gd name="T2" fmla="*/ 0 w 726"/>
                <a:gd name="T3" fmla="*/ 0 h 408"/>
                <a:gd name="T4" fmla="*/ 726 w 726"/>
                <a:gd name="T5" fmla="*/ 0 h 408"/>
              </a:gdLst>
              <a:ahLst/>
              <a:cxnLst>
                <a:cxn ang="0">
                  <a:pos x="T0" y="T1"/>
                </a:cxn>
                <a:cxn ang="0">
                  <a:pos x="T2" y="T3"/>
                </a:cxn>
                <a:cxn ang="0">
                  <a:pos x="T4" y="T5"/>
                </a:cxn>
              </a:cxnLst>
              <a:rect l="0" t="0" r="r" b="b"/>
              <a:pathLst>
                <a:path w="726" h="408">
                  <a:moveTo>
                    <a:pt x="0" y="408"/>
                  </a:moveTo>
                  <a:lnTo>
                    <a:pt x="0" y="0"/>
                  </a:lnTo>
                  <a:lnTo>
                    <a:pt x="726" y="0"/>
                  </a:lnTo>
                </a:path>
              </a:pathLst>
            </a:custGeom>
            <a:noFill/>
            <a:ln w="25400" cap="flat" cmpd="sng">
              <a:solidFill>
                <a:srgbClr val="9E9E9E"/>
              </a:solidFill>
              <a:prstDash val="solid"/>
              <a:round/>
              <a:headEnd type="none" w="med" len="med"/>
              <a:tailEnd type="non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cs typeface="+mn-ea"/>
              </a:endParaRPr>
            </a:p>
          </p:txBody>
        </p:sp>
        <p:sp>
          <p:nvSpPr>
            <p:cNvPr id="7" name="Freeform 31"/>
            <p:cNvSpPr/>
            <p:nvPr/>
          </p:nvSpPr>
          <p:spPr bwMode="auto">
            <a:xfrm>
              <a:off x="2970" y="2477"/>
              <a:ext cx="726" cy="408"/>
            </a:xfrm>
            <a:custGeom>
              <a:avLst/>
              <a:gdLst>
                <a:gd name="T0" fmla="*/ 0 w 726"/>
                <a:gd name="T1" fmla="*/ 408 h 408"/>
                <a:gd name="T2" fmla="*/ 0 w 726"/>
                <a:gd name="T3" fmla="*/ 0 h 408"/>
                <a:gd name="T4" fmla="*/ 726 w 726"/>
                <a:gd name="T5" fmla="*/ 0 h 408"/>
              </a:gdLst>
              <a:ahLst/>
              <a:cxnLst>
                <a:cxn ang="0">
                  <a:pos x="T0" y="T1"/>
                </a:cxn>
                <a:cxn ang="0">
                  <a:pos x="T2" y="T3"/>
                </a:cxn>
                <a:cxn ang="0">
                  <a:pos x="T4" y="T5"/>
                </a:cxn>
              </a:cxnLst>
              <a:rect l="0" t="0" r="r" b="b"/>
              <a:pathLst>
                <a:path w="726" h="408">
                  <a:moveTo>
                    <a:pt x="0" y="408"/>
                  </a:moveTo>
                  <a:lnTo>
                    <a:pt x="0" y="0"/>
                  </a:lnTo>
                  <a:lnTo>
                    <a:pt x="726" y="0"/>
                  </a:lnTo>
                </a:path>
              </a:pathLst>
            </a:custGeom>
            <a:noFill/>
            <a:ln w="25400" cap="flat" cmpd="sng">
              <a:solidFill>
                <a:srgbClr val="9E9E9E"/>
              </a:solidFill>
              <a:prstDash val="solid"/>
              <a:round/>
              <a:headEnd type="none" w="med" len="med"/>
              <a:tailEnd type="non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cs typeface="+mn-ea"/>
              </a:endParaRPr>
            </a:p>
          </p:txBody>
        </p:sp>
        <p:sp>
          <p:nvSpPr>
            <p:cNvPr id="8" name="Freeform 32"/>
            <p:cNvSpPr/>
            <p:nvPr/>
          </p:nvSpPr>
          <p:spPr bwMode="auto">
            <a:xfrm>
              <a:off x="3696" y="2069"/>
              <a:ext cx="726" cy="408"/>
            </a:xfrm>
            <a:custGeom>
              <a:avLst/>
              <a:gdLst>
                <a:gd name="T0" fmla="*/ 0 w 726"/>
                <a:gd name="T1" fmla="*/ 408 h 408"/>
                <a:gd name="T2" fmla="*/ 0 w 726"/>
                <a:gd name="T3" fmla="*/ 0 h 408"/>
                <a:gd name="T4" fmla="*/ 726 w 726"/>
                <a:gd name="T5" fmla="*/ 0 h 408"/>
              </a:gdLst>
              <a:ahLst/>
              <a:cxnLst>
                <a:cxn ang="0">
                  <a:pos x="T0" y="T1"/>
                </a:cxn>
                <a:cxn ang="0">
                  <a:pos x="T2" y="T3"/>
                </a:cxn>
                <a:cxn ang="0">
                  <a:pos x="T4" y="T5"/>
                </a:cxn>
              </a:cxnLst>
              <a:rect l="0" t="0" r="r" b="b"/>
              <a:pathLst>
                <a:path w="726" h="408">
                  <a:moveTo>
                    <a:pt x="0" y="408"/>
                  </a:moveTo>
                  <a:lnTo>
                    <a:pt x="0" y="0"/>
                  </a:lnTo>
                  <a:lnTo>
                    <a:pt x="726" y="0"/>
                  </a:lnTo>
                </a:path>
              </a:pathLst>
            </a:custGeom>
            <a:noFill/>
            <a:ln w="25400" cap="flat" cmpd="sng">
              <a:solidFill>
                <a:srgbClr val="9E9E9E"/>
              </a:solidFill>
              <a:prstDash val="solid"/>
              <a:round/>
              <a:headEnd type="none" w="med" len="med"/>
              <a:tailEnd type="non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cs typeface="+mn-ea"/>
              </a:endParaRPr>
            </a:p>
          </p:txBody>
        </p:sp>
        <p:sp>
          <p:nvSpPr>
            <p:cNvPr id="9" name="Freeform 33"/>
            <p:cNvSpPr/>
            <p:nvPr/>
          </p:nvSpPr>
          <p:spPr bwMode="auto">
            <a:xfrm>
              <a:off x="4422" y="1661"/>
              <a:ext cx="726" cy="408"/>
            </a:xfrm>
            <a:custGeom>
              <a:avLst/>
              <a:gdLst>
                <a:gd name="T0" fmla="*/ 0 w 726"/>
                <a:gd name="T1" fmla="*/ 408 h 408"/>
                <a:gd name="T2" fmla="*/ 0 w 726"/>
                <a:gd name="T3" fmla="*/ 0 h 408"/>
                <a:gd name="T4" fmla="*/ 726 w 726"/>
                <a:gd name="T5" fmla="*/ 0 h 408"/>
              </a:gdLst>
              <a:ahLst/>
              <a:cxnLst>
                <a:cxn ang="0">
                  <a:pos x="T0" y="T1"/>
                </a:cxn>
                <a:cxn ang="0">
                  <a:pos x="T2" y="T3"/>
                </a:cxn>
                <a:cxn ang="0">
                  <a:pos x="T4" y="T5"/>
                </a:cxn>
              </a:cxnLst>
              <a:rect l="0" t="0" r="r" b="b"/>
              <a:pathLst>
                <a:path w="726" h="408">
                  <a:moveTo>
                    <a:pt x="0" y="408"/>
                  </a:moveTo>
                  <a:lnTo>
                    <a:pt x="0" y="0"/>
                  </a:lnTo>
                  <a:lnTo>
                    <a:pt x="726" y="0"/>
                  </a:lnTo>
                </a:path>
              </a:pathLst>
            </a:custGeom>
            <a:noFill/>
            <a:ln w="25400" cap="flat" cmpd="sng">
              <a:solidFill>
                <a:srgbClr val="9E9E9E"/>
              </a:solidFill>
              <a:prstDash val="solid"/>
              <a:round/>
              <a:headEnd type="none" w="med" len="med"/>
              <a:tailEnd type="non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cs typeface="+mn-ea"/>
              </a:endParaRPr>
            </a:p>
          </p:txBody>
        </p:sp>
        <p:sp>
          <p:nvSpPr>
            <p:cNvPr id="10" name="Line 34"/>
            <p:cNvSpPr>
              <a:spLocks noChangeShapeType="1"/>
            </p:cNvSpPr>
            <p:nvPr/>
          </p:nvSpPr>
          <p:spPr bwMode="auto">
            <a:xfrm flipH="1">
              <a:off x="1519" y="3294"/>
              <a:ext cx="726" cy="0"/>
            </a:xfrm>
            <a:prstGeom prst="line">
              <a:avLst/>
            </a:prstGeom>
            <a:noFill/>
            <a:ln w="25400">
              <a:solidFill>
                <a:srgbClr val="9E9E9E"/>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cs typeface="+mn-ea"/>
              </a:endParaRPr>
            </a:p>
          </p:txBody>
        </p:sp>
      </p:grpSp>
      <p:sp>
        <p:nvSpPr>
          <p:cNvPr id="11" name="Text Box 41"/>
          <p:cNvSpPr txBox="1">
            <a:spLocks noChangeArrowheads="1"/>
          </p:cNvSpPr>
          <p:nvPr/>
        </p:nvSpPr>
        <p:spPr bwMode="auto">
          <a:xfrm>
            <a:off x="910167" y="1028735"/>
            <a:ext cx="3793067" cy="2226700"/>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lvl="2" defTabSz="1217295" eaLnBrk="0" hangingPunct="0">
              <a:buClr>
                <a:srgbClr val="0070C0"/>
              </a:buClr>
              <a:buSzPct val="80000"/>
              <a:tabLst>
                <a:tab pos="181610" algn="l"/>
              </a:tabLst>
              <a:defRPr/>
            </a:pPr>
            <a:endParaRPr lang="en-US" altLang="zh-CN" sz="1465" spc="67" dirty="0">
              <a:ln w="11430"/>
              <a:solidFill>
                <a:srgbClr val="080808"/>
              </a:solidFill>
              <a:latin typeface="+mn-ea"/>
              <a:cs typeface="+mn-ea"/>
            </a:endParaRPr>
          </a:p>
          <a:p>
            <a:pPr marL="0" lvl="2" defTabSz="1217295" eaLnBrk="0" hangingPunct="0">
              <a:buClr>
                <a:srgbClr val="0070C0"/>
              </a:buClr>
              <a:buSzPct val="80000"/>
              <a:tabLst>
                <a:tab pos="181610" algn="l"/>
              </a:tabLst>
              <a:defRPr/>
            </a:pPr>
            <a:endParaRPr lang="en-US" altLang="zh-CN" sz="1465" spc="67" dirty="0">
              <a:ln w="11430"/>
              <a:solidFill>
                <a:srgbClr val="080808"/>
              </a:solidFill>
              <a:latin typeface="+mn-ea"/>
              <a:cs typeface="+mn-ea"/>
            </a:endParaRPr>
          </a:p>
          <a:p>
            <a:pPr marL="0" lvl="2" defTabSz="1217295" eaLnBrk="0" hangingPunct="0">
              <a:buClr>
                <a:srgbClr val="0070C0"/>
              </a:buClr>
              <a:buSzPct val="80000"/>
              <a:tabLst>
                <a:tab pos="181610" algn="l"/>
              </a:tabLst>
              <a:defRPr/>
            </a:pPr>
            <a:r>
              <a:rPr lang="zh-CN" altLang="en-US" sz="2135" b="1" dirty="0">
                <a:solidFill>
                  <a:srgbClr val="080808"/>
                </a:solidFill>
                <a:latin typeface="+mn-ea"/>
                <a:cs typeface="+mn-ea"/>
              </a:rPr>
              <a:t>单击填加标题</a:t>
            </a:r>
            <a:endParaRPr lang="en-US" altLang="ko-KR" sz="2135" b="1" dirty="0">
              <a:solidFill>
                <a:srgbClr val="080808"/>
              </a:solidFill>
              <a:latin typeface="+mn-ea"/>
              <a:cs typeface="+mn-ea"/>
            </a:endParaRPr>
          </a:p>
          <a:p>
            <a:pPr marL="0" lvl="2" defTabSz="1217295" eaLnBrk="0" hangingPunct="0">
              <a:buClr>
                <a:srgbClr val="0070C0"/>
              </a:buClr>
              <a:buSzPct val="80000"/>
              <a:tabLst>
                <a:tab pos="181610" algn="l"/>
              </a:tabLst>
              <a:defRPr/>
            </a:pPr>
            <a:endParaRPr lang="en-US" altLang="zh-CN" sz="1465" spc="67" dirty="0">
              <a:ln w="11430"/>
              <a:solidFill>
                <a:srgbClr val="080808"/>
              </a:solidFill>
              <a:latin typeface="+mn-ea"/>
              <a:cs typeface="+mn-ea"/>
            </a:endParaRPr>
          </a:p>
          <a:p>
            <a:pPr marL="0" lvl="2" defTabSz="1217295" eaLnBrk="0" hangingPunct="0">
              <a:buClr>
                <a:srgbClr val="0070C0"/>
              </a:buClr>
              <a:buSzPct val="80000"/>
              <a:tabLst>
                <a:tab pos="181610" algn="l"/>
              </a:tabLst>
              <a:defRPr/>
            </a:pPr>
            <a:r>
              <a:rPr lang="zh-CN" altLang="en-US" sz="1465" spc="67" dirty="0">
                <a:ln w="11430"/>
                <a:solidFill>
                  <a:srgbClr val="080808"/>
                </a:solidFill>
                <a:latin typeface="+mn-ea"/>
                <a:cs typeface="+mn-ea"/>
              </a:rPr>
              <a:t>点击添加文本点击添加文本</a:t>
            </a:r>
            <a:endParaRPr lang="en-US" altLang="zh-CN" sz="1465" spc="67" dirty="0">
              <a:ln w="11430"/>
              <a:solidFill>
                <a:srgbClr val="080808"/>
              </a:solidFill>
              <a:latin typeface="+mn-ea"/>
              <a:cs typeface="+mn-ea"/>
            </a:endParaRPr>
          </a:p>
          <a:p>
            <a:pPr marL="0" lvl="2" defTabSz="1217295" eaLnBrk="0" hangingPunct="0">
              <a:buClr>
                <a:srgbClr val="0070C0"/>
              </a:buClr>
              <a:buSzPct val="80000"/>
              <a:tabLst>
                <a:tab pos="181610" algn="l"/>
              </a:tabLst>
              <a:defRPr/>
            </a:pPr>
            <a:endParaRPr lang="en-US" altLang="zh-CN" sz="1465" spc="67" dirty="0">
              <a:ln w="11430"/>
              <a:solidFill>
                <a:srgbClr val="080808"/>
              </a:solidFill>
              <a:latin typeface="+mn-ea"/>
              <a:cs typeface="+mn-ea"/>
            </a:endParaRPr>
          </a:p>
          <a:p>
            <a:pPr marL="0" lvl="2" defTabSz="1217295" eaLnBrk="0" hangingPunct="0">
              <a:buClr>
                <a:srgbClr val="0070C0"/>
              </a:buClr>
              <a:buSzPct val="80000"/>
              <a:tabLst>
                <a:tab pos="181610" algn="l"/>
              </a:tabLst>
              <a:defRPr/>
            </a:pPr>
            <a:r>
              <a:rPr lang="zh-CN" altLang="en-US" sz="1465" spc="67" dirty="0">
                <a:ln w="11430"/>
                <a:solidFill>
                  <a:srgbClr val="080808"/>
                </a:solidFill>
                <a:latin typeface="+mn-ea"/>
                <a:cs typeface="+mn-ea"/>
              </a:rPr>
              <a:t>点击添加文本点击添加文本</a:t>
            </a:r>
            <a:endParaRPr lang="en-US" altLang="zh-CN" sz="1465" spc="67" dirty="0">
              <a:ln w="11430"/>
              <a:solidFill>
                <a:srgbClr val="080808"/>
              </a:solidFill>
              <a:latin typeface="+mn-ea"/>
              <a:cs typeface="+mn-ea"/>
            </a:endParaRPr>
          </a:p>
          <a:p>
            <a:pPr marL="0" lvl="2" defTabSz="1217295" eaLnBrk="0" hangingPunct="0">
              <a:buClr>
                <a:srgbClr val="0070C0"/>
              </a:buClr>
              <a:buSzPct val="80000"/>
              <a:tabLst>
                <a:tab pos="181610" algn="l"/>
              </a:tabLst>
              <a:defRPr/>
            </a:pPr>
            <a:endParaRPr lang="en-US" altLang="zh-CN" sz="1465" spc="67" dirty="0">
              <a:ln w="11430"/>
              <a:solidFill>
                <a:srgbClr val="080808"/>
              </a:solidFill>
              <a:latin typeface="+mn-ea"/>
              <a:cs typeface="+mn-ea"/>
            </a:endParaRPr>
          </a:p>
          <a:p>
            <a:pPr marL="0" lvl="2" defTabSz="1217295" eaLnBrk="0" hangingPunct="0">
              <a:buClr>
                <a:srgbClr val="0070C0"/>
              </a:buClr>
              <a:buSzPct val="80000"/>
              <a:tabLst>
                <a:tab pos="181610" algn="l"/>
              </a:tabLst>
              <a:defRPr/>
            </a:pPr>
            <a:r>
              <a:rPr lang="zh-CN" altLang="en-US" sz="1465" spc="67" dirty="0">
                <a:ln w="11430"/>
                <a:solidFill>
                  <a:srgbClr val="080808"/>
                </a:solidFill>
                <a:latin typeface="+mn-ea"/>
                <a:cs typeface="+mn-ea"/>
              </a:rPr>
              <a:t>点击添加文本点击添加文本</a:t>
            </a:r>
            <a:endParaRPr lang="en-US" altLang="zh-CN" sz="1465" spc="67" dirty="0">
              <a:ln w="11430"/>
              <a:solidFill>
                <a:srgbClr val="080808"/>
              </a:solidFill>
              <a:latin typeface="+mn-ea"/>
              <a:cs typeface="+mn-ea"/>
            </a:endParaRPr>
          </a:p>
        </p:txBody>
      </p:sp>
      <p:sp>
        <p:nvSpPr>
          <p:cNvPr id="12" name="AutoShape 44"/>
          <p:cNvSpPr>
            <a:spLocks noChangeArrowheads="1"/>
          </p:cNvSpPr>
          <p:nvPr/>
        </p:nvSpPr>
        <p:spPr bwMode="auto">
          <a:xfrm rot="17429801">
            <a:off x="8475135" y="1430458"/>
            <a:ext cx="1211727" cy="1248833"/>
          </a:xfrm>
          <a:custGeom>
            <a:avLst/>
            <a:gdLst>
              <a:gd name="G0" fmla="+- 0 0 0"/>
              <a:gd name="G1" fmla="+- -7261746 0 0"/>
              <a:gd name="G2" fmla="+- 0 0 -7261746"/>
              <a:gd name="G3" fmla="+- 10800 0 0"/>
              <a:gd name="G4" fmla="+- 0 0 0"/>
              <a:gd name="T0" fmla="*/ 360 256 1"/>
              <a:gd name="T1" fmla="*/ 0 256 1"/>
              <a:gd name="G5" fmla="+- G2 T0 T1"/>
              <a:gd name="G6" fmla="?: G2 G2 G5"/>
              <a:gd name="G7" fmla="+- 0 0 G6"/>
              <a:gd name="G8" fmla="+- 5400 0 0"/>
              <a:gd name="G9" fmla="+- 0 0 -7261746"/>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7261746"/>
              <a:gd name="G36" fmla="sin G34 -7261746"/>
              <a:gd name="G37" fmla="+/ -7261746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16932 w 21600"/>
              <a:gd name="T5" fmla="*/ 1909 h 21600"/>
              <a:gd name="T6" fmla="*/ 7922 w 21600"/>
              <a:gd name="T7" fmla="*/ 3228 h 21600"/>
              <a:gd name="T8" fmla="*/ 13866 w 21600"/>
              <a:gd name="T9" fmla="*/ 6354 h 21600"/>
              <a:gd name="T10" fmla="*/ 24300 w 21600"/>
              <a:gd name="T11" fmla="*/ 10800 h 21600"/>
              <a:gd name="T12" fmla="*/ 18900 w 21600"/>
              <a:gd name="T13" fmla="*/ 16200 h 21600"/>
              <a:gd name="T14" fmla="*/ 13500 w 21600"/>
              <a:gd name="T15" fmla="*/ 1080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6200" y="10800"/>
                </a:moveTo>
                <a:cubicBezTo>
                  <a:pt x="16200" y="7817"/>
                  <a:pt x="13782" y="5400"/>
                  <a:pt x="10800" y="5400"/>
                </a:cubicBezTo>
                <a:cubicBezTo>
                  <a:pt x="10144" y="5399"/>
                  <a:pt x="9494" y="5519"/>
                  <a:pt x="8881" y="5752"/>
                </a:cubicBezTo>
                <a:lnTo>
                  <a:pt x="6963" y="704"/>
                </a:lnTo>
                <a:cubicBezTo>
                  <a:pt x="8189" y="238"/>
                  <a:pt x="9489"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rgbClr val="254061"/>
          </a:solidFill>
          <a:ln>
            <a:noFill/>
          </a:ln>
          <a:effectLst/>
        </p:spPr>
        <p:txBody>
          <a:bodyPr wrap="none" anchor="ctr"/>
          <a:lstStyle/>
          <a:p>
            <a:endParaRPr lang="zh-CN" altLang="en-US" sz="2400">
              <a:cs typeface="+mn-ea"/>
            </a:endParaRPr>
          </a:p>
        </p:txBody>
      </p:sp>
      <p:sp>
        <p:nvSpPr>
          <p:cNvPr id="13" name="Text Box 45"/>
          <p:cNvSpPr txBox="1">
            <a:spLocks noChangeArrowheads="1"/>
          </p:cNvSpPr>
          <p:nvPr/>
        </p:nvSpPr>
        <p:spPr bwMode="auto">
          <a:xfrm>
            <a:off x="6766984" y="4760417"/>
            <a:ext cx="4993216" cy="132363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zh-CN" altLang="en-US" sz="1865" b="1" dirty="0">
                <a:solidFill>
                  <a:srgbClr val="080808"/>
                </a:solidFill>
                <a:latin typeface="+mn-ea"/>
                <a:cs typeface="+mn-ea"/>
              </a:rPr>
              <a:t>单击填加标题</a:t>
            </a:r>
            <a:endParaRPr lang="en-US" altLang="ko-KR" sz="1865" b="1" dirty="0">
              <a:solidFill>
                <a:srgbClr val="080808"/>
              </a:solidFill>
              <a:latin typeface="+mn-ea"/>
              <a:cs typeface="+mn-ea"/>
            </a:endParaRPr>
          </a:p>
          <a:p>
            <a:pPr marL="0" lvl="2" defTabSz="1217295" eaLnBrk="0" hangingPunct="0">
              <a:buClr>
                <a:srgbClr val="0070C0"/>
              </a:buClr>
              <a:buSzPct val="80000"/>
              <a:tabLst>
                <a:tab pos="181610" algn="l"/>
              </a:tabLst>
              <a:defRPr/>
            </a:pPr>
            <a:r>
              <a:rPr lang="zh-CN" altLang="en-US" sz="1465" spc="67" dirty="0">
                <a:ln w="11430"/>
                <a:solidFill>
                  <a:srgbClr val="080808"/>
                </a:solidFill>
                <a:latin typeface="+mn-ea"/>
                <a:cs typeface="+mn-ea"/>
              </a:rPr>
              <a:t>点击添加文本点击添加文本</a:t>
            </a:r>
            <a:endParaRPr lang="en-US" altLang="zh-CN" sz="1465" spc="67" dirty="0">
              <a:ln w="11430"/>
              <a:solidFill>
                <a:srgbClr val="080808"/>
              </a:solidFill>
              <a:latin typeface="+mn-ea"/>
              <a:cs typeface="+mn-ea"/>
            </a:endParaRPr>
          </a:p>
          <a:p>
            <a:endParaRPr lang="en-US" altLang="ko-KR" sz="1335" dirty="0">
              <a:solidFill>
                <a:srgbClr val="080808"/>
              </a:solidFill>
              <a:latin typeface="Arial" panose="020B0604020202020204" pitchFamily="34" charset="0"/>
              <a:cs typeface="+mn-ea"/>
            </a:endParaRPr>
          </a:p>
          <a:p>
            <a:r>
              <a:rPr lang="zh-CN" altLang="en-US" sz="1865" b="1" dirty="0">
                <a:solidFill>
                  <a:srgbClr val="080808"/>
                </a:solidFill>
                <a:latin typeface="+mn-ea"/>
                <a:cs typeface="+mn-ea"/>
              </a:rPr>
              <a:t>单击填加标题</a:t>
            </a:r>
            <a:endParaRPr lang="en-US" altLang="ko-KR" sz="1865" b="1" dirty="0">
              <a:solidFill>
                <a:srgbClr val="080808"/>
              </a:solidFill>
              <a:latin typeface="+mn-ea"/>
              <a:cs typeface="+mn-ea"/>
            </a:endParaRPr>
          </a:p>
          <a:p>
            <a:pPr marL="0" lvl="2" defTabSz="1217295" eaLnBrk="0" hangingPunct="0">
              <a:buClr>
                <a:srgbClr val="0070C0"/>
              </a:buClr>
              <a:buSzPct val="80000"/>
              <a:tabLst>
                <a:tab pos="181610" algn="l"/>
              </a:tabLst>
              <a:defRPr/>
            </a:pPr>
            <a:r>
              <a:rPr lang="zh-CN" altLang="en-US" sz="1465" spc="67" dirty="0">
                <a:ln w="11430"/>
                <a:solidFill>
                  <a:srgbClr val="080808"/>
                </a:solidFill>
                <a:latin typeface="+mn-ea"/>
                <a:cs typeface="+mn-ea"/>
              </a:rPr>
              <a:t>点击添加文本点击添加文本</a:t>
            </a:r>
            <a:endParaRPr lang="en-US" altLang="zh-CN" sz="1465" spc="67" dirty="0">
              <a:ln w="11430"/>
              <a:solidFill>
                <a:srgbClr val="080808"/>
              </a:solidFill>
              <a:latin typeface="+mn-ea"/>
              <a:cs typeface="+mn-ea"/>
            </a:endParaRPr>
          </a:p>
        </p:txBody>
      </p:sp>
      <p:grpSp>
        <p:nvGrpSpPr>
          <p:cNvPr id="14" name="组合 13"/>
          <p:cNvGrpSpPr/>
          <p:nvPr/>
        </p:nvGrpSpPr>
        <p:grpSpPr>
          <a:xfrm>
            <a:off x="5039787" y="3989952"/>
            <a:ext cx="1297516" cy="1258965"/>
            <a:chOff x="3779838" y="2992462"/>
            <a:chExt cx="973137" cy="973138"/>
          </a:xfrm>
          <a:solidFill>
            <a:schemeClr val="bg1"/>
          </a:solidFill>
        </p:grpSpPr>
        <p:sp>
          <p:nvSpPr>
            <p:cNvPr id="15" name="Oval 10"/>
            <p:cNvSpPr>
              <a:spLocks noChangeArrowheads="1"/>
            </p:cNvSpPr>
            <p:nvPr/>
          </p:nvSpPr>
          <p:spPr bwMode="auto">
            <a:xfrm>
              <a:off x="3779838" y="2992462"/>
              <a:ext cx="973137" cy="973138"/>
            </a:xfrm>
            <a:prstGeom prst="ellipse">
              <a:avLst/>
            </a:prstGeom>
            <a:solidFill>
              <a:srgbClr val="E46C0A"/>
            </a:solidFill>
            <a:ln w="28575" algn="ctr">
              <a:solidFill>
                <a:srgbClr val="F2F2F2"/>
              </a:solidFill>
              <a:round/>
            </a:ln>
            <a:effectLst>
              <a:outerShdw blurRad="88900" dist="75434" dir="2699997" algn="ctr" rotWithShape="0">
                <a:schemeClr val="bg2">
                  <a:alpha val="23000"/>
                </a:schemeClr>
              </a:outerShdw>
            </a:effectLst>
          </p:spPr>
          <p:txBody>
            <a:bodyPr wrap="none" anchor="ctr"/>
            <a:lstStyle/>
            <a:p>
              <a:endParaRPr lang="zh-CN" altLang="en-US" sz="2400">
                <a:solidFill>
                  <a:srgbClr val="000000"/>
                </a:solidFill>
                <a:cs typeface="+mn-ea"/>
              </a:endParaRPr>
            </a:p>
          </p:txBody>
        </p:sp>
        <p:sp>
          <p:nvSpPr>
            <p:cNvPr id="16" name="Text Box 46"/>
            <p:cNvSpPr txBox="1">
              <a:spLocks noChangeArrowheads="1"/>
            </p:cNvSpPr>
            <p:nvPr/>
          </p:nvSpPr>
          <p:spPr bwMode="auto">
            <a:xfrm>
              <a:off x="4058735" y="3265512"/>
              <a:ext cx="448681" cy="452012"/>
            </a:xfrm>
            <a:prstGeom prst="rect">
              <a:avLst/>
            </a:prstGeom>
            <a:noFill/>
            <a:ln w="9525" algn="ctr">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b="1" dirty="0">
                  <a:solidFill>
                    <a:srgbClr val="FFFFFF"/>
                  </a:solidFill>
                  <a:latin typeface="+mn-ea"/>
                  <a:cs typeface="+mn-ea"/>
                </a:rPr>
                <a:t>填加</a:t>
              </a:r>
              <a:endParaRPr lang="en-US" altLang="zh-CN" sz="1600" b="1" dirty="0">
                <a:solidFill>
                  <a:srgbClr val="FFFFFF"/>
                </a:solidFill>
                <a:latin typeface="+mn-ea"/>
                <a:cs typeface="+mn-ea"/>
              </a:endParaRPr>
            </a:p>
            <a:p>
              <a:pPr algn="ctr"/>
              <a:r>
                <a:rPr lang="zh-CN" altLang="en-US" sz="1600" b="1" dirty="0">
                  <a:solidFill>
                    <a:srgbClr val="FFFFFF"/>
                  </a:solidFill>
                  <a:latin typeface="+mn-ea"/>
                  <a:cs typeface="+mn-ea"/>
                </a:rPr>
                <a:t>标题</a:t>
              </a:r>
              <a:endParaRPr lang="en-US" altLang="ko-KR" sz="1600" b="1" dirty="0">
                <a:solidFill>
                  <a:srgbClr val="FFFFFF"/>
                </a:solidFill>
                <a:latin typeface="+mn-ea"/>
                <a:cs typeface="+mn-ea"/>
              </a:endParaRPr>
            </a:p>
          </p:txBody>
        </p:sp>
      </p:grpSp>
      <p:grpSp>
        <p:nvGrpSpPr>
          <p:cNvPr id="17" name="组合 16"/>
          <p:cNvGrpSpPr/>
          <p:nvPr/>
        </p:nvGrpSpPr>
        <p:grpSpPr>
          <a:xfrm>
            <a:off x="3505200" y="4855669"/>
            <a:ext cx="1297517" cy="1258964"/>
            <a:chOff x="2628900" y="3641749"/>
            <a:chExt cx="973138" cy="973137"/>
          </a:xfrm>
        </p:grpSpPr>
        <p:sp>
          <p:nvSpPr>
            <p:cNvPr id="18" name="Oval 5"/>
            <p:cNvSpPr>
              <a:spLocks noChangeArrowheads="1"/>
            </p:cNvSpPr>
            <p:nvPr/>
          </p:nvSpPr>
          <p:spPr bwMode="auto">
            <a:xfrm>
              <a:off x="2628900" y="3641749"/>
              <a:ext cx="973138" cy="973137"/>
            </a:xfrm>
            <a:prstGeom prst="ellipse">
              <a:avLst/>
            </a:prstGeom>
            <a:solidFill>
              <a:srgbClr val="254061"/>
            </a:solidFill>
            <a:ln w="28575" algn="ctr">
              <a:solidFill>
                <a:srgbClr val="F2F2F2"/>
              </a:solidFill>
              <a:round/>
            </a:ln>
            <a:effectLst>
              <a:outerShdw blurRad="88900" dist="75434" dir="2699997" algn="ctr" rotWithShape="0">
                <a:schemeClr val="tx1">
                  <a:alpha val="23000"/>
                </a:schemeClr>
              </a:outerShdw>
            </a:effectLst>
          </p:spPr>
          <p:txBody>
            <a:bodyPr wrap="none" anchor="ctr"/>
            <a:lstStyle/>
            <a:p>
              <a:endParaRPr lang="zh-CN" altLang="en-US" sz="2400">
                <a:solidFill>
                  <a:srgbClr val="000000"/>
                </a:solidFill>
                <a:cs typeface="+mn-ea"/>
              </a:endParaRPr>
            </a:p>
          </p:txBody>
        </p:sp>
        <p:sp>
          <p:nvSpPr>
            <p:cNvPr id="19" name="Text Box 47"/>
            <p:cNvSpPr txBox="1">
              <a:spLocks noChangeArrowheads="1"/>
            </p:cNvSpPr>
            <p:nvPr/>
          </p:nvSpPr>
          <p:spPr bwMode="auto">
            <a:xfrm>
              <a:off x="2887160" y="3914800"/>
              <a:ext cx="448681" cy="45201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b="1" dirty="0">
                  <a:solidFill>
                    <a:srgbClr val="FFFFFF"/>
                  </a:solidFill>
                  <a:latin typeface="+mn-ea"/>
                  <a:cs typeface="+mn-ea"/>
                </a:rPr>
                <a:t>填加</a:t>
              </a:r>
              <a:endParaRPr lang="en-US" altLang="zh-CN" sz="1600" b="1" dirty="0">
                <a:solidFill>
                  <a:srgbClr val="FFFFFF"/>
                </a:solidFill>
                <a:latin typeface="+mn-ea"/>
                <a:cs typeface="+mn-ea"/>
              </a:endParaRPr>
            </a:p>
            <a:p>
              <a:pPr algn="ctr"/>
              <a:r>
                <a:rPr lang="zh-CN" altLang="en-US" sz="1600" b="1" dirty="0">
                  <a:solidFill>
                    <a:srgbClr val="FFFFFF"/>
                  </a:solidFill>
                  <a:latin typeface="+mn-ea"/>
                  <a:cs typeface="+mn-ea"/>
                </a:rPr>
                <a:t>标题</a:t>
              </a:r>
              <a:endParaRPr lang="en-US" altLang="ko-KR" sz="1600" b="1" dirty="0">
                <a:solidFill>
                  <a:srgbClr val="FFFFFF"/>
                </a:solidFill>
                <a:latin typeface="+mn-ea"/>
                <a:cs typeface="+mn-ea"/>
              </a:endParaRPr>
            </a:p>
          </p:txBody>
        </p:sp>
      </p:grpSp>
      <p:grpSp>
        <p:nvGrpSpPr>
          <p:cNvPr id="20" name="组合 19"/>
          <p:cNvGrpSpPr/>
          <p:nvPr/>
        </p:nvGrpSpPr>
        <p:grpSpPr>
          <a:xfrm>
            <a:off x="8113187" y="2264870"/>
            <a:ext cx="1297516" cy="1258964"/>
            <a:chOff x="6084888" y="1698650"/>
            <a:chExt cx="973137" cy="973137"/>
          </a:xfrm>
        </p:grpSpPr>
        <p:sp>
          <p:nvSpPr>
            <p:cNvPr id="21" name="Oval 20"/>
            <p:cNvSpPr>
              <a:spLocks noChangeArrowheads="1"/>
            </p:cNvSpPr>
            <p:nvPr/>
          </p:nvSpPr>
          <p:spPr bwMode="auto">
            <a:xfrm>
              <a:off x="6084888" y="1698650"/>
              <a:ext cx="973137" cy="973137"/>
            </a:xfrm>
            <a:prstGeom prst="ellipse">
              <a:avLst/>
            </a:prstGeom>
            <a:solidFill>
              <a:srgbClr val="E46C0A"/>
            </a:solidFill>
            <a:ln w="28575" algn="ctr">
              <a:solidFill>
                <a:srgbClr val="F2F2F2"/>
              </a:solidFill>
              <a:round/>
            </a:ln>
            <a:effectLst>
              <a:outerShdw blurRad="88900" dist="75434" dir="2699997" algn="ctr" rotWithShape="0">
                <a:schemeClr val="bg2">
                  <a:alpha val="23000"/>
                </a:schemeClr>
              </a:outerShdw>
            </a:effectLst>
          </p:spPr>
          <p:txBody>
            <a:bodyPr wrap="none" anchor="ctr"/>
            <a:lstStyle/>
            <a:p>
              <a:endParaRPr lang="zh-CN" altLang="en-US" sz="2400">
                <a:solidFill>
                  <a:srgbClr val="000000"/>
                </a:solidFill>
                <a:cs typeface="+mn-ea"/>
              </a:endParaRPr>
            </a:p>
          </p:txBody>
        </p:sp>
        <p:sp>
          <p:nvSpPr>
            <p:cNvPr id="22" name="Text Box 48"/>
            <p:cNvSpPr txBox="1">
              <a:spLocks noChangeArrowheads="1"/>
            </p:cNvSpPr>
            <p:nvPr/>
          </p:nvSpPr>
          <p:spPr bwMode="auto">
            <a:xfrm>
              <a:off x="6352673" y="1970112"/>
              <a:ext cx="448681" cy="45201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b="1" dirty="0">
                  <a:solidFill>
                    <a:srgbClr val="FFFFFF"/>
                  </a:solidFill>
                  <a:latin typeface="+mn-ea"/>
                  <a:cs typeface="+mn-ea"/>
                </a:rPr>
                <a:t>填加</a:t>
              </a:r>
              <a:endParaRPr lang="en-US" altLang="zh-CN" sz="1600" b="1" dirty="0">
                <a:solidFill>
                  <a:srgbClr val="FFFFFF"/>
                </a:solidFill>
                <a:latin typeface="+mn-ea"/>
                <a:cs typeface="+mn-ea"/>
              </a:endParaRPr>
            </a:p>
            <a:p>
              <a:pPr algn="ctr"/>
              <a:r>
                <a:rPr lang="zh-CN" altLang="en-US" sz="1600" b="1" dirty="0">
                  <a:solidFill>
                    <a:srgbClr val="FFFFFF"/>
                  </a:solidFill>
                  <a:latin typeface="+mn-ea"/>
                  <a:cs typeface="+mn-ea"/>
                </a:rPr>
                <a:t>标题</a:t>
              </a:r>
              <a:endParaRPr lang="en-US" altLang="ko-KR" sz="1600" b="1" dirty="0">
                <a:solidFill>
                  <a:srgbClr val="FFFFFF"/>
                </a:solidFill>
                <a:latin typeface="+mn-ea"/>
                <a:cs typeface="+mn-ea"/>
              </a:endParaRPr>
            </a:p>
          </p:txBody>
        </p:sp>
      </p:grpSp>
      <p:grpSp>
        <p:nvGrpSpPr>
          <p:cNvPr id="23" name="组合 22"/>
          <p:cNvGrpSpPr/>
          <p:nvPr/>
        </p:nvGrpSpPr>
        <p:grpSpPr>
          <a:xfrm>
            <a:off x="6574367" y="3126351"/>
            <a:ext cx="1297517" cy="1258965"/>
            <a:chOff x="4930775" y="2344762"/>
            <a:chExt cx="973138" cy="973138"/>
          </a:xfrm>
        </p:grpSpPr>
        <p:sp>
          <p:nvSpPr>
            <p:cNvPr id="24" name="Oval 15"/>
            <p:cNvSpPr>
              <a:spLocks noChangeArrowheads="1"/>
            </p:cNvSpPr>
            <p:nvPr/>
          </p:nvSpPr>
          <p:spPr bwMode="auto">
            <a:xfrm>
              <a:off x="4930775" y="2344762"/>
              <a:ext cx="973138" cy="973138"/>
            </a:xfrm>
            <a:prstGeom prst="ellipse">
              <a:avLst/>
            </a:prstGeom>
            <a:solidFill>
              <a:srgbClr val="254061"/>
            </a:solidFill>
            <a:ln w="28575" algn="ctr">
              <a:solidFill>
                <a:srgbClr val="F2F2F2"/>
              </a:solidFill>
              <a:round/>
            </a:ln>
            <a:effectLst>
              <a:outerShdw blurRad="88900" dist="75434" dir="2699997" algn="ctr" rotWithShape="0">
                <a:schemeClr val="bg2">
                  <a:alpha val="23000"/>
                </a:schemeClr>
              </a:outerShdw>
            </a:effectLst>
          </p:spPr>
          <p:txBody>
            <a:bodyPr wrap="none" anchor="ctr"/>
            <a:lstStyle/>
            <a:p>
              <a:endParaRPr lang="zh-CN" altLang="en-US" sz="2400">
                <a:solidFill>
                  <a:srgbClr val="000000"/>
                </a:solidFill>
                <a:cs typeface="+mn-ea"/>
              </a:endParaRPr>
            </a:p>
          </p:txBody>
        </p:sp>
        <p:sp>
          <p:nvSpPr>
            <p:cNvPr id="25" name="Text Box 49"/>
            <p:cNvSpPr txBox="1">
              <a:spLocks noChangeArrowheads="1"/>
            </p:cNvSpPr>
            <p:nvPr/>
          </p:nvSpPr>
          <p:spPr bwMode="auto">
            <a:xfrm>
              <a:off x="5193797" y="2617812"/>
              <a:ext cx="448681" cy="45201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b="1" dirty="0">
                  <a:solidFill>
                    <a:srgbClr val="FFFFFF"/>
                  </a:solidFill>
                  <a:latin typeface="+mn-ea"/>
                  <a:cs typeface="+mn-ea"/>
                </a:rPr>
                <a:t>填加</a:t>
              </a:r>
              <a:endParaRPr lang="en-US" altLang="zh-CN" sz="1600" b="1" dirty="0">
                <a:solidFill>
                  <a:srgbClr val="FFFFFF"/>
                </a:solidFill>
                <a:latin typeface="+mn-ea"/>
                <a:cs typeface="+mn-ea"/>
              </a:endParaRPr>
            </a:p>
            <a:p>
              <a:pPr algn="ctr"/>
              <a:r>
                <a:rPr lang="zh-CN" altLang="en-US" sz="1600" b="1" dirty="0">
                  <a:solidFill>
                    <a:srgbClr val="FFFFFF"/>
                  </a:solidFill>
                  <a:latin typeface="+mn-ea"/>
                  <a:cs typeface="+mn-ea"/>
                </a:rPr>
                <a:t>标题</a:t>
              </a:r>
              <a:endParaRPr lang="en-US" altLang="ko-KR" sz="1600" b="1" dirty="0">
                <a:solidFill>
                  <a:srgbClr val="FFFFFF"/>
                </a:solidFill>
                <a:latin typeface="+mn-ea"/>
                <a:cs typeface="+mn-ea"/>
              </a:endParaRPr>
            </a:p>
          </p:txBody>
        </p:sp>
      </p:grpSp>
      <p:grpSp>
        <p:nvGrpSpPr>
          <p:cNvPr id="26" name="组合 25"/>
          <p:cNvGrpSpPr/>
          <p:nvPr/>
        </p:nvGrpSpPr>
        <p:grpSpPr>
          <a:xfrm>
            <a:off x="9647767" y="1399152"/>
            <a:ext cx="1297517" cy="1258965"/>
            <a:chOff x="7235825" y="1049362"/>
            <a:chExt cx="973138" cy="973138"/>
          </a:xfrm>
        </p:grpSpPr>
        <p:sp>
          <p:nvSpPr>
            <p:cNvPr id="27" name="Oval 25"/>
            <p:cNvSpPr>
              <a:spLocks noChangeArrowheads="1"/>
            </p:cNvSpPr>
            <p:nvPr/>
          </p:nvSpPr>
          <p:spPr bwMode="auto">
            <a:xfrm>
              <a:off x="7235825" y="1049362"/>
              <a:ext cx="973138" cy="973138"/>
            </a:xfrm>
            <a:prstGeom prst="ellipse">
              <a:avLst/>
            </a:prstGeom>
            <a:solidFill>
              <a:srgbClr val="254061"/>
            </a:solidFill>
            <a:ln w="28575" algn="ctr">
              <a:solidFill>
                <a:srgbClr val="F2F2F2"/>
              </a:solidFill>
              <a:round/>
            </a:ln>
            <a:effectLst>
              <a:outerShdw blurRad="88900" dist="75434" dir="2699997" algn="ctr" rotWithShape="0">
                <a:schemeClr val="bg2">
                  <a:alpha val="23000"/>
                </a:schemeClr>
              </a:outerShdw>
            </a:effectLst>
          </p:spPr>
          <p:txBody>
            <a:bodyPr wrap="none" anchor="ctr"/>
            <a:lstStyle/>
            <a:p>
              <a:endParaRPr lang="zh-CN" altLang="en-US" sz="2400">
                <a:solidFill>
                  <a:srgbClr val="000000"/>
                </a:solidFill>
                <a:cs typeface="+mn-ea"/>
              </a:endParaRPr>
            </a:p>
          </p:txBody>
        </p:sp>
        <p:sp>
          <p:nvSpPr>
            <p:cNvPr id="28" name="Text Box 50"/>
            <p:cNvSpPr txBox="1">
              <a:spLocks noChangeArrowheads="1"/>
            </p:cNvSpPr>
            <p:nvPr/>
          </p:nvSpPr>
          <p:spPr bwMode="auto">
            <a:xfrm>
              <a:off x="7481384" y="1322412"/>
              <a:ext cx="448681" cy="45201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b="1" dirty="0">
                  <a:solidFill>
                    <a:srgbClr val="FFFFFF"/>
                  </a:solidFill>
                  <a:latin typeface="+mn-ea"/>
                  <a:cs typeface="+mn-ea"/>
                </a:rPr>
                <a:t>填加</a:t>
              </a:r>
              <a:endParaRPr lang="en-US" altLang="zh-CN" sz="1600" b="1" dirty="0">
                <a:solidFill>
                  <a:srgbClr val="FFFFFF"/>
                </a:solidFill>
                <a:latin typeface="+mn-ea"/>
                <a:cs typeface="+mn-ea"/>
              </a:endParaRPr>
            </a:p>
            <a:p>
              <a:pPr algn="ctr"/>
              <a:r>
                <a:rPr lang="zh-CN" altLang="en-US" sz="1600" b="1" dirty="0">
                  <a:solidFill>
                    <a:srgbClr val="FFFFFF"/>
                  </a:solidFill>
                  <a:latin typeface="+mn-ea"/>
                  <a:cs typeface="+mn-ea"/>
                </a:rPr>
                <a:t>标题</a:t>
              </a:r>
              <a:endParaRPr lang="en-US" altLang="ko-KR" sz="1600" b="1" dirty="0">
                <a:solidFill>
                  <a:srgbClr val="FFFFFF"/>
                </a:solidFill>
                <a:latin typeface="+mn-ea"/>
                <a:cs typeface="+mn-ea"/>
              </a:endParaRPr>
            </a:p>
          </p:txBody>
        </p:sp>
      </p:grpSp>
      <p:sp>
        <p:nvSpPr>
          <p:cNvPr id="29"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0" name="文本框 29"/>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p:cTn id="11" dur="500" fill="hold"/>
                                        <p:tgtEl>
                                          <p:spTgt spid="17"/>
                                        </p:tgtEl>
                                        <p:attrNameLst>
                                          <p:attrName>ppt_w</p:attrName>
                                        </p:attrNameLst>
                                      </p:cBhvr>
                                      <p:tavLst>
                                        <p:tav tm="0">
                                          <p:val>
                                            <p:fltVal val="0"/>
                                          </p:val>
                                        </p:tav>
                                        <p:tav tm="100000">
                                          <p:val>
                                            <p:strVal val="#ppt_w"/>
                                          </p:val>
                                        </p:tav>
                                      </p:tavLst>
                                    </p:anim>
                                    <p:anim calcmode="lin" valueType="num">
                                      <p:cBhvr>
                                        <p:cTn id="12" dur="500" fill="hold"/>
                                        <p:tgtEl>
                                          <p:spTgt spid="17"/>
                                        </p:tgtEl>
                                        <p:attrNameLst>
                                          <p:attrName>ppt_h</p:attrName>
                                        </p:attrNameLst>
                                      </p:cBhvr>
                                      <p:tavLst>
                                        <p:tav tm="0">
                                          <p:val>
                                            <p:fltVal val="0"/>
                                          </p:val>
                                        </p:tav>
                                        <p:tav tm="100000">
                                          <p:val>
                                            <p:strVal val="#ppt_h"/>
                                          </p:val>
                                        </p:tav>
                                      </p:tavLst>
                                    </p:anim>
                                    <p:animEffect transition="in" filter="fade">
                                      <p:cBhvr>
                                        <p:cTn id="13" dur="500"/>
                                        <p:tgtEl>
                                          <p:spTgt spid="17"/>
                                        </p:tgtEl>
                                      </p:cBhvr>
                                    </p:animEffect>
                                  </p:childTnLst>
                                </p:cTn>
                              </p:par>
                            </p:childTnLst>
                          </p:cTn>
                        </p:par>
                        <p:par>
                          <p:cTn id="14" fill="hold">
                            <p:stCondLst>
                              <p:cond delay="1000"/>
                            </p:stCondLst>
                            <p:childTnLst>
                              <p:par>
                                <p:cTn id="15" presetID="53" presetClass="entr" presetSubtype="16"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p:cTn id="17" dur="500" fill="hold"/>
                                        <p:tgtEl>
                                          <p:spTgt spid="14"/>
                                        </p:tgtEl>
                                        <p:attrNameLst>
                                          <p:attrName>ppt_w</p:attrName>
                                        </p:attrNameLst>
                                      </p:cBhvr>
                                      <p:tavLst>
                                        <p:tav tm="0">
                                          <p:val>
                                            <p:fltVal val="0"/>
                                          </p:val>
                                        </p:tav>
                                        <p:tav tm="100000">
                                          <p:val>
                                            <p:strVal val="#ppt_w"/>
                                          </p:val>
                                        </p:tav>
                                      </p:tavLst>
                                    </p:anim>
                                    <p:anim calcmode="lin" valueType="num">
                                      <p:cBhvr>
                                        <p:cTn id="18" dur="500" fill="hold"/>
                                        <p:tgtEl>
                                          <p:spTgt spid="14"/>
                                        </p:tgtEl>
                                        <p:attrNameLst>
                                          <p:attrName>ppt_h</p:attrName>
                                        </p:attrNameLst>
                                      </p:cBhvr>
                                      <p:tavLst>
                                        <p:tav tm="0">
                                          <p:val>
                                            <p:fltVal val="0"/>
                                          </p:val>
                                        </p:tav>
                                        <p:tav tm="100000">
                                          <p:val>
                                            <p:strVal val="#ppt_h"/>
                                          </p:val>
                                        </p:tav>
                                      </p:tavLst>
                                    </p:anim>
                                    <p:animEffect transition="in" filter="fade">
                                      <p:cBhvr>
                                        <p:cTn id="19" dur="500"/>
                                        <p:tgtEl>
                                          <p:spTgt spid="14"/>
                                        </p:tgtEl>
                                      </p:cBhvr>
                                    </p:animEffect>
                                  </p:childTnLst>
                                </p:cTn>
                              </p:par>
                            </p:childTnLst>
                          </p:cTn>
                        </p:par>
                        <p:par>
                          <p:cTn id="20" fill="hold">
                            <p:stCondLst>
                              <p:cond delay="1500"/>
                            </p:stCondLst>
                            <p:childTnLst>
                              <p:par>
                                <p:cTn id="21" presetID="53" presetClass="entr" presetSubtype="16"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 calcmode="lin" valueType="num">
                                      <p:cBhvr>
                                        <p:cTn id="23" dur="500" fill="hold"/>
                                        <p:tgtEl>
                                          <p:spTgt spid="23"/>
                                        </p:tgtEl>
                                        <p:attrNameLst>
                                          <p:attrName>ppt_w</p:attrName>
                                        </p:attrNameLst>
                                      </p:cBhvr>
                                      <p:tavLst>
                                        <p:tav tm="0">
                                          <p:val>
                                            <p:fltVal val="0"/>
                                          </p:val>
                                        </p:tav>
                                        <p:tav tm="100000">
                                          <p:val>
                                            <p:strVal val="#ppt_w"/>
                                          </p:val>
                                        </p:tav>
                                      </p:tavLst>
                                    </p:anim>
                                    <p:anim calcmode="lin" valueType="num">
                                      <p:cBhvr>
                                        <p:cTn id="24" dur="500" fill="hold"/>
                                        <p:tgtEl>
                                          <p:spTgt spid="23"/>
                                        </p:tgtEl>
                                        <p:attrNameLst>
                                          <p:attrName>ppt_h</p:attrName>
                                        </p:attrNameLst>
                                      </p:cBhvr>
                                      <p:tavLst>
                                        <p:tav tm="0">
                                          <p:val>
                                            <p:fltVal val="0"/>
                                          </p:val>
                                        </p:tav>
                                        <p:tav tm="100000">
                                          <p:val>
                                            <p:strVal val="#ppt_h"/>
                                          </p:val>
                                        </p:tav>
                                      </p:tavLst>
                                    </p:anim>
                                    <p:animEffect transition="in" filter="fade">
                                      <p:cBhvr>
                                        <p:cTn id="25" dur="500"/>
                                        <p:tgtEl>
                                          <p:spTgt spid="23"/>
                                        </p:tgtEl>
                                      </p:cBhvr>
                                    </p:animEffect>
                                  </p:childTnLst>
                                </p:cTn>
                              </p:par>
                            </p:childTnLst>
                          </p:cTn>
                        </p:par>
                        <p:par>
                          <p:cTn id="26" fill="hold">
                            <p:stCondLst>
                              <p:cond delay="2000"/>
                            </p:stCondLst>
                            <p:childTnLst>
                              <p:par>
                                <p:cTn id="27" presetID="53" presetClass="entr" presetSubtype="16" fill="hold" nodeType="afterEffect">
                                  <p:stCondLst>
                                    <p:cond delay="0"/>
                                  </p:stCondLst>
                                  <p:childTnLst>
                                    <p:set>
                                      <p:cBhvr>
                                        <p:cTn id="28" dur="1" fill="hold">
                                          <p:stCondLst>
                                            <p:cond delay="0"/>
                                          </p:stCondLst>
                                        </p:cTn>
                                        <p:tgtEl>
                                          <p:spTgt spid="20"/>
                                        </p:tgtEl>
                                        <p:attrNameLst>
                                          <p:attrName>style.visibility</p:attrName>
                                        </p:attrNameLst>
                                      </p:cBhvr>
                                      <p:to>
                                        <p:strVal val="visible"/>
                                      </p:to>
                                    </p:set>
                                    <p:anim calcmode="lin" valueType="num">
                                      <p:cBhvr>
                                        <p:cTn id="29" dur="500" fill="hold"/>
                                        <p:tgtEl>
                                          <p:spTgt spid="20"/>
                                        </p:tgtEl>
                                        <p:attrNameLst>
                                          <p:attrName>ppt_w</p:attrName>
                                        </p:attrNameLst>
                                      </p:cBhvr>
                                      <p:tavLst>
                                        <p:tav tm="0">
                                          <p:val>
                                            <p:fltVal val="0"/>
                                          </p:val>
                                        </p:tav>
                                        <p:tav tm="100000">
                                          <p:val>
                                            <p:strVal val="#ppt_w"/>
                                          </p:val>
                                        </p:tav>
                                      </p:tavLst>
                                    </p:anim>
                                    <p:anim calcmode="lin" valueType="num">
                                      <p:cBhvr>
                                        <p:cTn id="30" dur="500" fill="hold"/>
                                        <p:tgtEl>
                                          <p:spTgt spid="20"/>
                                        </p:tgtEl>
                                        <p:attrNameLst>
                                          <p:attrName>ppt_h</p:attrName>
                                        </p:attrNameLst>
                                      </p:cBhvr>
                                      <p:tavLst>
                                        <p:tav tm="0">
                                          <p:val>
                                            <p:fltVal val="0"/>
                                          </p:val>
                                        </p:tav>
                                        <p:tav tm="100000">
                                          <p:val>
                                            <p:strVal val="#ppt_h"/>
                                          </p:val>
                                        </p:tav>
                                      </p:tavLst>
                                    </p:anim>
                                    <p:animEffect transition="in" filter="fade">
                                      <p:cBhvr>
                                        <p:cTn id="31" dur="500"/>
                                        <p:tgtEl>
                                          <p:spTgt spid="20"/>
                                        </p:tgtEl>
                                      </p:cBhvr>
                                    </p:animEffect>
                                  </p:childTnLst>
                                </p:cTn>
                              </p:par>
                            </p:childTnLst>
                          </p:cTn>
                        </p:par>
                        <p:par>
                          <p:cTn id="32" fill="hold">
                            <p:stCondLst>
                              <p:cond delay="2500"/>
                            </p:stCondLst>
                            <p:childTnLst>
                              <p:par>
                                <p:cTn id="33" presetID="22" presetClass="entr" presetSubtype="8"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left)">
                                      <p:cBhvr>
                                        <p:cTn id="35" dur="500"/>
                                        <p:tgtEl>
                                          <p:spTgt spid="12"/>
                                        </p:tgtEl>
                                      </p:cBhvr>
                                    </p:animEffect>
                                  </p:childTnLst>
                                </p:cTn>
                              </p:par>
                            </p:childTnLst>
                          </p:cTn>
                        </p:par>
                        <p:par>
                          <p:cTn id="36" fill="hold">
                            <p:stCondLst>
                              <p:cond delay="3000"/>
                            </p:stCondLst>
                            <p:childTnLst>
                              <p:par>
                                <p:cTn id="37" presetID="53" presetClass="entr" presetSubtype="16" fill="hold" nodeType="afterEffect">
                                  <p:stCondLst>
                                    <p:cond delay="0"/>
                                  </p:stCondLst>
                                  <p:childTnLst>
                                    <p:set>
                                      <p:cBhvr>
                                        <p:cTn id="38" dur="1" fill="hold">
                                          <p:stCondLst>
                                            <p:cond delay="0"/>
                                          </p:stCondLst>
                                        </p:cTn>
                                        <p:tgtEl>
                                          <p:spTgt spid="26"/>
                                        </p:tgtEl>
                                        <p:attrNameLst>
                                          <p:attrName>style.visibility</p:attrName>
                                        </p:attrNameLst>
                                      </p:cBhvr>
                                      <p:to>
                                        <p:strVal val="visible"/>
                                      </p:to>
                                    </p:set>
                                    <p:anim calcmode="lin" valueType="num">
                                      <p:cBhvr>
                                        <p:cTn id="39" dur="500" fill="hold"/>
                                        <p:tgtEl>
                                          <p:spTgt spid="26"/>
                                        </p:tgtEl>
                                        <p:attrNameLst>
                                          <p:attrName>ppt_w</p:attrName>
                                        </p:attrNameLst>
                                      </p:cBhvr>
                                      <p:tavLst>
                                        <p:tav tm="0">
                                          <p:val>
                                            <p:fltVal val="0"/>
                                          </p:val>
                                        </p:tav>
                                        <p:tav tm="100000">
                                          <p:val>
                                            <p:strVal val="#ppt_w"/>
                                          </p:val>
                                        </p:tav>
                                      </p:tavLst>
                                    </p:anim>
                                    <p:anim calcmode="lin" valueType="num">
                                      <p:cBhvr>
                                        <p:cTn id="40" dur="500" fill="hold"/>
                                        <p:tgtEl>
                                          <p:spTgt spid="26"/>
                                        </p:tgtEl>
                                        <p:attrNameLst>
                                          <p:attrName>ppt_h</p:attrName>
                                        </p:attrNameLst>
                                      </p:cBhvr>
                                      <p:tavLst>
                                        <p:tav tm="0">
                                          <p:val>
                                            <p:fltVal val="0"/>
                                          </p:val>
                                        </p:tav>
                                        <p:tav tm="100000">
                                          <p:val>
                                            <p:strVal val="#ppt_h"/>
                                          </p:val>
                                        </p:tav>
                                      </p:tavLst>
                                    </p:anim>
                                    <p:animEffect transition="in" filter="fade">
                                      <p:cBhvr>
                                        <p:cTn id="41" dur="500"/>
                                        <p:tgtEl>
                                          <p:spTgt spid="26"/>
                                        </p:tgtEl>
                                      </p:cBhvr>
                                    </p:animEffect>
                                  </p:childTnLst>
                                </p:cTn>
                              </p:par>
                            </p:childTnLst>
                          </p:cTn>
                        </p:par>
                        <p:par>
                          <p:cTn id="42" fill="hold">
                            <p:stCondLst>
                              <p:cond delay="3500"/>
                            </p:stCondLst>
                            <p:childTnLst>
                              <p:par>
                                <p:cTn id="43" presetID="22" presetClass="entr" presetSubtype="8" fill="hold" grpId="0" nodeType="after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wipe(left)">
                                      <p:cBhvr>
                                        <p:cTn id="45" dur="500"/>
                                        <p:tgtEl>
                                          <p:spTgt spid="11"/>
                                        </p:tgtEl>
                                      </p:cBhvr>
                                    </p:animEffect>
                                  </p:childTnLst>
                                </p:cTn>
                              </p:par>
                            </p:childTnLst>
                          </p:cTn>
                        </p:par>
                        <p:par>
                          <p:cTn id="46" fill="hold">
                            <p:stCondLst>
                              <p:cond delay="4000"/>
                            </p:stCondLst>
                            <p:childTnLst>
                              <p:par>
                                <p:cTn id="47" presetID="16" presetClass="entr" presetSubtype="21" fill="hold" grpId="0" nodeType="after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barn(inVertical)">
                                      <p:cBhvr>
                                        <p:cTn id="49" dur="500"/>
                                        <p:tgtEl>
                                          <p:spTgt spid="13"/>
                                        </p:tgtEl>
                                      </p:cBhvr>
                                    </p:animEffect>
                                  </p:childTnLst>
                                </p:cTn>
                              </p:par>
                            </p:childTnLst>
                          </p:cTn>
                        </p:par>
                        <p:par>
                          <p:cTn id="50" fill="hold">
                            <p:stCondLst>
                              <p:cond delay="4500"/>
                            </p:stCondLst>
                            <p:childTnLst>
                              <p:par>
                                <p:cTn id="51" presetID="22" presetClass="entr" presetSubtype="4" fill="hold" grpId="0" nodeType="after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wipe(down)">
                                      <p:cBhvr>
                                        <p:cTn id="53" dur="12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animBg="1"/>
      <p:bldP spid="13" grpId="0"/>
      <p:bldP spid="30"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组合 14"/>
          <p:cNvGrpSpPr/>
          <p:nvPr/>
        </p:nvGrpSpPr>
        <p:grpSpPr bwMode="auto">
          <a:xfrm>
            <a:off x="2506134" y="1761067"/>
            <a:ext cx="6949017" cy="3735917"/>
            <a:chOff x="2505075" y="1760538"/>
            <a:chExt cx="6950075" cy="3736975"/>
          </a:xfrm>
        </p:grpSpPr>
        <p:sp>
          <p:nvSpPr>
            <p:cNvPr id="16" name="文本框 35"/>
            <p:cNvSpPr txBox="1">
              <a:spLocks noChangeArrowheads="1"/>
            </p:cNvSpPr>
            <p:nvPr/>
          </p:nvSpPr>
          <p:spPr bwMode="auto">
            <a:xfrm>
              <a:off x="7870825" y="2208213"/>
              <a:ext cx="1584325" cy="37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254061"/>
                  </a:solidFill>
                  <a:latin typeface="Impact" panose="020B0806030902050204" pitchFamily="34" charset="0"/>
                  <a:ea typeface="+mn-ea"/>
                  <a:cs typeface="+mn-ea"/>
                </a:rPr>
                <a:t>标题文字</a:t>
              </a:r>
              <a:endParaRPr lang="zh-CN" altLang="en-US" sz="1865">
                <a:solidFill>
                  <a:srgbClr val="254061"/>
                </a:solidFill>
                <a:latin typeface="Impact" panose="020B0806030902050204" pitchFamily="34" charset="0"/>
                <a:ea typeface="+mn-ea"/>
                <a:cs typeface="+mn-ea"/>
              </a:endParaRPr>
            </a:p>
          </p:txBody>
        </p:sp>
        <p:sp>
          <p:nvSpPr>
            <p:cNvPr id="17" name="文本框 37"/>
            <p:cNvSpPr txBox="1">
              <a:spLocks noChangeArrowheads="1"/>
            </p:cNvSpPr>
            <p:nvPr/>
          </p:nvSpPr>
          <p:spPr bwMode="auto">
            <a:xfrm>
              <a:off x="7870825" y="4483101"/>
              <a:ext cx="1584325" cy="37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254061"/>
                  </a:solidFill>
                  <a:latin typeface="Impact" panose="020B0806030902050204" pitchFamily="34" charset="0"/>
                  <a:ea typeface="+mn-ea"/>
                  <a:cs typeface="+mn-ea"/>
                </a:rPr>
                <a:t>标题文字</a:t>
              </a:r>
              <a:endParaRPr lang="zh-CN" altLang="en-US" sz="1865">
                <a:solidFill>
                  <a:srgbClr val="254061"/>
                </a:solidFill>
                <a:latin typeface="Impact" panose="020B0806030902050204" pitchFamily="34" charset="0"/>
                <a:ea typeface="+mn-ea"/>
                <a:cs typeface="+mn-ea"/>
              </a:endParaRPr>
            </a:p>
          </p:txBody>
        </p:sp>
        <p:grpSp>
          <p:nvGrpSpPr>
            <p:cNvPr id="18" name="组合 6"/>
            <p:cNvGrpSpPr/>
            <p:nvPr/>
          </p:nvGrpSpPr>
          <p:grpSpPr bwMode="auto">
            <a:xfrm>
              <a:off x="3891703" y="1760538"/>
              <a:ext cx="3738602" cy="3736975"/>
              <a:chOff x="843803" y="2055535"/>
              <a:chExt cx="3738291" cy="3736664"/>
            </a:xfrm>
          </p:grpSpPr>
          <p:sp>
            <p:nvSpPr>
              <p:cNvPr id="25" name="椭圆 24"/>
              <p:cNvSpPr/>
              <p:nvPr/>
            </p:nvSpPr>
            <p:spPr>
              <a:xfrm>
                <a:off x="843803" y="2055535"/>
                <a:ext cx="3738291" cy="3736664"/>
              </a:xfrm>
              <a:prstGeom prst="ellipse">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endParaRPr lang="zh-CN" altLang="en-US" sz="1400" b="1">
                  <a:solidFill>
                    <a:schemeClr val="tx2"/>
                  </a:solidFill>
                  <a:latin typeface="+mn-ea"/>
                  <a:cs typeface="+mn-ea"/>
                </a:endParaRPr>
              </a:p>
            </p:txBody>
          </p:sp>
          <p:grpSp>
            <p:nvGrpSpPr>
              <p:cNvPr id="23" name="组合 17"/>
              <p:cNvGrpSpPr/>
              <p:nvPr/>
            </p:nvGrpSpPr>
            <p:grpSpPr bwMode="auto">
              <a:xfrm>
                <a:off x="1343371" y="2555168"/>
                <a:ext cx="2739155" cy="2737399"/>
                <a:chOff x="1271344" y="1485710"/>
                <a:chExt cx="3240520" cy="3238443"/>
              </a:xfrm>
            </p:grpSpPr>
            <p:sp>
              <p:nvSpPr>
                <p:cNvPr id="26" name="空心弧 25"/>
                <p:cNvSpPr/>
                <p:nvPr/>
              </p:nvSpPr>
              <p:spPr>
                <a:xfrm>
                  <a:off x="1271344" y="1485710"/>
                  <a:ext cx="3240520" cy="3238441"/>
                </a:xfrm>
                <a:prstGeom prst="blockArc">
                  <a:avLst>
                    <a:gd name="adj1" fmla="val 17182313"/>
                    <a:gd name="adj2" fmla="val 21420822"/>
                    <a:gd name="adj3" fmla="val 10566"/>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2060"/>
                    </a:solidFill>
                    <a:latin typeface="+mn-ea"/>
                    <a:cs typeface="+mn-ea"/>
                  </a:endParaRPr>
                </a:p>
              </p:txBody>
            </p:sp>
            <p:sp>
              <p:nvSpPr>
                <p:cNvPr id="27" name="空心弧 26"/>
                <p:cNvSpPr/>
                <p:nvPr/>
              </p:nvSpPr>
              <p:spPr>
                <a:xfrm>
                  <a:off x="1271344" y="1485710"/>
                  <a:ext cx="3240520" cy="3238441"/>
                </a:xfrm>
                <a:prstGeom prst="blockArc">
                  <a:avLst>
                    <a:gd name="adj1" fmla="val 4021826"/>
                    <a:gd name="adj2" fmla="val 16961960"/>
                    <a:gd name="adj3" fmla="val 11041"/>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2060"/>
                    </a:solidFill>
                    <a:latin typeface="+mn-ea"/>
                    <a:cs typeface="+mn-ea"/>
                  </a:endParaRPr>
                </a:p>
              </p:txBody>
            </p:sp>
            <p:sp>
              <p:nvSpPr>
                <p:cNvPr id="28" name="空心弧 27"/>
                <p:cNvSpPr/>
                <p:nvPr/>
              </p:nvSpPr>
              <p:spPr>
                <a:xfrm>
                  <a:off x="1271344" y="1485710"/>
                  <a:ext cx="3240520" cy="3238441"/>
                </a:xfrm>
                <a:prstGeom prst="blockArc">
                  <a:avLst>
                    <a:gd name="adj1" fmla="val 21560640"/>
                    <a:gd name="adj2" fmla="val 3879543"/>
                    <a:gd name="adj3" fmla="val 10788"/>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2060"/>
                    </a:solidFill>
                    <a:latin typeface="+mn-ea"/>
                    <a:cs typeface="+mn-ea"/>
                  </a:endParaRPr>
                </a:p>
              </p:txBody>
            </p:sp>
          </p:grpSp>
          <p:sp>
            <p:nvSpPr>
              <p:cNvPr id="24" name="文本框 38"/>
              <p:cNvSpPr txBox="1">
                <a:spLocks noChangeArrowheads="1"/>
              </p:cNvSpPr>
              <p:nvPr/>
            </p:nvSpPr>
            <p:spPr bwMode="auto">
              <a:xfrm>
                <a:off x="1920895" y="3739199"/>
                <a:ext cx="1584176" cy="379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254061"/>
                    </a:solidFill>
                    <a:latin typeface="Impact" panose="020B0806030902050204" pitchFamily="34" charset="0"/>
                    <a:ea typeface="+mn-ea"/>
                    <a:cs typeface="+mn-ea"/>
                  </a:rPr>
                  <a:t>标题 文字</a:t>
                </a:r>
                <a:endParaRPr lang="zh-CN" altLang="en-US" sz="1865">
                  <a:solidFill>
                    <a:srgbClr val="254061"/>
                  </a:solidFill>
                  <a:latin typeface="Impact" panose="020B0806030902050204" pitchFamily="34" charset="0"/>
                  <a:ea typeface="+mn-ea"/>
                  <a:cs typeface="+mn-ea"/>
                </a:endParaRPr>
              </a:p>
            </p:txBody>
          </p:sp>
        </p:grpSp>
        <p:sp>
          <p:nvSpPr>
            <p:cNvPr id="19" name="任意多边形 18"/>
            <p:cNvSpPr/>
            <p:nvPr/>
          </p:nvSpPr>
          <p:spPr>
            <a:xfrm>
              <a:off x="6775042" y="2391483"/>
              <a:ext cx="1350639" cy="351466"/>
            </a:xfrm>
            <a:custGeom>
              <a:avLst/>
              <a:gdLst>
                <a:gd name="connsiteX0" fmla="*/ 0 w 1350499"/>
                <a:gd name="connsiteY0" fmla="*/ 351693 h 351693"/>
                <a:gd name="connsiteX1" fmla="*/ 351693 w 1350499"/>
                <a:gd name="connsiteY1" fmla="*/ 0 h 351693"/>
                <a:gd name="connsiteX2" fmla="*/ 1350499 w 1350499"/>
                <a:gd name="connsiteY2" fmla="*/ 0 h 351693"/>
              </a:gdLst>
              <a:ahLst/>
              <a:cxnLst>
                <a:cxn ang="0">
                  <a:pos x="connsiteX0" y="connsiteY0"/>
                </a:cxn>
                <a:cxn ang="0">
                  <a:pos x="connsiteX1" y="connsiteY1"/>
                </a:cxn>
                <a:cxn ang="0">
                  <a:pos x="connsiteX2" y="connsiteY2"/>
                </a:cxn>
              </a:cxnLst>
              <a:rect l="l" t="t" r="r" b="b"/>
              <a:pathLst>
                <a:path w="1350499" h="351693">
                  <a:moveTo>
                    <a:pt x="0" y="351693"/>
                  </a:moveTo>
                  <a:lnTo>
                    <a:pt x="351693" y="0"/>
                  </a:lnTo>
                  <a:lnTo>
                    <a:pt x="1350499" y="0"/>
                  </a:lnTo>
                </a:path>
              </a:pathLst>
            </a:custGeom>
            <a:noFill/>
            <a:ln w="3175">
              <a:solidFill>
                <a:srgbClr val="25406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2060"/>
                </a:solidFill>
                <a:cs typeface="+mn-ea"/>
              </a:endParaRPr>
            </a:p>
          </p:txBody>
        </p:sp>
        <p:sp>
          <p:nvSpPr>
            <p:cNvPr id="20" name="任意多边形 19"/>
            <p:cNvSpPr/>
            <p:nvPr/>
          </p:nvSpPr>
          <p:spPr>
            <a:xfrm flipV="1">
              <a:off x="6775042" y="4316079"/>
              <a:ext cx="1350639" cy="353583"/>
            </a:xfrm>
            <a:custGeom>
              <a:avLst/>
              <a:gdLst>
                <a:gd name="connsiteX0" fmla="*/ 0 w 1350499"/>
                <a:gd name="connsiteY0" fmla="*/ 351693 h 351693"/>
                <a:gd name="connsiteX1" fmla="*/ 351693 w 1350499"/>
                <a:gd name="connsiteY1" fmla="*/ 0 h 351693"/>
                <a:gd name="connsiteX2" fmla="*/ 1350499 w 1350499"/>
                <a:gd name="connsiteY2" fmla="*/ 0 h 351693"/>
              </a:gdLst>
              <a:ahLst/>
              <a:cxnLst>
                <a:cxn ang="0">
                  <a:pos x="connsiteX0" y="connsiteY0"/>
                </a:cxn>
                <a:cxn ang="0">
                  <a:pos x="connsiteX1" y="connsiteY1"/>
                </a:cxn>
                <a:cxn ang="0">
                  <a:pos x="connsiteX2" y="connsiteY2"/>
                </a:cxn>
              </a:cxnLst>
              <a:rect l="l" t="t" r="r" b="b"/>
              <a:pathLst>
                <a:path w="1350499" h="351693">
                  <a:moveTo>
                    <a:pt x="0" y="351693"/>
                  </a:moveTo>
                  <a:lnTo>
                    <a:pt x="351693" y="0"/>
                  </a:lnTo>
                  <a:lnTo>
                    <a:pt x="1350499" y="0"/>
                  </a:lnTo>
                </a:path>
              </a:pathLst>
            </a:custGeom>
            <a:noFill/>
            <a:ln w="3175">
              <a:solidFill>
                <a:srgbClr val="25406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2060"/>
                </a:solidFill>
                <a:cs typeface="+mn-ea"/>
              </a:endParaRPr>
            </a:p>
          </p:txBody>
        </p:sp>
        <p:sp>
          <p:nvSpPr>
            <p:cNvPr id="21" name="任意多边形 20"/>
            <p:cNvSpPr/>
            <p:nvPr/>
          </p:nvSpPr>
          <p:spPr>
            <a:xfrm>
              <a:off x="3794322" y="2194578"/>
              <a:ext cx="1223620" cy="438273"/>
            </a:xfrm>
            <a:custGeom>
              <a:avLst/>
              <a:gdLst>
                <a:gd name="connsiteX0" fmla="*/ 1223889 w 1223889"/>
                <a:gd name="connsiteY0" fmla="*/ 436098 h 436098"/>
                <a:gd name="connsiteX1" fmla="*/ 787791 w 1223889"/>
                <a:gd name="connsiteY1" fmla="*/ 0 h 436098"/>
                <a:gd name="connsiteX2" fmla="*/ 0 w 1223889"/>
                <a:gd name="connsiteY2" fmla="*/ 0 h 436098"/>
              </a:gdLst>
              <a:ahLst/>
              <a:cxnLst>
                <a:cxn ang="0">
                  <a:pos x="connsiteX0" y="connsiteY0"/>
                </a:cxn>
                <a:cxn ang="0">
                  <a:pos x="connsiteX1" y="connsiteY1"/>
                </a:cxn>
                <a:cxn ang="0">
                  <a:pos x="connsiteX2" y="connsiteY2"/>
                </a:cxn>
              </a:cxnLst>
              <a:rect l="l" t="t" r="r" b="b"/>
              <a:pathLst>
                <a:path w="1223889" h="436098">
                  <a:moveTo>
                    <a:pt x="1223889" y="436098"/>
                  </a:moveTo>
                  <a:lnTo>
                    <a:pt x="787791" y="0"/>
                  </a:lnTo>
                  <a:lnTo>
                    <a:pt x="0" y="0"/>
                  </a:lnTo>
                </a:path>
              </a:pathLst>
            </a:custGeom>
            <a:noFill/>
            <a:ln w="3175">
              <a:solidFill>
                <a:srgbClr val="25406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b="1">
                <a:ln w="12700">
                  <a:solidFill>
                    <a:schemeClr val="tx2">
                      <a:satMod val="155000"/>
                    </a:schemeClr>
                  </a:solidFill>
                  <a:prstDash val="solid"/>
                </a:ln>
                <a:solidFill>
                  <a:srgbClr val="002060"/>
                </a:solidFill>
                <a:effectLst>
                  <a:outerShdw blurRad="41275" dist="20320" dir="1800000" algn="tl" rotWithShape="0">
                    <a:srgbClr val="000000">
                      <a:alpha val="40000"/>
                    </a:srgbClr>
                  </a:outerShdw>
                </a:effectLst>
                <a:cs typeface="+mn-ea"/>
              </a:endParaRPr>
            </a:p>
          </p:txBody>
        </p:sp>
        <p:sp>
          <p:nvSpPr>
            <p:cNvPr id="22" name="文本框 39"/>
            <p:cNvSpPr txBox="1">
              <a:spLocks noChangeArrowheads="1"/>
            </p:cNvSpPr>
            <p:nvPr/>
          </p:nvSpPr>
          <p:spPr bwMode="auto">
            <a:xfrm>
              <a:off x="2505075" y="2022475"/>
              <a:ext cx="1584325" cy="37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254061"/>
                  </a:solidFill>
                  <a:latin typeface="Impact" panose="020B0806030902050204" pitchFamily="34" charset="0"/>
                  <a:ea typeface="+mn-ea"/>
                  <a:cs typeface="+mn-ea"/>
                </a:rPr>
                <a:t>标题文字</a:t>
              </a:r>
              <a:endParaRPr lang="zh-CN" altLang="en-US" sz="1865">
                <a:solidFill>
                  <a:srgbClr val="254061"/>
                </a:solidFill>
                <a:latin typeface="Impact" panose="020B0806030902050204" pitchFamily="34" charset="0"/>
                <a:ea typeface="+mn-ea"/>
                <a:cs typeface="+mn-ea"/>
              </a:endParaRPr>
            </a:p>
          </p:txBody>
        </p:sp>
      </p:grpSp>
      <p:grpSp>
        <p:nvGrpSpPr>
          <p:cNvPr id="29" name="组合 28"/>
          <p:cNvGrpSpPr/>
          <p:nvPr/>
        </p:nvGrpSpPr>
        <p:grpSpPr bwMode="auto">
          <a:xfrm>
            <a:off x="664634" y="1699684"/>
            <a:ext cx="10797117" cy="3546919"/>
            <a:chOff x="664483" y="1699070"/>
            <a:chExt cx="10796362" cy="3547375"/>
          </a:xfrm>
        </p:grpSpPr>
        <p:sp>
          <p:nvSpPr>
            <p:cNvPr id="30" name="矩形 33"/>
            <p:cNvSpPr>
              <a:spLocks noChangeArrowheads="1"/>
            </p:cNvSpPr>
            <p:nvPr/>
          </p:nvSpPr>
          <p:spPr bwMode="auto">
            <a:xfrm>
              <a:off x="664483" y="1699070"/>
              <a:ext cx="2174875" cy="1108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a:t>
              </a:r>
              <a:endParaRPr lang="zh-CN" altLang="en-US" sz="1465">
                <a:solidFill>
                  <a:srgbClr val="969696"/>
                </a:solidFill>
                <a:latin typeface="+mn-ea"/>
                <a:ea typeface="+mn-ea"/>
                <a:cs typeface="+mn-ea"/>
              </a:endParaRPr>
            </a:p>
          </p:txBody>
        </p:sp>
        <p:sp>
          <p:nvSpPr>
            <p:cNvPr id="34" name="矩形 33"/>
            <p:cNvSpPr>
              <a:spLocks noChangeArrowheads="1"/>
            </p:cNvSpPr>
            <p:nvPr/>
          </p:nvSpPr>
          <p:spPr bwMode="auto">
            <a:xfrm>
              <a:off x="9285970" y="1861450"/>
              <a:ext cx="2174875" cy="1108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a:t>
              </a:r>
              <a:endParaRPr lang="zh-CN" altLang="en-US" sz="1465">
                <a:solidFill>
                  <a:srgbClr val="969696"/>
                </a:solidFill>
                <a:latin typeface="+mn-ea"/>
                <a:ea typeface="+mn-ea"/>
                <a:cs typeface="+mn-ea"/>
              </a:endParaRPr>
            </a:p>
          </p:txBody>
        </p:sp>
        <p:sp>
          <p:nvSpPr>
            <p:cNvPr id="35" name="矩形 33"/>
            <p:cNvSpPr>
              <a:spLocks noChangeArrowheads="1"/>
            </p:cNvSpPr>
            <p:nvPr/>
          </p:nvSpPr>
          <p:spPr bwMode="auto">
            <a:xfrm>
              <a:off x="9285970" y="4137923"/>
              <a:ext cx="2174875" cy="1108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a:t>
              </a:r>
              <a:endParaRPr lang="zh-CN" altLang="en-US" sz="1465">
                <a:solidFill>
                  <a:srgbClr val="969696"/>
                </a:solidFill>
                <a:latin typeface="+mn-ea"/>
                <a:ea typeface="+mn-ea"/>
                <a:cs typeface="+mn-ea"/>
              </a:endParaRPr>
            </a:p>
          </p:txBody>
        </p:sp>
      </p:grpSp>
      <p:sp>
        <p:nvSpPr>
          <p:cNvPr id="36"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7" name="文本框 36"/>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1000"/>
                                        <p:tgtEl>
                                          <p:spTgt spid="29"/>
                                        </p:tgtEl>
                                      </p:cBhvr>
                                    </p:animEffect>
                                    <p:anim calcmode="lin" valueType="num">
                                      <p:cBhvr>
                                        <p:cTn id="14" dur="1000" fill="hold"/>
                                        <p:tgtEl>
                                          <p:spTgt spid="29"/>
                                        </p:tgtEl>
                                        <p:attrNameLst>
                                          <p:attrName>ppt_x</p:attrName>
                                        </p:attrNameLst>
                                      </p:cBhvr>
                                      <p:tavLst>
                                        <p:tav tm="0">
                                          <p:val>
                                            <p:strVal val="#ppt_x"/>
                                          </p:val>
                                        </p:tav>
                                        <p:tav tm="100000">
                                          <p:val>
                                            <p:strVal val="#ppt_x"/>
                                          </p:val>
                                        </p:tav>
                                      </p:tavLst>
                                    </p:anim>
                                    <p:anim calcmode="lin" valueType="num">
                                      <p:cBhvr>
                                        <p:cTn id="15" dur="1000" fill="hold"/>
                                        <p:tgtEl>
                                          <p:spTgt spid="29"/>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ipe(down)">
                                      <p:cBhvr>
                                        <p:cTn id="19" dur="12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1631951" y="1650968"/>
            <a:ext cx="2167468" cy="2233082"/>
            <a:chOff x="1631950" y="1268413"/>
            <a:chExt cx="2166939" cy="2232025"/>
          </a:xfrm>
        </p:grpSpPr>
        <p:sp>
          <p:nvSpPr>
            <p:cNvPr id="6" name="矩形 5"/>
            <p:cNvSpPr/>
            <p:nvPr/>
          </p:nvSpPr>
          <p:spPr>
            <a:xfrm flipV="1">
              <a:off x="1631950" y="3140775"/>
              <a:ext cx="2158473" cy="359663"/>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7" name="泪滴形 6"/>
            <p:cNvSpPr/>
            <p:nvPr/>
          </p:nvSpPr>
          <p:spPr>
            <a:xfrm rot="16200000" flipH="1">
              <a:off x="1998252" y="1268205"/>
              <a:ext cx="1800430" cy="1800845"/>
            </a:xfrm>
            <a:prstGeom prst="teardrop">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8" name="文本框 54"/>
            <p:cNvSpPr txBox="1">
              <a:spLocks noChangeArrowheads="1"/>
            </p:cNvSpPr>
            <p:nvPr/>
          </p:nvSpPr>
          <p:spPr bwMode="auto">
            <a:xfrm>
              <a:off x="2425700" y="1443038"/>
              <a:ext cx="1008062" cy="420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135" dirty="0">
                  <a:solidFill>
                    <a:srgbClr val="FFFFFF"/>
                  </a:solidFill>
                  <a:latin typeface="+mn-ea"/>
                  <a:ea typeface="+mn-ea"/>
                  <a:cs typeface="+mn-ea"/>
                </a:rPr>
                <a:t>28%</a:t>
              </a:r>
              <a:endParaRPr lang="zh-CN" altLang="en-US" sz="2135" dirty="0">
                <a:solidFill>
                  <a:srgbClr val="FFFFFF"/>
                </a:solidFill>
                <a:latin typeface="+mn-ea"/>
                <a:ea typeface="+mn-ea"/>
                <a:cs typeface="+mn-ea"/>
              </a:endParaRPr>
            </a:p>
          </p:txBody>
        </p:sp>
        <p:sp>
          <p:nvSpPr>
            <p:cNvPr id="9" name="文本框 55"/>
            <p:cNvSpPr txBox="1">
              <a:spLocks noChangeArrowheads="1"/>
            </p:cNvSpPr>
            <p:nvPr/>
          </p:nvSpPr>
          <p:spPr bwMode="auto">
            <a:xfrm>
              <a:off x="1998663" y="2016125"/>
              <a:ext cx="1679575" cy="922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lnSpc>
                  <a:spcPct val="150000"/>
                </a:lnSpc>
                <a:spcBef>
                  <a:spcPts val="1335"/>
                </a:spcBef>
                <a:buFont typeface="Arial" panose="020B0604020202020204" pitchFamily="34" charset="0"/>
                <a:buChar char="•"/>
              </a:pPr>
              <a:r>
                <a:rPr lang="zh-CN" altLang="en-US" sz="1200">
                  <a:solidFill>
                    <a:srgbClr val="FFFFFF"/>
                  </a:solidFill>
                  <a:latin typeface="+mn-ea"/>
                  <a:ea typeface="+mn-ea"/>
                  <a:cs typeface="+mn-ea"/>
                </a:rPr>
                <a:t>单击此处添加段落文本单击此处添加段落文本单击</a:t>
              </a:r>
              <a:endParaRPr lang="zh-CN" altLang="en-US" sz="1200">
                <a:solidFill>
                  <a:srgbClr val="FFFFFF"/>
                </a:solidFill>
                <a:latin typeface="+mn-ea"/>
                <a:ea typeface="+mn-ea"/>
                <a:cs typeface="+mn-ea"/>
              </a:endParaRPr>
            </a:p>
          </p:txBody>
        </p:sp>
      </p:grpSp>
      <p:grpSp>
        <p:nvGrpSpPr>
          <p:cNvPr id="10" name="组合 9"/>
          <p:cNvGrpSpPr/>
          <p:nvPr/>
        </p:nvGrpSpPr>
        <p:grpSpPr bwMode="auto">
          <a:xfrm>
            <a:off x="3839633" y="1650968"/>
            <a:ext cx="2159000" cy="2233082"/>
            <a:chOff x="3840163" y="1268413"/>
            <a:chExt cx="2159000" cy="2232025"/>
          </a:xfrm>
        </p:grpSpPr>
        <p:sp>
          <p:nvSpPr>
            <p:cNvPr id="11" name="矩形 10"/>
            <p:cNvSpPr/>
            <p:nvPr/>
          </p:nvSpPr>
          <p:spPr>
            <a:xfrm flipV="1">
              <a:off x="3840163" y="3140775"/>
              <a:ext cx="2159000" cy="359663"/>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12" name="泪滴形 11"/>
            <p:cNvSpPr/>
            <p:nvPr/>
          </p:nvSpPr>
          <p:spPr>
            <a:xfrm rot="16200000" flipH="1">
              <a:off x="4171850" y="1269044"/>
              <a:ext cx="1800430" cy="1799167"/>
            </a:xfrm>
            <a:prstGeom prst="teardrop">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3" name="文本框 56"/>
            <p:cNvSpPr txBox="1">
              <a:spLocks noChangeArrowheads="1"/>
            </p:cNvSpPr>
            <p:nvPr/>
          </p:nvSpPr>
          <p:spPr bwMode="auto">
            <a:xfrm>
              <a:off x="4591050" y="1443038"/>
              <a:ext cx="1008063" cy="420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135" dirty="0">
                  <a:solidFill>
                    <a:srgbClr val="FFFFFF"/>
                  </a:solidFill>
                  <a:latin typeface="+mn-ea"/>
                  <a:ea typeface="+mn-ea"/>
                  <a:cs typeface="+mn-ea"/>
                </a:rPr>
                <a:t>28%</a:t>
              </a:r>
              <a:endParaRPr lang="zh-CN" altLang="en-US" sz="2135" dirty="0">
                <a:solidFill>
                  <a:srgbClr val="FFFFFF"/>
                </a:solidFill>
                <a:latin typeface="+mn-ea"/>
                <a:ea typeface="+mn-ea"/>
                <a:cs typeface="+mn-ea"/>
              </a:endParaRPr>
            </a:p>
          </p:txBody>
        </p:sp>
        <p:sp>
          <p:nvSpPr>
            <p:cNvPr id="14" name="文本框 55"/>
            <p:cNvSpPr txBox="1">
              <a:spLocks noChangeArrowheads="1"/>
            </p:cNvSpPr>
            <p:nvPr/>
          </p:nvSpPr>
          <p:spPr bwMode="auto">
            <a:xfrm>
              <a:off x="4171950" y="2016125"/>
              <a:ext cx="1679575" cy="922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lnSpc>
                  <a:spcPct val="150000"/>
                </a:lnSpc>
                <a:spcBef>
                  <a:spcPts val="1335"/>
                </a:spcBef>
                <a:buFont typeface="Arial" panose="020B0604020202020204" pitchFamily="34" charset="0"/>
                <a:buChar char="•"/>
              </a:pPr>
              <a:r>
                <a:rPr lang="zh-CN" altLang="en-US" sz="1200">
                  <a:solidFill>
                    <a:srgbClr val="FFFFFF"/>
                  </a:solidFill>
                  <a:latin typeface="+mn-ea"/>
                  <a:ea typeface="+mn-ea"/>
                  <a:cs typeface="+mn-ea"/>
                </a:rPr>
                <a:t>单击此处添加段落文本单击此处添加段落文本单击</a:t>
              </a:r>
              <a:endParaRPr lang="zh-CN" altLang="en-US" sz="1200">
                <a:solidFill>
                  <a:srgbClr val="FFFFFF"/>
                </a:solidFill>
                <a:latin typeface="+mn-ea"/>
                <a:ea typeface="+mn-ea"/>
                <a:cs typeface="+mn-ea"/>
              </a:endParaRPr>
            </a:p>
          </p:txBody>
        </p:sp>
      </p:grpSp>
      <p:grpSp>
        <p:nvGrpSpPr>
          <p:cNvPr id="15" name="组合 14"/>
          <p:cNvGrpSpPr/>
          <p:nvPr/>
        </p:nvGrpSpPr>
        <p:grpSpPr bwMode="auto">
          <a:xfrm>
            <a:off x="6047317" y="1650968"/>
            <a:ext cx="2159000" cy="2233082"/>
            <a:chOff x="6048375" y="1268413"/>
            <a:chExt cx="2159000" cy="2232025"/>
          </a:xfrm>
        </p:grpSpPr>
        <p:sp>
          <p:nvSpPr>
            <p:cNvPr id="16" name="矩形 15"/>
            <p:cNvSpPr/>
            <p:nvPr/>
          </p:nvSpPr>
          <p:spPr>
            <a:xfrm flipV="1">
              <a:off x="6048375" y="3140775"/>
              <a:ext cx="2159000" cy="359663"/>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17" name="泪滴形 16"/>
            <p:cNvSpPr/>
            <p:nvPr/>
          </p:nvSpPr>
          <p:spPr>
            <a:xfrm rot="16200000" flipH="1">
              <a:off x="6337727" y="1269044"/>
              <a:ext cx="1800430" cy="1799167"/>
            </a:xfrm>
            <a:prstGeom prst="teardrop">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8" name="文本框 58"/>
            <p:cNvSpPr txBox="1">
              <a:spLocks noChangeArrowheads="1"/>
            </p:cNvSpPr>
            <p:nvPr/>
          </p:nvSpPr>
          <p:spPr bwMode="auto">
            <a:xfrm>
              <a:off x="6783388" y="1443038"/>
              <a:ext cx="1008063" cy="420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135" dirty="0">
                  <a:solidFill>
                    <a:srgbClr val="FFFFFF"/>
                  </a:solidFill>
                  <a:latin typeface="+mn-ea"/>
                  <a:ea typeface="+mn-ea"/>
                  <a:cs typeface="+mn-ea"/>
                </a:rPr>
                <a:t>28%</a:t>
              </a:r>
              <a:endParaRPr lang="zh-CN" altLang="en-US" sz="2135" dirty="0">
                <a:solidFill>
                  <a:srgbClr val="FFFFFF"/>
                </a:solidFill>
                <a:latin typeface="+mn-ea"/>
                <a:ea typeface="+mn-ea"/>
                <a:cs typeface="+mn-ea"/>
              </a:endParaRPr>
            </a:p>
          </p:txBody>
        </p:sp>
        <p:sp>
          <p:nvSpPr>
            <p:cNvPr id="19" name="文本框 55"/>
            <p:cNvSpPr txBox="1">
              <a:spLocks noChangeArrowheads="1"/>
            </p:cNvSpPr>
            <p:nvPr/>
          </p:nvSpPr>
          <p:spPr bwMode="auto">
            <a:xfrm>
              <a:off x="6337300" y="2016125"/>
              <a:ext cx="1679575" cy="922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lnSpc>
                  <a:spcPct val="150000"/>
                </a:lnSpc>
                <a:spcBef>
                  <a:spcPts val="1335"/>
                </a:spcBef>
                <a:buFont typeface="Arial" panose="020B0604020202020204" pitchFamily="34" charset="0"/>
                <a:buChar char="•"/>
              </a:pPr>
              <a:r>
                <a:rPr lang="zh-CN" altLang="en-US" sz="1200">
                  <a:solidFill>
                    <a:srgbClr val="FFFFFF"/>
                  </a:solidFill>
                  <a:latin typeface="+mn-ea"/>
                  <a:ea typeface="+mn-ea"/>
                  <a:cs typeface="+mn-ea"/>
                </a:rPr>
                <a:t>单击此处添加段落文本单击此处添加段落文本单击</a:t>
              </a:r>
              <a:endParaRPr lang="zh-CN" altLang="en-US" sz="1200">
                <a:solidFill>
                  <a:srgbClr val="FFFFFF"/>
                </a:solidFill>
                <a:latin typeface="+mn-ea"/>
                <a:ea typeface="+mn-ea"/>
                <a:cs typeface="+mn-ea"/>
              </a:endParaRPr>
            </a:p>
          </p:txBody>
        </p:sp>
      </p:grpSp>
      <p:grpSp>
        <p:nvGrpSpPr>
          <p:cNvPr id="20" name="组合 19"/>
          <p:cNvGrpSpPr/>
          <p:nvPr/>
        </p:nvGrpSpPr>
        <p:grpSpPr bwMode="auto">
          <a:xfrm>
            <a:off x="8257117" y="1650968"/>
            <a:ext cx="2159000" cy="2233082"/>
            <a:chOff x="8256588" y="1268413"/>
            <a:chExt cx="2159000" cy="2232025"/>
          </a:xfrm>
        </p:grpSpPr>
        <p:sp>
          <p:nvSpPr>
            <p:cNvPr id="21" name="矩形 20"/>
            <p:cNvSpPr/>
            <p:nvPr/>
          </p:nvSpPr>
          <p:spPr>
            <a:xfrm flipV="1">
              <a:off x="8256588" y="3140775"/>
              <a:ext cx="2159000" cy="359663"/>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22" name="泪滴形 21"/>
            <p:cNvSpPr/>
            <p:nvPr/>
          </p:nvSpPr>
          <p:spPr>
            <a:xfrm rot="16200000" flipH="1">
              <a:off x="8503607" y="1269044"/>
              <a:ext cx="1800430" cy="1799167"/>
            </a:xfrm>
            <a:prstGeom prst="teardrop">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dirty="0">
                <a:solidFill>
                  <a:srgbClr val="000000"/>
                </a:solidFill>
                <a:latin typeface="+mn-ea"/>
                <a:cs typeface="+mn-ea"/>
              </a:endParaRPr>
            </a:p>
          </p:txBody>
        </p:sp>
        <p:sp>
          <p:nvSpPr>
            <p:cNvPr id="23" name="文本框 60"/>
            <p:cNvSpPr txBox="1">
              <a:spLocks noChangeArrowheads="1"/>
            </p:cNvSpPr>
            <p:nvPr/>
          </p:nvSpPr>
          <p:spPr bwMode="auto">
            <a:xfrm>
              <a:off x="8948739" y="1443038"/>
              <a:ext cx="1008063" cy="420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135" dirty="0">
                  <a:solidFill>
                    <a:srgbClr val="FFFFFF"/>
                  </a:solidFill>
                  <a:latin typeface="+mn-ea"/>
                  <a:ea typeface="+mn-ea"/>
                  <a:cs typeface="+mn-ea"/>
                </a:rPr>
                <a:t>28%</a:t>
              </a:r>
              <a:endParaRPr lang="zh-CN" altLang="en-US" sz="2135" dirty="0">
                <a:solidFill>
                  <a:srgbClr val="FFFFFF"/>
                </a:solidFill>
                <a:latin typeface="+mn-ea"/>
                <a:ea typeface="+mn-ea"/>
                <a:cs typeface="+mn-ea"/>
              </a:endParaRPr>
            </a:p>
          </p:txBody>
        </p:sp>
        <p:sp>
          <p:nvSpPr>
            <p:cNvPr id="24" name="文本框 55"/>
            <p:cNvSpPr txBox="1">
              <a:spLocks noChangeArrowheads="1"/>
            </p:cNvSpPr>
            <p:nvPr/>
          </p:nvSpPr>
          <p:spPr bwMode="auto">
            <a:xfrm>
              <a:off x="8504239" y="2016125"/>
              <a:ext cx="1679575" cy="922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lnSpc>
                  <a:spcPct val="150000"/>
                </a:lnSpc>
                <a:spcBef>
                  <a:spcPts val="1335"/>
                </a:spcBef>
                <a:buFont typeface="Arial" panose="020B0604020202020204" pitchFamily="34" charset="0"/>
                <a:buChar char="•"/>
              </a:pPr>
              <a:r>
                <a:rPr lang="zh-CN" altLang="en-US" sz="1200">
                  <a:solidFill>
                    <a:srgbClr val="FFFFFF"/>
                  </a:solidFill>
                  <a:latin typeface="+mn-ea"/>
                  <a:ea typeface="+mn-ea"/>
                  <a:cs typeface="+mn-ea"/>
                </a:rPr>
                <a:t>单击此处添加段落文本单击此处添加段落文本单击</a:t>
              </a:r>
              <a:endParaRPr lang="zh-CN" altLang="en-US" sz="1200">
                <a:solidFill>
                  <a:srgbClr val="FFFFFF"/>
                </a:solidFill>
                <a:latin typeface="+mn-ea"/>
                <a:ea typeface="+mn-ea"/>
                <a:cs typeface="+mn-ea"/>
              </a:endParaRPr>
            </a:p>
          </p:txBody>
        </p:sp>
      </p:grpSp>
      <p:grpSp>
        <p:nvGrpSpPr>
          <p:cNvPr id="25" name="组合 24"/>
          <p:cNvGrpSpPr/>
          <p:nvPr/>
        </p:nvGrpSpPr>
        <p:grpSpPr bwMode="auto">
          <a:xfrm>
            <a:off x="1631951" y="4229065"/>
            <a:ext cx="8784167" cy="1569805"/>
            <a:chOff x="1631950" y="3844924"/>
            <a:chExt cx="8783638" cy="1570039"/>
          </a:xfrm>
        </p:grpSpPr>
        <p:sp>
          <p:nvSpPr>
            <p:cNvPr id="26" name="文本框 37"/>
            <p:cNvSpPr txBox="1">
              <a:spLocks noChangeArrowheads="1"/>
            </p:cNvSpPr>
            <p:nvPr/>
          </p:nvSpPr>
          <p:spPr bwMode="auto">
            <a:xfrm>
              <a:off x="1631950" y="3844924"/>
              <a:ext cx="1584325" cy="1570039"/>
            </a:xfrm>
            <a:prstGeom prst="rect">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ctr" fontAlgn="base">
                <a:spcBef>
                  <a:spcPct val="20000"/>
                </a:spcBef>
                <a:spcAft>
                  <a:spcPct val="0"/>
                </a:spcAft>
                <a:buClr>
                  <a:schemeClr val="folHlink"/>
                </a:buClr>
                <a:buFont typeface="Wingdings" panose="05000000000000000000" pitchFamily="2" charset="2"/>
                <a:buNone/>
                <a:defRPr sz="1400" b="1">
                  <a:solidFill>
                    <a:schemeClr val="tx2"/>
                  </a:solidFill>
                  <a:latin typeface="+mn-ea"/>
                  <a:cs typeface="+mn-ea"/>
                </a:defRPr>
              </a:lvl1pPr>
              <a:lvl2pPr marL="3429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2pPr>
              <a:lvl3pPr marL="6858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3pPr>
              <a:lvl4pPr marL="10287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4pPr>
              <a:lvl5pPr marL="13716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5pPr>
              <a:lvl6pPr marL="1714500" defTabSz="685800">
                <a:defRPr sz="2850" b="1">
                  <a:solidFill>
                    <a:schemeClr val="lt1"/>
                  </a:solidFill>
                </a:defRPr>
              </a:lvl6pPr>
              <a:lvl7pPr marL="2057400" defTabSz="685800">
                <a:defRPr sz="2850" b="1">
                  <a:solidFill>
                    <a:schemeClr val="lt1"/>
                  </a:solidFill>
                </a:defRPr>
              </a:lvl7pPr>
              <a:lvl8pPr marL="2400300" defTabSz="685800">
                <a:defRPr sz="2850" b="1">
                  <a:solidFill>
                    <a:schemeClr val="lt1"/>
                  </a:solidFill>
                </a:defRPr>
              </a:lvl8pPr>
              <a:lvl9pPr marL="2743200" defTabSz="685800">
                <a:defRPr sz="2850" b="1">
                  <a:solidFill>
                    <a:schemeClr val="lt1"/>
                  </a:solidFill>
                </a:defRPr>
              </a:lvl9pPr>
            </a:lstStyle>
            <a:p>
              <a:r>
                <a:rPr lang="zh-CN" altLang="en-US" sz="2400" dirty="0">
                  <a:solidFill>
                    <a:schemeClr val="bg1">
                      <a:lumMod val="50000"/>
                    </a:schemeClr>
                  </a:solidFill>
                </a:rPr>
                <a:t>标题</a:t>
              </a:r>
              <a:endParaRPr lang="en-US" altLang="zh-CN" sz="2400" dirty="0">
                <a:solidFill>
                  <a:schemeClr val="bg1">
                    <a:lumMod val="50000"/>
                  </a:schemeClr>
                </a:solidFill>
              </a:endParaRPr>
            </a:p>
            <a:p>
              <a:r>
                <a:rPr lang="zh-CN" altLang="en-US" sz="2400" dirty="0">
                  <a:solidFill>
                    <a:schemeClr val="bg1">
                      <a:lumMod val="50000"/>
                    </a:schemeClr>
                  </a:solidFill>
                </a:rPr>
                <a:t>文字</a:t>
              </a:r>
              <a:endParaRPr lang="en-US" altLang="zh-CN" sz="2400" dirty="0">
                <a:solidFill>
                  <a:schemeClr val="bg1">
                    <a:lumMod val="50000"/>
                  </a:schemeClr>
                </a:solidFill>
              </a:endParaRPr>
            </a:p>
            <a:p>
              <a:r>
                <a:rPr lang="zh-CN" altLang="en-US" sz="2400" dirty="0">
                  <a:solidFill>
                    <a:schemeClr val="bg1">
                      <a:lumMod val="50000"/>
                    </a:schemeClr>
                  </a:solidFill>
                </a:rPr>
                <a:t>内容</a:t>
              </a:r>
              <a:endParaRPr lang="zh-CN" altLang="en-US" sz="2400" dirty="0">
                <a:solidFill>
                  <a:schemeClr val="bg1">
                    <a:lumMod val="50000"/>
                  </a:schemeClr>
                </a:solidFill>
              </a:endParaRPr>
            </a:p>
          </p:txBody>
        </p:sp>
        <p:sp>
          <p:nvSpPr>
            <p:cNvPr id="27" name="文本框 38"/>
            <p:cNvSpPr txBox="1">
              <a:spLocks noChangeArrowheads="1"/>
            </p:cNvSpPr>
            <p:nvPr/>
          </p:nvSpPr>
          <p:spPr bwMode="auto">
            <a:xfrm>
              <a:off x="3359150" y="3844925"/>
              <a:ext cx="7056438" cy="1570038"/>
            </a:xfrm>
            <a:prstGeom prst="rect">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ctr" fontAlgn="base">
                <a:spcBef>
                  <a:spcPct val="20000"/>
                </a:spcBef>
                <a:spcAft>
                  <a:spcPct val="0"/>
                </a:spcAft>
                <a:buClr>
                  <a:schemeClr val="folHlink"/>
                </a:buClr>
                <a:buFont typeface="Wingdings" panose="05000000000000000000" pitchFamily="2" charset="2"/>
                <a:buNone/>
                <a:defRPr sz="1400" b="1">
                  <a:solidFill>
                    <a:schemeClr val="tx2"/>
                  </a:solidFill>
                  <a:latin typeface="+mn-ea"/>
                  <a:cs typeface="+mn-ea"/>
                </a:defRPr>
              </a:lvl1pPr>
              <a:lvl2pPr marL="3429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2pPr>
              <a:lvl3pPr marL="6858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3pPr>
              <a:lvl4pPr marL="10287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4pPr>
              <a:lvl5pPr marL="13716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5pPr>
              <a:lvl6pPr marL="1714500" defTabSz="685800">
                <a:defRPr sz="2850" b="1">
                  <a:solidFill>
                    <a:schemeClr val="lt1"/>
                  </a:solidFill>
                </a:defRPr>
              </a:lvl6pPr>
              <a:lvl7pPr marL="2057400" defTabSz="685800">
                <a:defRPr sz="2850" b="1">
                  <a:solidFill>
                    <a:schemeClr val="lt1"/>
                  </a:solidFill>
                </a:defRPr>
              </a:lvl7pPr>
              <a:lvl8pPr marL="2400300" defTabSz="685800">
                <a:defRPr sz="2850" b="1">
                  <a:solidFill>
                    <a:schemeClr val="lt1"/>
                  </a:solidFill>
                </a:defRPr>
              </a:lvl8pPr>
              <a:lvl9pPr marL="2743200" defTabSz="685800">
                <a:defRPr sz="2850" b="1">
                  <a:solidFill>
                    <a:schemeClr val="lt1"/>
                  </a:solidFill>
                </a:defRPr>
              </a:lvl9pPr>
            </a:lstStyle>
            <a:p>
              <a:endParaRPr lang="en-US" altLang="zh-CN"/>
            </a:p>
          </p:txBody>
        </p:sp>
        <p:sp>
          <p:nvSpPr>
            <p:cNvPr id="28" name="矩形 62"/>
            <p:cNvSpPr>
              <a:spLocks noChangeArrowheads="1"/>
            </p:cNvSpPr>
            <p:nvPr/>
          </p:nvSpPr>
          <p:spPr bwMode="auto">
            <a:xfrm>
              <a:off x="3886200" y="4097339"/>
              <a:ext cx="1854200" cy="110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a:t>
              </a:r>
              <a:endParaRPr lang="zh-CN" altLang="en-US" sz="1465">
                <a:solidFill>
                  <a:srgbClr val="969696"/>
                </a:solidFill>
                <a:latin typeface="+mn-ea"/>
                <a:ea typeface="+mn-ea"/>
                <a:cs typeface="+mn-ea"/>
              </a:endParaRPr>
            </a:p>
          </p:txBody>
        </p:sp>
        <p:sp>
          <p:nvSpPr>
            <p:cNvPr id="29" name="矩形 62"/>
            <p:cNvSpPr>
              <a:spLocks noChangeArrowheads="1"/>
            </p:cNvSpPr>
            <p:nvPr/>
          </p:nvSpPr>
          <p:spPr bwMode="auto">
            <a:xfrm>
              <a:off x="6200775" y="4097339"/>
              <a:ext cx="1854200" cy="110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a:t>
              </a:r>
              <a:endParaRPr lang="zh-CN" altLang="en-US" sz="1465">
                <a:solidFill>
                  <a:srgbClr val="969696"/>
                </a:solidFill>
                <a:latin typeface="+mn-ea"/>
                <a:ea typeface="+mn-ea"/>
                <a:cs typeface="+mn-ea"/>
              </a:endParaRPr>
            </a:p>
          </p:txBody>
        </p:sp>
        <p:sp>
          <p:nvSpPr>
            <p:cNvPr id="30" name="矩形 62"/>
            <p:cNvSpPr>
              <a:spLocks noChangeArrowheads="1"/>
            </p:cNvSpPr>
            <p:nvPr/>
          </p:nvSpPr>
          <p:spPr bwMode="auto">
            <a:xfrm>
              <a:off x="8329614" y="4097339"/>
              <a:ext cx="1854200" cy="110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a:t>
              </a:r>
              <a:endParaRPr lang="zh-CN" altLang="en-US" sz="1465">
                <a:solidFill>
                  <a:srgbClr val="969696"/>
                </a:solidFill>
                <a:latin typeface="+mn-ea"/>
                <a:ea typeface="+mn-ea"/>
                <a:cs typeface="+mn-ea"/>
              </a:endParaRPr>
            </a:p>
          </p:txBody>
        </p:sp>
      </p:grpSp>
      <p:sp>
        <p:nvSpPr>
          <p:cNvPr id="34"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5" name="文本框 34"/>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p:tgtEl>
                                          <p:spTgt spid="5"/>
                                        </p:tgtEl>
                                        <p:attrNameLst>
                                          <p:attrName>ppt_x</p:attrName>
                                        </p:attrNameLst>
                                      </p:cBhvr>
                                      <p:tavLst>
                                        <p:tav tm="0">
                                          <p:val>
                                            <p:strVal val="#ppt_x-#ppt_w*1.125000"/>
                                          </p:val>
                                        </p:tav>
                                        <p:tav tm="100000">
                                          <p:val>
                                            <p:strVal val="#ppt_x"/>
                                          </p:val>
                                        </p:tav>
                                      </p:tavLst>
                                    </p:anim>
                                    <p:animEffect transition="in" filter="wipe(right)">
                                      <p:cBhvr>
                                        <p:cTn id="8" dur="500"/>
                                        <p:tgtEl>
                                          <p:spTgt spid="5"/>
                                        </p:tgtEl>
                                      </p:cBhvr>
                                    </p:animEffect>
                                  </p:childTnLst>
                                </p:cTn>
                              </p:par>
                            </p:childTnLst>
                          </p:cTn>
                        </p:par>
                        <p:par>
                          <p:cTn id="9" fill="hold">
                            <p:stCondLst>
                              <p:cond delay="500"/>
                            </p:stCondLst>
                            <p:childTnLst>
                              <p:par>
                                <p:cTn id="10" presetID="12" presetClass="entr" presetSubtype="8"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500"/>
                                        <p:tgtEl>
                                          <p:spTgt spid="10"/>
                                        </p:tgtEl>
                                        <p:attrNameLst>
                                          <p:attrName>ppt_x</p:attrName>
                                        </p:attrNameLst>
                                      </p:cBhvr>
                                      <p:tavLst>
                                        <p:tav tm="0">
                                          <p:val>
                                            <p:strVal val="#ppt_x-#ppt_w*1.125000"/>
                                          </p:val>
                                        </p:tav>
                                        <p:tav tm="100000">
                                          <p:val>
                                            <p:strVal val="#ppt_x"/>
                                          </p:val>
                                        </p:tav>
                                      </p:tavLst>
                                    </p:anim>
                                    <p:animEffect transition="in" filter="wipe(right)">
                                      <p:cBhvr>
                                        <p:cTn id="13" dur="500"/>
                                        <p:tgtEl>
                                          <p:spTgt spid="10"/>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p:tgtEl>
                                          <p:spTgt spid="15"/>
                                        </p:tgtEl>
                                        <p:attrNameLst>
                                          <p:attrName>ppt_x</p:attrName>
                                        </p:attrNameLst>
                                      </p:cBhvr>
                                      <p:tavLst>
                                        <p:tav tm="0">
                                          <p:val>
                                            <p:strVal val="#ppt_x-#ppt_w*1.125000"/>
                                          </p:val>
                                        </p:tav>
                                        <p:tav tm="100000">
                                          <p:val>
                                            <p:strVal val="#ppt_x"/>
                                          </p:val>
                                        </p:tav>
                                      </p:tavLst>
                                    </p:anim>
                                    <p:animEffect transition="in" filter="wipe(right)">
                                      <p:cBhvr>
                                        <p:cTn id="18" dur="500"/>
                                        <p:tgtEl>
                                          <p:spTgt spid="15"/>
                                        </p:tgtEl>
                                      </p:cBhvr>
                                    </p:animEffect>
                                  </p:childTnLst>
                                </p:cTn>
                              </p:par>
                            </p:childTnLst>
                          </p:cTn>
                        </p:par>
                        <p:par>
                          <p:cTn id="19" fill="hold">
                            <p:stCondLst>
                              <p:cond delay="1500"/>
                            </p:stCondLst>
                            <p:childTnLst>
                              <p:par>
                                <p:cTn id="20" presetID="12" presetClass="entr" presetSubtype="8" fill="hold" nodeType="after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p:tgtEl>
                                          <p:spTgt spid="20"/>
                                        </p:tgtEl>
                                        <p:attrNameLst>
                                          <p:attrName>ppt_x</p:attrName>
                                        </p:attrNameLst>
                                      </p:cBhvr>
                                      <p:tavLst>
                                        <p:tav tm="0">
                                          <p:val>
                                            <p:strVal val="#ppt_x-#ppt_w*1.125000"/>
                                          </p:val>
                                        </p:tav>
                                        <p:tav tm="100000">
                                          <p:val>
                                            <p:strVal val="#ppt_x"/>
                                          </p:val>
                                        </p:tav>
                                      </p:tavLst>
                                    </p:anim>
                                    <p:animEffect transition="in" filter="wipe(right)">
                                      <p:cBhvr>
                                        <p:cTn id="23" dur="500"/>
                                        <p:tgtEl>
                                          <p:spTgt spid="20"/>
                                        </p:tgtEl>
                                      </p:cBhvr>
                                    </p:animEffect>
                                  </p:childTnLst>
                                </p:cTn>
                              </p:par>
                            </p:childTnLst>
                          </p:cTn>
                        </p:par>
                        <p:par>
                          <p:cTn id="24" fill="hold">
                            <p:stCondLst>
                              <p:cond delay="2000"/>
                            </p:stCondLst>
                            <p:childTnLst>
                              <p:par>
                                <p:cTn id="25" presetID="42"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anim calcmode="lin" valueType="num">
                                      <p:cBhvr>
                                        <p:cTn id="28" dur="1000" fill="hold"/>
                                        <p:tgtEl>
                                          <p:spTgt spid="25"/>
                                        </p:tgtEl>
                                        <p:attrNameLst>
                                          <p:attrName>ppt_x</p:attrName>
                                        </p:attrNameLst>
                                      </p:cBhvr>
                                      <p:tavLst>
                                        <p:tav tm="0">
                                          <p:val>
                                            <p:strVal val="#ppt_x"/>
                                          </p:val>
                                        </p:tav>
                                        <p:tav tm="100000">
                                          <p:val>
                                            <p:strVal val="#ppt_x"/>
                                          </p:val>
                                        </p:tav>
                                      </p:tavLst>
                                    </p:anim>
                                    <p:anim calcmode="lin" valueType="num">
                                      <p:cBhvr>
                                        <p:cTn id="29" dur="1000" fill="hold"/>
                                        <p:tgtEl>
                                          <p:spTgt spid="25"/>
                                        </p:tgtEl>
                                        <p:attrNameLst>
                                          <p:attrName>ppt_y</p:attrName>
                                        </p:attrNameLst>
                                      </p:cBhvr>
                                      <p:tavLst>
                                        <p:tav tm="0">
                                          <p:val>
                                            <p:strVal val="#ppt_y+.1"/>
                                          </p:val>
                                        </p:tav>
                                        <p:tav tm="100000">
                                          <p:val>
                                            <p:strVal val="#ppt_y"/>
                                          </p:val>
                                        </p:tav>
                                      </p:tavLst>
                                    </p:anim>
                                  </p:childTnLst>
                                </p:cTn>
                              </p:par>
                            </p:childTnLst>
                          </p:cTn>
                        </p:par>
                        <p:par>
                          <p:cTn id="30" fill="hold">
                            <p:stCondLst>
                              <p:cond delay="3000"/>
                            </p:stCondLst>
                            <p:childTnLst>
                              <p:par>
                                <p:cTn id="31" presetID="22" presetClass="entr" presetSubtype="4" fill="hold" grpId="0" nodeType="afterEffect">
                                  <p:stCondLst>
                                    <p:cond delay="0"/>
                                  </p:stCondLst>
                                  <p:childTnLst>
                                    <p:set>
                                      <p:cBhvr>
                                        <p:cTn id="32" dur="1" fill="hold">
                                          <p:stCondLst>
                                            <p:cond delay="0"/>
                                          </p:stCondLst>
                                        </p:cTn>
                                        <p:tgtEl>
                                          <p:spTgt spid="35"/>
                                        </p:tgtEl>
                                        <p:attrNameLst>
                                          <p:attrName>style.visibility</p:attrName>
                                        </p:attrNameLst>
                                      </p:cBhvr>
                                      <p:to>
                                        <p:strVal val="visible"/>
                                      </p:to>
                                    </p:set>
                                    <p:animEffect transition="in" filter="wipe(down)">
                                      <p:cBhvr>
                                        <p:cTn id="33" dur="12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4407207" y="3499407"/>
            <a:ext cx="2429933" cy="2068831"/>
            <a:chOff x="4208894" y="3762612"/>
            <a:chExt cx="1822450" cy="1551623"/>
          </a:xfrm>
        </p:grpSpPr>
        <p:sp>
          <p:nvSpPr>
            <p:cNvPr id="6" name="等腰三角形 5"/>
            <p:cNvSpPr/>
            <p:nvPr/>
          </p:nvSpPr>
          <p:spPr>
            <a:xfrm rot="10800000">
              <a:off x="4208894" y="3762612"/>
              <a:ext cx="1822450" cy="1551623"/>
            </a:xfrm>
            <a:prstGeom prst="triangle">
              <a:avLst/>
            </a:prstGeom>
            <a:solidFill>
              <a:srgbClr val="254061"/>
            </a:solidFill>
            <a:ln w="3175" cap="flat" cmpd="sng" algn="ctr">
              <a:solidFill>
                <a:sysClr val="window" lastClr="FFFFFF"/>
              </a:solidFill>
              <a:prstDash val="solid"/>
            </a:ln>
            <a:effectLst/>
          </p:spPr>
          <p:txBody>
            <a:bodyPr anchor="ctr"/>
            <a:lstStyle/>
            <a:p>
              <a:pPr algn="ctr" defTabSz="1219200">
                <a:defRPr/>
              </a:pPr>
              <a:endParaRPr lang="zh-CN" altLang="en-US" sz="2400" kern="0">
                <a:solidFill>
                  <a:prstClr val="white"/>
                </a:solidFill>
                <a:effectLst>
                  <a:outerShdw blurRad="38100" dist="38100" dir="2700000" algn="tl">
                    <a:srgbClr val="000000">
                      <a:alpha val="43137"/>
                    </a:srgbClr>
                  </a:outerShdw>
                </a:effectLst>
                <a:latin typeface="+mn-ea"/>
                <a:cs typeface="+mn-ea"/>
              </a:endParaRPr>
            </a:p>
          </p:txBody>
        </p:sp>
        <p:sp>
          <p:nvSpPr>
            <p:cNvPr id="7" name="TextBox 6"/>
            <p:cNvSpPr txBox="1"/>
            <p:nvPr/>
          </p:nvSpPr>
          <p:spPr>
            <a:xfrm>
              <a:off x="4711452" y="3969357"/>
              <a:ext cx="824027" cy="807913"/>
            </a:xfrm>
            <a:prstGeom prst="rect">
              <a:avLst/>
            </a:prstGeom>
          </p:spPr>
          <p:txBody>
            <a:bodyPr wrap="square" rtlCol="0">
              <a:spAutoFit/>
            </a:bodyPr>
            <a:lstStyle/>
            <a:p>
              <a:pPr algn="ctr" defTabSz="1219200">
                <a:defRPr/>
              </a:pPr>
              <a:r>
                <a:rPr lang="zh-CN" altLang="en-US" sz="3200" kern="0" dirty="0">
                  <a:solidFill>
                    <a:prstClr val="white">
                      <a:lumMod val="95000"/>
                    </a:prstClr>
                  </a:solidFill>
                  <a:effectLst>
                    <a:outerShdw blurRad="38100" dist="38100" dir="2700000" algn="tl">
                      <a:srgbClr val="000000">
                        <a:alpha val="43137"/>
                      </a:srgbClr>
                    </a:outerShdw>
                  </a:effectLst>
                  <a:latin typeface="+mn-ea"/>
                  <a:cs typeface="+mn-ea"/>
                </a:rPr>
                <a:t>标题文字</a:t>
              </a:r>
              <a:endParaRPr lang="zh-CN" altLang="en-US" sz="3200" kern="0" dirty="0">
                <a:solidFill>
                  <a:prstClr val="white">
                    <a:lumMod val="95000"/>
                  </a:prstClr>
                </a:solidFill>
                <a:effectLst>
                  <a:outerShdw blurRad="38100" dist="38100" dir="2700000" algn="tl">
                    <a:srgbClr val="000000">
                      <a:alpha val="43137"/>
                    </a:srgbClr>
                  </a:outerShdw>
                </a:effectLst>
                <a:latin typeface="+mn-ea"/>
                <a:cs typeface="+mn-ea"/>
              </a:endParaRPr>
            </a:p>
          </p:txBody>
        </p:sp>
      </p:grpSp>
      <p:grpSp>
        <p:nvGrpSpPr>
          <p:cNvPr id="8" name="组合 7"/>
          <p:cNvGrpSpPr/>
          <p:nvPr/>
        </p:nvGrpSpPr>
        <p:grpSpPr>
          <a:xfrm>
            <a:off x="5779137" y="3636440"/>
            <a:ext cx="2353403" cy="2000804"/>
            <a:chOff x="5237842" y="4004098"/>
            <a:chExt cx="1765052" cy="1500603"/>
          </a:xfrm>
        </p:grpSpPr>
        <p:sp>
          <p:nvSpPr>
            <p:cNvPr id="9" name="等腰三角形 7"/>
            <p:cNvSpPr/>
            <p:nvPr/>
          </p:nvSpPr>
          <p:spPr>
            <a:xfrm>
              <a:off x="5237842" y="4004098"/>
              <a:ext cx="1765052" cy="1500603"/>
            </a:xfrm>
            <a:custGeom>
              <a:avLst/>
              <a:gdLst/>
              <a:ahLst/>
              <a:cxnLst/>
              <a:rect l="l" t="t" r="r" b="b"/>
              <a:pathLst>
                <a:path w="1765052" h="1500603">
                  <a:moveTo>
                    <a:pt x="882526" y="0"/>
                  </a:moveTo>
                  <a:lnTo>
                    <a:pt x="1765052" y="1500603"/>
                  </a:lnTo>
                  <a:lnTo>
                    <a:pt x="0" y="1500603"/>
                  </a:lnTo>
                  <a:lnTo>
                    <a:pt x="375894" y="861452"/>
                  </a:lnTo>
                  <a:lnTo>
                    <a:pt x="464514" y="915388"/>
                  </a:lnTo>
                  <a:lnTo>
                    <a:pt x="392059" y="1034436"/>
                  </a:lnTo>
                  <a:lnTo>
                    <a:pt x="748236" y="924919"/>
                  </a:lnTo>
                  <a:lnTo>
                    <a:pt x="681880" y="558240"/>
                  </a:lnTo>
                  <a:lnTo>
                    <a:pt x="609424" y="677289"/>
                  </a:lnTo>
                  <a:lnTo>
                    <a:pt x="517210" y="621166"/>
                  </a:lnTo>
                  <a:close/>
                </a:path>
              </a:pathLst>
            </a:custGeom>
            <a:solidFill>
              <a:srgbClr val="E46C0A"/>
            </a:solidFill>
            <a:ln w="3175" cap="flat" cmpd="sng" algn="ctr">
              <a:solidFill>
                <a:sysClr val="window" lastClr="FFFFFF"/>
              </a:solidFill>
              <a:prstDash val="solid"/>
            </a:ln>
            <a:effectLst/>
          </p:spPr>
          <p:txBody>
            <a:bodyPr anchor="ctr"/>
            <a:lstStyle/>
            <a:p>
              <a:pPr algn="ctr" defTabSz="1219200">
                <a:defRPr/>
              </a:pPr>
              <a:endParaRPr lang="zh-CN" altLang="en-US" sz="2400" kern="0">
                <a:solidFill>
                  <a:prstClr val="white"/>
                </a:solidFill>
                <a:effectLst>
                  <a:outerShdw blurRad="38100" dist="38100" dir="2700000" algn="tl">
                    <a:srgbClr val="000000">
                      <a:alpha val="43137"/>
                    </a:srgbClr>
                  </a:outerShdw>
                </a:effectLst>
                <a:latin typeface="+mn-ea"/>
                <a:cs typeface="+mn-ea"/>
              </a:endParaRPr>
            </a:p>
          </p:txBody>
        </p:sp>
        <p:sp>
          <p:nvSpPr>
            <p:cNvPr id="10" name="TextBox 9"/>
            <p:cNvSpPr txBox="1"/>
            <p:nvPr/>
          </p:nvSpPr>
          <p:spPr>
            <a:xfrm>
              <a:off x="6030816" y="4798893"/>
              <a:ext cx="600164" cy="623248"/>
            </a:xfrm>
            <a:prstGeom prst="rect">
              <a:avLst/>
            </a:prstGeom>
            <a:noFill/>
          </p:spPr>
          <p:txBody>
            <a:bodyPr wrap="none" rtlCol="0">
              <a:spAutoFit/>
            </a:bodyPr>
            <a:lstStyle/>
            <a:p>
              <a:pPr algn="ctr" defTabSz="1219200">
                <a:defRPr/>
              </a:pPr>
              <a:r>
                <a:rPr lang="zh-CN" altLang="en-US" sz="2400" kern="0" dirty="0">
                  <a:solidFill>
                    <a:prstClr val="white">
                      <a:lumMod val="95000"/>
                    </a:prstClr>
                  </a:solidFill>
                  <a:effectLst>
                    <a:outerShdw blurRad="38100" dist="38100" dir="2700000" algn="tl">
                      <a:srgbClr val="000000">
                        <a:alpha val="43137"/>
                      </a:srgbClr>
                    </a:outerShdw>
                  </a:effectLst>
                  <a:latin typeface="+mn-ea"/>
                  <a:cs typeface="+mn-ea"/>
                </a:rPr>
                <a:t>标题</a:t>
              </a:r>
              <a:endParaRPr lang="en-US" altLang="zh-CN" sz="2400" kern="0" dirty="0">
                <a:solidFill>
                  <a:prstClr val="white">
                    <a:lumMod val="95000"/>
                  </a:prstClr>
                </a:solidFill>
                <a:effectLst>
                  <a:outerShdw blurRad="38100" dist="38100" dir="2700000" algn="tl">
                    <a:srgbClr val="000000">
                      <a:alpha val="43137"/>
                    </a:srgbClr>
                  </a:outerShdw>
                </a:effectLst>
                <a:latin typeface="+mn-ea"/>
                <a:cs typeface="+mn-ea"/>
              </a:endParaRPr>
            </a:p>
            <a:p>
              <a:pPr algn="ctr" defTabSz="1219200">
                <a:defRPr/>
              </a:pPr>
              <a:r>
                <a:rPr lang="zh-CN" altLang="en-US" sz="2400" kern="0" dirty="0">
                  <a:solidFill>
                    <a:prstClr val="white">
                      <a:lumMod val="95000"/>
                    </a:prstClr>
                  </a:solidFill>
                  <a:effectLst>
                    <a:outerShdw blurRad="38100" dist="38100" dir="2700000" algn="tl">
                      <a:srgbClr val="000000">
                        <a:alpha val="43137"/>
                      </a:srgbClr>
                    </a:outerShdw>
                  </a:effectLst>
                  <a:latin typeface="+mn-ea"/>
                  <a:cs typeface="+mn-ea"/>
                </a:rPr>
                <a:t>文字</a:t>
              </a:r>
              <a:endParaRPr lang="zh-CN" altLang="en-US" sz="2400" kern="0" dirty="0">
                <a:solidFill>
                  <a:prstClr val="white">
                    <a:lumMod val="95000"/>
                  </a:prstClr>
                </a:solidFill>
                <a:effectLst>
                  <a:outerShdw blurRad="38100" dist="38100" dir="2700000" algn="tl">
                    <a:srgbClr val="000000">
                      <a:alpha val="43137"/>
                    </a:srgbClr>
                  </a:outerShdw>
                </a:effectLst>
                <a:latin typeface="+mn-ea"/>
                <a:cs typeface="+mn-ea"/>
              </a:endParaRPr>
            </a:p>
          </p:txBody>
        </p:sp>
      </p:grpSp>
      <p:grpSp>
        <p:nvGrpSpPr>
          <p:cNvPr id="11" name="组合 10"/>
          <p:cNvGrpSpPr/>
          <p:nvPr/>
        </p:nvGrpSpPr>
        <p:grpSpPr>
          <a:xfrm>
            <a:off x="4454104" y="1422409"/>
            <a:ext cx="2395736" cy="1958763"/>
            <a:chOff x="4244067" y="2343574"/>
            <a:chExt cx="1796802" cy="1469072"/>
          </a:xfrm>
        </p:grpSpPr>
        <p:sp>
          <p:nvSpPr>
            <p:cNvPr id="12" name="等腰三角形 6"/>
            <p:cNvSpPr/>
            <p:nvPr/>
          </p:nvSpPr>
          <p:spPr>
            <a:xfrm>
              <a:off x="4244067" y="2343574"/>
              <a:ext cx="1796802" cy="1469072"/>
            </a:xfrm>
            <a:custGeom>
              <a:avLst/>
              <a:gdLst/>
              <a:ahLst/>
              <a:cxnLst/>
              <a:rect l="l" t="t" r="r" b="b"/>
              <a:pathLst>
                <a:path w="1796802" h="1469072">
                  <a:moveTo>
                    <a:pt x="898401" y="0"/>
                  </a:moveTo>
                  <a:lnTo>
                    <a:pt x="1796802" y="1469072"/>
                  </a:lnTo>
                  <a:lnTo>
                    <a:pt x="1015417" y="1469072"/>
                  </a:lnTo>
                  <a:lnTo>
                    <a:pt x="1015417" y="1372637"/>
                  </a:lnTo>
                  <a:lnTo>
                    <a:pt x="1154781" y="1372637"/>
                  </a:lnTo>
                  <a:lnTo>
                    <a:pt x="876052" y="1125318"/>
                  </a:lnTo>
                  <a:lnTo>
                    <a:pt x="597323" y="1372637"/>
                  </a:lnTo>
                  <a:lnTo>
                    <a:pt x="736688" y="1372637"/>
                  </a:lnTo>
                  <a:lnTo>
                    <a:pt x="736688" y="1469072"/>
                  </a:lnTo>
                  <a:lnTo>
                    <a:pt x="0" y="1469072"/>
                  </a:lnTo>
                  <a:close/>
                </a:path>
              </a:pathLst>
            </a:custGeom>
            <a:solidFill>
              <a:srgbClr val="E46C0A"/>
            </a:solidFill>
            <a:ln w="3175" cap="flat" cmpd="sng" algn="ctr">
              <a:solidFill>
                <a:sysClr val="window" lastClr="FFFFFF"/>
              </a:solidFill>
              <a:prstDash val="solid"/>
            </a:ln>
            <a:effectLst/>
          </p:spPr>
          <p:txBody>
            <a:bodyPr anchor="ctr"/>
            <a:lstStyle/>
            <a:p>
              <a:pPr algn="ctr" defTabSz="1219200">
                <a:defRPr/>
              </a:pPr>
              <a:endParaRPr lang="zh-CN" altLang="en-US" sz="2400" kern="0">
                <a:solidFill>
                  <a:prstClr val="white"/>
                </a:solidFill>
                <a:effectLst>
                  <a:outerShdw blurRad="38100" dist="38100" dir="2700000" algn="tl">
                    <a:srgbClr val="000000">
                      <a:alpha val="43137"/>
                    </a:srgbClr>
                  </a:outerShdw>
                </a:effectLst>
                <a:latin typeface="+mn-ea"/>
                <a:cs typeface="+mn-ea"/>
              </a:endParaRPr>
            </a:p>
          </p:txBody>
        </p:sp>
        <p:sp>
          <p:nvSpPr>
            <p:cNvPr id="13" name="TextBox 12"/>
            <p:cNvSpPr txBox="1"/>
            <p:nvPr/>
          </p:nvSpPr>
          <p:spPr>
            <a:xfrm>
              <a:off x="4719064" y="3047006"/>
              <a:ext cx="830997" cy="346249"/>
            </a:xfrm>
            <a:prstGeom prst="rect">
              <a:avLst/>
            </a:prstGeom>
            <a:noFill/>
          </p:spPr>
          <p:txBody>
            <a:bodyPr wrap="none" rtlCol="0">
              <a:spAutoFit/>
            </a:bodyPr>
            <a:lstStyle/>
            <a:p>
              <a:pPr algn="ctr" defTabSz="1219200">
                <a:defRPr/>
              </a:pPr>
              <a:r>
                <a:rPr lang="zh-CN" altLang="en-US" sz="2400" kern="0" dirty="0">
                  <a:solidFill>
                    <a:prstClr val="white">
                      <a:lumMod val="95000"/>
                    </a:prstClr>
                  </a:solidFill>
                  <a:effectLst>
                    <a:outerShdw blurRad="38100" dist="38100" dir="2700000" algn="tl">
                      <a:srgbClr val="000000">
                        <a:alpha val="43137"/>
                      </a:srgbClr>
                    </a:outerShdw>
                  </a:effectLst>
                  <a:latin typeface="+mn-ea"/>
                  <a:cs typeface="+mn-ea"/>
                </a:rPr>
                <a:t>标题字</a:t>
              </a:r>
              <a:endParaRPr lang="zh-CN" altLang="en-US" sz="2400" kern="0" dirty="0">
                <a:solidFill>
                  <a:prstClr val="white">
                    <a:lumMod val="95000"/>
                  </a:prstClr>
                </a:solidFill>
                <a:effectLst>
                  <a:outerShdw blurRad="38100" dist="38100" dir="2700000" algn="tl">
                    <a:srgbClr val="000000">
                      <a:alpha val="43137"/>
                    </a:srgbClr>
                  </a:outerShdw>
                </a:effectLst>
                <a:latin typeface="+mn-ea"/>
                <a:cs typeface="+mn-ea"/>
              </a:endParaRPr>
            </a:p>
          </p:txBody>
        </p:sp>
      </p:grpSp>
      <p:grpSp>
        <p:nvGrpSpPr>
          <p:cNvPr id="14" name="组合 13"/>
          <p:cNvGrpSpPr/>
          <p:nvPr/>
        </p:nvGrpSpPr>
        <p:grpSpPr>
          <a:xfrm>
            <a:off x="3162937" y="3636441"/>
            <a:ext cx="2353403" cy="2000804"/>
            <a:chOff x="3275692" y="4004098"/>
            <a:chExt cx="1765052" cy="1500603"/>
          </a:xfrm>
        </p:grpSpPr>
        <p:sp>
          <p:nvSpPr>
            <p:cNvPr id="15" name="等腰三角形 11"/>
            <p:cNvSpPr/>
            <p:nvPr/>
          </p:nvSpPr>
          <p:spPr>
            <a:xfrm>
              <a:off x="3275692" y="4004098"/>
              <a:ext cx="1765052" cy="1500603"/>
            </a:xfrm>
            <a:custGeom>
              <a:avLst/>
              <a:gdLst/>
              <a:ahLst/>
              <a:cxnLst/>
              <a:rect l="l" t="t" r="r" b="b"/>
              <a:pathLst>
                <a:path w="1765052" h="1500603">
                  <a:moveTo>
                    <a:pt x="882526" y="0"/>
                  </a:moveTo>
                  <a:lnTo>
                    <a:pt x="1236032" y="601083"/>
                  </a:lnTo>
                  <a:lnTo>
                    <a:pt x="1121186" y="667974"/>
                  </a:lnTo>
                  <a:lnTo>
                    <a:pt x="1051045" y="547547"/>
                  </a:lnTo>
                  <a:lnTo>
                    <a:pt x="977616" y="912876"/>
                  </a:lnTo>
                  <a:lnTo>
                    <a:pt x="1331611" y="1029255"/>
                  </a:lnTo>
                  <a:lnTo>
                    <a:pt x="1261469" y="908828"/>
                  </a:lnTo>
                  <a:lnTo>
                    <a:pt x="1377332" y="841344"/>
                  </a:lnTo>
                  <a:lnTo>
                    <a:pt x="1765052" y="1500603"/>
                  </a:lnTo>
                  <a:lnTo>
                    <a:pt x="0" y="1500603"/>
                  </a:lnTo>
                  <a:close/>
                </a:path>
              </a:pathLst>
            </a:custGeom>
            <a:solidFill>
              <a:srgbClr val="E46C0A"/>
            </a:solidFill>
            <a:ln w="3175" cap="flat" cmpd="sng" algn="ctr">
              <a:solidFill>
                <a:sysClr val="window" lastClr="FFFFFF"/>
              </a:solidFill>
              <a:prstDash val="solid"/>
            </a:ln>
            <a:effectLst/>
          </p:spPr>
          <p:txBody>
            <a:bodyPr anchor="ctr"/>
            <a:lstStyle/>
            <a:p>
              <a:pPr algn="ctr" defTabSz="1219200">
                <a:defRPr/>
              </a:pPr>
              <a:endParaRPr lang="zh-CN" altLang="en-US" sz="2400" kern="0">
                <a:solidFill>
                  <a:prstClr val="white"/>
                </a:solidFill>
                <a:effectLst>
                  <a:outerShdw blurRad="38100" dist="38100" dir="2700000" algn="tl">
                    <a:srgbClr val="000000">
                      <a:alpha val="43137"/>
                    </a:srgbClr>
                  </a:outerShdw>
                </a:effectLst>
                <a:latin typeface="+mn-ea"/>
                <a:cs typeface="+mn-ea"/>
              </a:endParaRPr>
            </a:p>
          </p:txBody>
        </p:sp>
        <p:sp>
          <p:nvSpPr>
            <p:cNvPr id="16" name="TextBox 15"/>
            <p:cNvSpPr txBox="1"/>
            <p:nvPr/>
          </p:nvSpPr>
          <p:spPr>
            <a:xfrm>
              <a:off x="3656018" y="4726885"/>
              <a:ext cx="600164" cy="623248"/>
            </a:xfrm>
            <a:prstGeom prst="rect">
              <a:avLst/>
            </a:prstGeom>
            <a:noFill/>
          </p:spPr>
          <p:txBody>
            <a:bodyPr wrap="none" rtlCol="0">
              <a:spAutoFit/>
            </a:bodyPr>
            <a:lstStyle/>
            <a:p>
              <a:pPr algn="ctr" defTabSz="1219200">
                <a:defRPr/>
              </a:pPr>
              <a:r>
                <a:rPr lang="zh-CN" altLang="en-US" sz="2400" kern="0" dirty="0">
                  <a:solidFill>
                    <a:prstClr val="white">
                      <a:lumMod val="95000"/>
                    </a:prstClr>
                  </a:solidFill>
                  <a:effectLst>
                    <a:outerShdw blurRad="38100" dist="38100" dir="2700000" algn="tl">
                      <a:srgbClr val="000000">
                        <a:alpha val="43137"/>
                      </a:srgbClr>
                    </a:outerShdw>
                  </a:effectLst>
                  <a:latin typeface="+mn-ea"/>
                  <a:cs typeface="+mn-ea"/>
                </a:rPr>
                <a:t>标题</a:t>
              </a:r>
              <a:endParaRPr lang="en-US" altLang="zh-CN" sz="2400" kern="0" dirty="0">
                <a:solidFill>
                  <a:prstClr val="white">
                    <a:lumMod val="95000"/>
                  </a:prstClr>
                </a:solidFill>
                <a:effectLst>
                  <a:outerShdw blurRad="38100" dist="38100" dir="2700000" algn="tl">
                    <a:srgbClr val="000000">
                      <a:alpha val="43137"/>
                    </a:srgbClr>
                  </a:outerShdw>
                </a:effectLst>
                <a:latin typeface="+mn-ea"/>
                <a:cs typeface="+mn-ea"/>
              </a:endParaRPr>
            </a:p>
            <a:p>
              <a:pPr algn="ctr" defTabSz="1219200">
                <a:defRPr/>
              </a:pPr>
              <a:r>
                <a:rPr lang="zh-CN" altLang="en-US" sz="2400" kern="0" dirty="0">
                  <a:solidFill>
                    <a:prstClr val="white">
                      <a:lumMod val="95000"/>
                    </a:prstClr>
                  </a:solidFill>
                  <a:effectLst>
                    <a:outerShdw blurRad="38100" dist="38100" dir="2700000" algn="tl">
                      <a:srgbClr val="000000">
                        <a:alpha val="43137"/>
                      </a:srgbClr>
                    </a:outerShdw>
                  </a:effectLst>
                  <a:latin typeface="+mn-ea"/>
                  <a:cs typeface="+mn-ea"/>
                </a:rPr>
                <a:t>文字</a:t>
              </a:r>
              <a:endParaRPr lang="zh-CN" altLang="en-US" sz="2400" kern="0" dirty="0">
                <a:solidFill>
                  <a:prstClr val="white">
                    <a:lumMod val="95000"/>
                  </a:prstClr>
                </a:solidFill>
                <a:effectLst>
                  <a:outerShdw blurRad="38100" dist="38100" dir="2700000" algn="tl">
                    <a:srgbClr val="000000">
                      <a:alpha val="43137"/>
                    </a:srgbClr>
                  </a:outerShdw>
                </a:effectLst>
                <a:latin typeface="+mn-ea"/>
                <a:cs typeface="+mn-ea"/>
              </a:endParaRPr>
            </a:p>
          </p:txBody>
        </p:sp>
      </p:grpSp>
      <p:grpSp>
        <p:nvGrpSpPr>
          <p:cNvPr id="17" name="组合 16"/>
          <p:cNvGrpSpPr/>
          <p:nvPr/>
        </p:nvGrpSpPr>
        <p:grpSpPr>
          <a:xfrm>
            <a:off x="6384033" y="1700808"/>
            <a:ext cx="3397425" cy="1173691"/>
            <a:chOff x="5770504" y="2725131"/>
            <a:chExt cx="2548069" cy="880268"/>
          </a:xfrm>
        </p:grpSpPr>
        <p:grpSp>
          <p:nvGrpSpPr>
            <p:cNvPr id="18" name="组合 44"/>
            <p:cNvGrpSpPr/>
            <p:nvPr/>
          </p:nvGrpSpPr>
          <p:grpSpPr bwMode="auto">
            <a:xfrm flipH="1">
              <a:off x="6042252" y="3141849"/>
              <a:ext cx="2184400" cy="438581"/>
              <a:chOff x="-362770" y="3102960"/>
              <a:chExt cx="2183514" cy="438581"/>
            </a:xfrm>
          </p:grpSpPr>
          <p:sp>
            <p:nvSpPr>
              <p:cNvPr id="21" name="TextBox 11"/>
              <p:cNvSpPr txBox="1">
                <a:spLocks noChangeArrowheads="1"/>
              </p:cNvSpPr>
              <p:nvPr/>
            </p:nvSpPr>
            <p:spPr bwMode="auto">
              <a:xfrm>
                <a:off x="675034" y="3102960"/>
                <a:ext cx="1145710" cy="438581"/>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sp>
            <p:nvSpPr>
              <p:cNvPr id="22" name="TextBox 11"/>
              <p:cNvSpPr txBox="1">
                <a:spLocks noChangeArrowheads="1"/>
              </p:cNvSpPr>
              <p:nvPr/>
            </p:nvSpPr>
            <p:spPr bwMode="auto">
              <a:xfrm>
                <a:off x="-362770" y="3102960"/>
                <a:ext cx="1145710" cy="438581"/>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grpSp>
        <p:sp>
          <p:nvSpPr>
            <p:cNvPr id="19" name="TextBox 11"/>
            <p:cNvSpPr txBox="1">
              <a:spLocks noChangeArrowheads="1"/>
            </p:cNvSpPr>
            <p:nvPr/>
          </p:nvSpPr>
          <p:spPr bwMode="auto">
            <a:xfrm flipH="1">
              <a:off x="6064607" y="2725131"/>
              <a:ext cx="1456585" cy="315423"/>
            </a:xfrm>
            <a:prstGeom prst="rect">
              <a:avLst/>
            </a:prstGeom>
            <a:noFill/>
            <a:ln>
              <a:noFill/>
            </a:ln>
            <a:effec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2135" b="1" kern="0" dirty="0">
                  <a:solidFill>
                    <a:srgbClr val="969696"/>
                  </a:solidFill>
                  <a:latin typeface="+mn-ea"/>
                  <a:ea typeface="+mn-ea"/>
                  <a:cs typeface="+mn-ea"/>
                </a:rPr>
                <a:t>点击添加文本    </a:t>
              </a:r>
              <a:endParaRPr lang="en-US" altLang="zh-CN" sz="2135" b="1" kern="0" dirty="0">
                <a:solidFill>
                  <a:srgbClr val="969696"/>
                </a:solidFill>
                <a:latin typeface="+mn-ea"/>
                <a:ea typeface="+mn-ea"/>
                <a:cs typeface="+mn-ea"/>
              </a:endParaRPr>
            </a:p>
          </p:txBody>
        </p:sp>
        <p:cxnSp>
          <p:nvCxnSpPr>
            <p:cNvPr id="20" name="直接连接符 19"/>
            <p:cNvCxnSpPr/>
            <p:nvPr/>
          </p:nvCxnSpPr>
          <p:spPr>
            <a:xfrm flipH="1">
              <a:off x="5770504" y="3605399"/>
              <a:ext cx="2548069" cy="0"/>
            </a:xfrm>
            <a:prstGeom prst="line">
              <a:avLst/>
            </a:prstGeom>
            <a:noFill/>
            <a:ln w="12700" cap="flat" cmpd="sng" algn="ctr">
              <a:solidFill>
                <a:srgbClr val="E46C0A"/>
              </a:solidFill>
              <a:prstDash val="sysDot"/>
              <a:headEnd type="oval"/>
              <a:tailEnd type="oval"/>
            </a:ln>
            <a:effectLst/>
          </p:spPr>
        </p:cxnSp>
      </p:grpSp>
      <p:grpSp>
        <p:nvGrpSpPr>
          <p:cNvPr id="23" name="组合 22"/>
          <p:cNvGrpSpPr/>
          <p:nvPr/>
        </p:nvGrpSpPr>
        <p:grpSpPr>
          <a:xfrm>
            <a:off x="431372" y="3342949"/>
            <a:ext cx="3519977" cy="1173691"/>
            <a:chOff x="821899" y="3716534"/>
            <a:chExt cx="2639983" cy="880268"/>
          </a:xfrm>
        </p:grpSpPr>
        <p:grpSp>
          <p:nvGrpSpPr>
            <p:cNvPr id="24" name="组合 44"/>
            <p:cNvGrpSpPr/>
            <p:nvPr/>
          </p:nvGrpSpPr>
          <p:grpSpPr bwMode="auto">
            <a:xfrm flipH="1">
              <a:off x="821899" y="4133252"/>
              <a:ext cx="2184400" cy="438581"/>
              <a:chOff x="-362770" y="3102960"/>
              <a:chExt cx="2183514" cy="438581"/>
            </a:xfrm>
          </p:grpSpPr>
          <p:sp>
            <p:nvSpPr>
              <p:cNvPr id="27" name="TextBox 11"/>
              <p:cNvSpPr txBox="1">
                <a:spLocks noChangeArrowheads="1"/>
              </p:cNvSpPr>
              <p:nvPr/>
            </p:nvSpPr>
            <p:spPr bwMode="auto">
              <a:xfrm>
                <a:off x="675034" y="3102960"/>
                <a:ext cx="1145710" cy="438581"/>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sp>
            <p:nvSpPr>
              <p:cNvPr id="28" name="TextBox 11"/>
              <p:cNvSpPr txBox="1">
                <a:spLocks noChangeArrowheads="1"/>
              </p:cNvSpPr>
              <p:nvPr/>
            </p:nvSpPr>
            <p:spPr bwMode="auto">
              <a:xfrm>
                <a:off x="-362770" y="3102960"/>
                <a:ext cx="1145710" cy="438581"/>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grpSp>
        <p:sp>
          <p:nvSpPr>
            <p:cNvPr id="25" name="TextBox 11"/>
            <p:cNvSpPr txBox="1">
              <a:spLocks noChangeArrowheads="1"/>
            </p:cNvSpPr>
            <p:nvPr/>
          </p:nvSpPr>
          <p:spPr bwMode="auto">
            <a:xfrm flipH="1">
              <a:off x="844254" y="3716534"/>
              <a:ext cx="1456585" cy="315423"/>
            </a:xfrm>
            <a:prstGeom prst="rect">
              <a:avLst/>
            </a:prstGeom>
            <a:noFill/>
            <a:ln>
              <a:noFill/>
            </a:ln>
            <a:effec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2135" b="1" kern="0" dirty="0">
                  <a:solidFill>
                    <a:srgbClr val="969696"/>
                  </a:solidFill>
                  <a:latin typeface="+mn-ea"/>
                  <a:ea typeface="+mn-ea"/>
                  <a:cs typeface="+mn-ea"/>
                </a:rPr>
                <a:t>点击添加文本    </a:t>
              </a:r>
              <a:endParaRPr lang="en-US" altLang="zh-CN" sz="2135" b="1" kern="0" dirty="0">
                <a:solidFill>
                  <a:srgbClr val="969696"/>
                </a:solidFill>
                <a:latin typeface="+mn-ea"/>
                <a:ea typeface="+mn-ea"/>
                <a:cs typeface="+mn-ea"/>
              </a:endParaRPr>
            </a:p>
          </p:txBody>
        </p:sp>
        <p:cxnSp>
          <p:nvCxnSpPr>
            <p:cNvPr id="26" name="直接连接符 25"/>
            <p:cNvCxnSpPr/>
            <p:nvPr/>
          </p:nvCxnSpPr>
          <p:spPr>
            <a:xfrm flipH="1">
              <a:off x="868640" y="4596802"/>
              <a:ext cx="2593242" cy="0"/>
            </a:xfrm>
            <a:prstGeom prst="line">
              <a:avLst/>
            </a:prstGeom>
            <a:noFill/>
            <a:ln w="12700" cap="flat" cmpd="sng" algn="ctr">
              <a:solidFill>
                <a:srgbClr val="E46C0A"/>
              </a:solidFill>
              <a:prstDash val="sysDot"/>
              <a:headEnd type="oval"/>
              <a:tailEnd type="oval"/>
            </a:ln>
            <a:effectLst/>
          </p:spPr>
        </p:cxnSp>
      </p:grpSp>
      <p:grpSp>
        <p:nvGrpSpPr>
          <p:cNvPr id="29" name="组合 28"/>
          <p:cNvGrpSpPr/>
          <p:nvPr/>
        </p:nvGrpSpPr>
        <p:grpSpPr>
          <a:xfrm>
            <a:off x="7747226" y="3946977"/>
            <a:ext cx="3397425" cy="1173691"/>
            <a:chOff x="5770504" y="2725131"/>
            <a:chExt cx="2548069" cy="880268"/>
          </a:xfrm>
        </p:grpSpPr>
        <p:grpSp>
          <p:nvGrpSpPr>
            <p:cNvPr id="30" name="组合 44"/>
            <p:cNvGrpSpPr/>
            <p:nvPr/>
          </p:nvGrpSpPr>
          <p:grpSpPr bwMode="auto">
            <a:xfrm flipH="1">
              <a:off x="6042252" y="3141849"/>
              <a:ext cx="2184400" cy="438581"/>
              <a:chOff x="-362770" y="3102960"/>
              <a:chExt cx="2183514" cy="438581"/>
            </a:xfrm>
          </p:grpSpPr>
          <p:sp>
            <p:nvSpPr>
              <p:cNvPr id="36" name="TextBox 11"/>
              <p:cNvSpPr txBox="1">
                <a:spLocks noChangeArrowheads="1"/>
              </p:cNvSpPr>
              <p:nvPr/>
            </p:nvSpPr>
            <p:spPr bwMode="auto">
              <a:xfrm>
                <a:off x="675034" y="3102960"/>
                <a:ext cx="1145710" cy="438581"/>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sp>
            <p:nvSpPr>
              <p:cNvPr id="37" name="TextBox 11"/>
              <p:cNvSpPr txBox="1">
                <a:spLocks noChangeArrowheads="1"/>
              </p:cNvSpPr>
              <p:nvPr/>
            </p:nvSpPr>
            <p:spPr bwMode="auto">
              <a:xfrm>
                <a:off x="-362770" y="3102960"/>
                <a:ext cx="1145710" cy="438581"/>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grpSp>
        <p:sp>
          <p:nvSpPr>
            <p:cNvPr id="34" name="TextBox 11"/>
            <p:cNvSpPr txBox="1">
              <a:spLocks noChangeArrowheads="1"/>
            </p:cNvSpPr>
            <p:nvPr/>
          </p:nvSpPr>
          <p:spPr bwMode="auto">
            <a:xfrm flipH="1">
              <a:off x="6064607" y="2725131"/>
              <a:ext cx="1456585" cy="315423"/>
            </a:xfrm>
            <a:prstGeom prst="rect">
              <a:avLst/>
            </a:prstGeom>
            <a:noFill/>
            <a:ln>
              <a:noFill/>
            </a:ln>
            <a:effec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2135" b="1" kern="0" dirty="0">
                  <a:solidFill>
                    <a:srgbClr val="969696"/>
                  </a:solidFill>
                  <a:latin typeface="+mn-ea"/>
                  <a:ea typeface="+mn-ea"/>
                  <a:cs typeface="+mn-ea"/>
                </a:rPr>
                <a:t>点击添加文本    </a:t>
              </a:r>
              <a:endParaRPr lang="en-US" altLang="zh-CN" sz="2135" b="1" kern="0" dirty="0">
                <a:solidFill>
                  <a:srgbClr val="969696"/>
                </a:solidFill>
                <a:latin typeface="+mn-ea"/>
                <a:ea typeface="+mn-ea"/>
                <a:cs typeface="+mn-ea"/>
              </a:endParaRPr>
            </a:p>
          </p:txBody>
        </p:sp>
        <p:cxnSp>
          <p:nvCxnSpPr>
            <p:cNvPr id="35" name="直接连接符 34"/>
            <p:cNvCxnSpPr/>
            <p:nvPr/>
          </p:nvCxnSpPr>
          <p:spPr>
            <a:xfrm flipH="1">
              <a:off x="5770504" y="3605399"/>
              <a:ext cx="2548069" cy="0"/>
            </a:xfrm>
            <a:prstGeom prst="line">
              <a:avLst/>
            </a:prstGeom>
            <a:noFill/>
            <a:ln w="12700" cap="flat" cmpd="sng" algn="ctr">
              <a:solidFill>
                <a:srgbClr val="E46C0A"/>
              </a:solidFill>
              <a:prstDash val="sysDot"/>
              <a:headEnd type="oval"/>
              <a:tailEnd type="oval"/>
            </a:ln>
            <a:effectLst/>
          </p:spPr>
        </p:cxnSp>
      </p:grpSp>
      <p:sp>
        <p:nvSpPr>
          <p:cNvPr id="38"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9" name="文本框 38"/>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8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childTnLst>
                                </p:cTn>
                              </p:par>
                              <p:par>
                                <p:cTn id="20" presetID="49" presetClass="path" presetSubtype="0" accel="50000" decel="50000" fill="hold" nodeType="withEffect">
                                  <p:stCondLst>
                                    <p:cond delay="0"/>
                                  </p:stCondLst>
                                  <p:childTnLst>
                                    <p:animMotion origin="layout" path="M 0.00031 0.00023 L -0.09464 -0.04669 " pathEditMode="relative" rAng="0" ptsTypes="AA">
                                      <p:cBhvr>
                                        <p:cTn id="21" dur="1000" spd="-100000" fill="hold"/>
                                        <p:tgtEl>
                                          <p:spTgt spid="8"/>
                                        </p:tgtEl>
                                        <p:attrNameLst>
                                          <p:attrName>ppt_x</p:attrName>
                                          <p:attrName>ppt_y</p:attrName>
                                        </p:attrNameLst>
                                      </p:cBhvr>
                                      <p:rCtr x="-4755" y="-2358"/>
                                    </p:animMotion>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1000"/>
                                        <p:tgtEl>
                                          <p:spTgt spid="14"/>
                                        </p:tgtEl>
                                      </p:cBhvr>
                                    </p:animEffect>
                                  </p:childTnLst>
                                </p:cTn>
                              </p:par>
                              <p:par>
                                <p:cTn id="27" presetID="49" presetClass="path" presetSubtype="0" accel="50000" decel="50000" fill="hold" nodeType="withEffect">
                                  <p:stCondLst>
                                    <p:cond delay="0"/>
                                  </p:stCondLst>
                                  <p:childTnLst>
                                    <p:animMotion origin="layout" path="M 0.00061 0.00046 L 0.09618 -0.04669 " pathEditMode="relative" rAng="0" ptsTypes="AA">
                                      <p:cBhvr>
                                        <p:cTn id="28" dur="1000" spd="-100000" fill="hold"/>
                                        <p:tgtEl>
                                          <p:spTgt spid="14"/>
                                        </p:tgtEl>
                                        <p:attrNameLst>
                                          <p:attrName>ppt_x</p:attrName>
                                          <p:attrName>ppt_y</p:attrName>
                                        </p:attrNameLst>
                                      </p:cBhvr>
                                      <p:rCtr x="4771" y="-2358"/>
                                    </p:animMotion>
                                  </p:childTnLst>
                                </p:cTn>
                              </p:par>
                            </p:childTnLst>
                          </p:cTn>
                        </p:par>
                        <p:par>
                          <p:cTn id="29" fill="hold">
                            <p:stCondLst>
                              <p:cond delay="1000"/>
                            </p:stCondLst>
                            <p:childTnLst>
                              <p:par>
                                <p:cTn id="30" presetID="12" presetClass="entr" presetSubtype="2" fill="hold"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slide(fromRight)">
                                      <p:cBhvr>
                                        <p:cTn id="32" dur="1000"/>
                                        <p:tgtEl>
                                          <p:spTgt spid="17"/>
                                        </p:tgtEl>
                                      </p:cBhvr>
                                    </p:animEffect>
                                  </p:childTnLst>
                                </p:cTn>
                              </p:par>
                              <p:par>
                                <p:cTn id="33" presetID="12" presetClass="entr" presetSubtype="8" fill="hold"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slide(fromLeft)">
                                      <p:cBhvr>
                                        <p:cTn id="35" dur="1000"/>
                                        <p:tgtEl>
                                          <p:spTgt spid="23"/>
                                        </p:tgtEl>
                                      </p:cBhvr>
                                    </p:animEffect>
                                  </p:childTnLst>
                                </p:cTn>
                              </p:par>
                            </p:childTnLst>
                          </p:cTn>
                        </p:par>
                        <p:par>
                          <p:cTn id="36" fill="hold">
                            <p:stCondLst>
                              <p:cond delay="2000"/>
                            </p:stCondLst>
                            <p:childTnLst>
                              <p:par>
                                <p:cTn id="37" presetID="12" presetClass="entr" presetSubtype="2" fill="hold" nodeType="after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slide(fromRight)">
                                      <p:cBhvr>
                                        <p:cTn id="39" dur="1000"/>
                                        <p:tgtEl>
                                          <p:spTgt spid="29"/>
                                        </p:tgtEl>
                                      </p:cBhvr>
                                    </p:animEffect>
                                  </p:childTnLst>
                                </p:cTn>
                              </p:par>
                            </p:childTnLst>
                          </p:cTn>
                        </p:par>
                        <p:par>
                          <p:cTn id="40" fill="hold">
                            <p:stCondLst>
                              <p:cond delay="3000"/>
                            </p:stCondLst>
                            <p:childTnLst>
                              <p:par>
                                <p:cTn id="41" presetID="22" presetClass="entr" presetSubtype="4" fill="hold" grpId="0" nodeType="after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wipe(down)">
                                      <p:cBhvr>
                                        <p:cTn id="43" dur="125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2"/>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t="7908" b="23035"/>
          <a:stretch>
            <a:fillRect/>
          </a:stretch>
        </p:blipFill>
        <p:spPr bwMode="auto">
          <a:xfrm rot="21122481">
            <a:off x="3658871" y="2144943"/>
            <a:ext cx="8052343" cy="3841531"/>
          </a:xfrm>
          <a:prstGeom prst="parallelogram">
            <a:avLst>
              <a:gd name="adj" fmla="val 32930"/>
            </a:avLst>
          </a:prstGeom>
          <a:noFill/>
          <a:extLst>
            <a:ext uri="{909E8E84-426E-40DD-AFC4-6F175D3DCCD1}">
              <a14:hiddenFill xmlns:a14="http://schemas.microsoft.com/office/drawing/2010/main">
                <a:solidFill>
                  <a:srgbClr val="FFFFFF"/>
                </a:solidFill>
              </a14:hiddenFill>
            </a:ext>
          </a:extLst>
        </p:spPr>
      </p:pic>
      <p:sp>
        <p:nvSpPr>
          <p:cNvPr id="39" name="TextBox 38"/>
          <p:cNvSpPr txBox="1"/>
          <p:nvPr/>
        </p:nvSpPr>
        <p:spPr>
          <a:xfrm>
            <a:off x="1202643" y="1605986"/>
            <a:ext cx="6908271" cy="1727067"/>
          </a:xfrm>
          <a:prstGeom prst="parallelogram">
            <a:avLst>
              <a:gd name="adj" fmla="val 33657"/>
            </a:avLst>
          </a:prstGeom>
          <a:solidFill>
            <a:srgbClr val="254061"/>
          </a:solidFill>
          <a:ln w="57150">
            <a:gradFill>
              <a:gsLst>
                <a:gs pos="0">
                  <a:schemeClr val="bg1"/>
                </a:gs>
                <a:gs pos="100000">
                  <a:schemeClr val="bg1">
                    <a:lumMod val="85000"/>
                  </a:schemeClr>
                </a:gs>
              </a:gsLst>
              <a:lin ang="5400000" scaled="0"/>
            </a:gradFill>
          </a:ln>
          <a:effectLst>
            <a:outerShdw blurRad="228600" dist="114300" dir="6840000" sx="99000" sy="99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zh-CN"/>
            </a:defPPr>
            <a:lvl1pPr algn="ctr">
              <a:defRPr>
                <a:solidFill>
                  <a:schemeClr val="lt1"/>
                </a:solidFill>
                <a:latin typeface="微软雅黑" panose="020B0503020204020204" pitchFamily="34" charset="-122"/>
                <a:ea typeface="微软雅黑" panose="020B0503020204020204" pitchFamily="34" charset="-122"/>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2130" i="1" dirty="0">
                <a:ea typeface="+mn-ea"/>
                <a:cs typeface="+mn-ea"/>
              </a:rPr>
              <a:t>    “ </a:t>
            </a:r>
            <a:r>
              <a:rPr lang="zh-CN" altLang="en-US" sz="2130" i="1" dirty="0">
                <a:ea typeface="+mn-ea"/>
                <a:cs typeface="+mn-ea"/>
              </a:rPr>
              <a:t>想象力比知识更重要，因为知识是有限的，而想象力概括着世界上的一切。</a:t>
            </a:r>
            <a:r>
              <a:rPr lang="en-US" sz="2130" i="1" dirty="0">
                <a:ea typeface="+mn-ea"/>
                <a:cs typeface="+mn-ea"/>
              </a:rPr>
              <a:t>”  </a:t>
            </a:r>
            <a:endParaRPr lang="en-US" sz="2130" i="1" dirty="0">
              <a:ea typeface="+mn-ea"/>
              <a:cs typeface="+mn-ea"/>
            </a:endParaRPr>
          </a:p>
          <a:p>
            <a:r>
              <a:rPr lang="en-US" altLang="zh-CN" sz="1865" i="1" dirty="0">
                <a:ea typeface="+mn-ea"/>
                <a:cs typeface="+mn-ea"/>
              </a:rPr>
              <a:t>                                                      -- </a:t>
            </a:r>
            <a:r>
              <a:rPr lang="zh-CN" altLang="en-US" sz="1865" i="1" dirty="0">
                <a:ea typeface="+mn-ea"/>
                <a:cs typeface="+mn-ea"/>
              </a:rPr>
              <a:t>爱因斯坦</a:t>
            </a:r>
            <a:endParaRPr lang="en-US" altLang="zh-CN" sz="1865" i="1" dirty="0">
              <a:ea typeface="+mn-ea"/>
              <a:cs typeface="+mn-ea"/>
            </a:endParaRPr>
          </a:p>
        </p:txBody>
      </p:sp>
      <p:sp>
        <p:nvSpPr>
          <p:cNvPr id="40"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5" name="文本框 4"/>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750" fill="hold"/>
                                        <p:tgtEl>
                                          <p:spTgt spid="39"/>
                                        </p:tgtEl>
                                        <p:attrNameLst>
                                          <p:attrName>ppt_x</p:attrName>
                                        </p:attrNameLst>
                                      </p:cBhvr>
                                      <p:tavLst>
                                        <p:tav tm="0">
                                          <p:val>
                                            <p:strVal val="0-#ppt_w/2"/>
                                          </p:val>
                                        </p:tav>
                                        <p:tav tm="100000">
                                          <p:val>
                                            <p:strVal val="#ppt_x"/>
                                          </p:val>
                                        </p:tav>
                                      </p:tavLst>
                                    </p:anim>
                                    <p:anim calcmode="lin" valueType="num">
                                      <p:cBhvr additive="base">
                                        <p:cTn id="8" dur="750" fill="hold"/>
                                        <p:tgtEl>
                                          <p:spTgt spid="39"/>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2" decel="100000" fill="hold" nodeType="afterEffect">
                                  <p:stCondLst>
                                    <p:cond delay="0"/>
                                  </p:stCondLst>
                                  <p:childTnLst>
                                    <p:set>
                                      <p:cBhvr>
                                        <p:cTn id="11" dur="1" fill="hold">
                                          <p:stCondLst>
                                            <p:cond delay="0"/>
                                          </p:stCondLst>
                                        </p:cTn>
                                        <p:tgtEl>
                                          <p:spTgt spid="37"/>
                                        </p:tgtEl>
                                        <p:attrNameLst>
                                          <p:attrName>style.visibility</p:attrName>
                                        </p:attrNameLst>
                                      </p:cBhvr>
                                      <p:to>
                                        <p:strVal val="visible"/>
                                      </p:to>
                                    </p:set>
                                    <p:anim calcmode="lin" valueType="num">
                                      <p:cBhvr additive="base">
                                        <p:cTn id="12" dur="750" fill="hold"/>
                                        <p:tgtEl>
                                          <p:spTgt spid="37"/>
                                        </p:tgtEl>
                                        <p:attrNameLst>
                                          <p:attrName>ppt_x</p:attrName>
                                        </p:attrNameLst>
                                      </p:cBhvr>
                                      <p:tavLst>
                                        <p:tav tm="0">
                                          <p:val>
                                            <p:strVal val="1+#ppt_w/2"/>
                                          </p:val>
                                        </p:tav>
                                        <p:tav tm="100000">
                                          <p:val>
                                            <p:strVal val="#ppt_x"/>
                                          </p:val>
                                        </p:tav>
                                      </p:tavLst>
                                    </p:anim>
                                    <p:anim calcmode="lin" valueType="num">
                                      <p:cBhvr additive="base">
                                        <p:cTn id="13" dur="750" fill="hold"/>
                                        <p:tgtEl>
                                          <p:spTgt spid="37"/>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2" presetClass="entr" presetSubtype="4"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down)">
                                      <p:cBhvr>
                                        <p:cTn id="17" dur="1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utoShape 60"/>
          <p:cNvSpPr>
            <a:spLocks noChangeArrowheads="1"/>
          </p:cNvSpPr>
          <p:nvPr/>
        </p:nvSpPr>
        <p:spPr bwMode="auto">
          <a:xfrm>
            <a:off x="6734936" y="3000892"/>
            <a:ext cx="761691" cy="1068281"/>
          </a:xfrm>
          <a:prstGeom prst="rightArrow">
            <a:avLst>
              <a:gd name="adj1" fmla="val 68556"/>
              <a:gd name="adj2" fmla="val 38969"/>
            </a:avLst>
          </a:prstGeom>
          <a:solidFill>
            <a:srgbClr val="254061">
              <a:alpha val="60000"/>
            </a:srgbClr>
          </a:solidFill>
          <a:ln w="25400" cap="flat" cmpd="sng" algn="ctr">
            <a:noFill/>
            <a:prstDash val="solid"/>
          </a:ln>
          <a:effectLst/>
          <a:scene3d>
            <a:camera prst="orthographicFront"/>
            <a:lightRig rig="flat" dir="t"/>
          </a:scene3d>
          <a:sp3d contourW="19050">
            <a:bevelB w="0" h="0"/>
            <a:contourClr>
              <a:srgbClr val="FFFFFF"/>
            </a:contourClr>
          </a:sp3d>
        </p:spPr>
        <p:txBody>
          <a:bodyPr anchor="ctr"/>
          <a:lstStyle/>
          <a:p>
            <a:pPr marL="0" lvl="2" algn="ctr" defTabSz="1219200" eaLnBrk="0" fontAlgn="ctr" hangingPunct="0">
              <a:buClr>
                <a:srgbClr val="FF0000"/>
              </a:buClr>
              <a:buSzPct val="70000"/>
              <a:buFont typeface="Wingdings" panose="05000000000000000000" pitchFamily="2" charset="2"/>
              <a:buChar char="u"/>
              <a:tabLst>
                <a:tab pos="181610" algn="l"/>
              </a:tabLst>
              <a:defRPr/>
            </a:pPr>
            <a:endParaRPr lang="zh-CN" altLang="en-US" sz="1865" kern="0" dirty="0">
              <a:solidFill>
                <a:srgbClr val="FFFFFF"/>
              </a:solidFill>
              <a:latin typeface="+mn-ea"/>
              <a:cs typeface="+mn-ea"/>
            </a:endParaRPr>
          </a:p>
        </p:txBody>
      </p:sp>
      <p:sp>
        <p:nvSpPr>
          <p:cNvPr id="17" name="圆角矩形 16"/>
          <p:cNvSpPr/>
          <p:nvPr/>
        </p:nvSpPr>
        <p:spPr bwMode="auto">
          <a:xfrm>
            <a:off x="1967541" y="4191199"/>
            <a:ext cx="4224867" cy="1824567"/>
          </a:xfrm>
          <a:prstGeom prst="roundRect">
            <a:avLst>
              <a:gd name="adj" fmla="val 7848"/>
            </a:avLst>
          </a:prstGeom>
          <a:noFill/>
          <a:ln w="38100" cap="flat" cmpd="sng" algn="ctr">
            <a:solidFill>
              <a:srgbClr val="254061"/>
            </a:solidFill>
            <a:prstDash val="solid"/>
          </a:ln>
          <a:effectLst/>
        </p:spPr>
        <p:txBody>
          <a:bodyPr anchor="ctr"/>
          <a:lstStyle/>
          <a:p>
            <a:pPr marL="0" lvl="2" algn="ctr" defTabSz="1219200" eaLnBrk="0" fontAlgn="ctr" hangingPunct="0">
              <a:buClr>
                <a:srgbClr val="FF0000"/>
              </a:buClr>
              <a:buSzPct val="70000"/>
              <a:buFont typeface="Wingdings" panose="05000000000000000000" pitchFamily="2" charset="2"/>
              <a:buChar char="n"/>
              <a:tabLst>
                <a:tab pos="181610" algn="l"/>
              </a:tabLst>
              <a:defRPr/>
            </a:pPr>
            <a:endParaRPr lang="zh-CN" altLang="en-US" sz="1865" kern="0" dirty="0">
              <a:solidFill>
                <a:srgbClr val="7F7F7F"/>
              </a:solidFill>
              <a:latin typeface="+mn-ea"/>
              <a:cs typeface="+mn-ea"/>
            </a:endParaRPr>
          </a:p>
        </p:txBody>
      </p:sp>
      <p:sp>
        <p:nvSpPr>
          <p:cNvPr id="18" name="矩形 87"/>
          <p:cNvSpPr>
            <a:spLocks noChangeArrowheads="1"/>
          </p:cNvSpPr>
          <p:nvPr/>
        </p:nvSpPr>
        <p:spPr bwMode="auto">
          <a:xfrm>
            <a:off x="2119643" y="4976045"/>
            <a:ext cx="3920664" cy="666977"/>
          </a:xfrm>
          <a:prstGeom prst="rect">
            <a:avLst/>
          </a:prstGeom>
          <a:noFill/>
          <a:ln w="9525">
            <a:noFill/>
            <a:miter lim="800000"/>
          </a:ln>
        </p:spPr>
        <p:txBody>
          <a:bodyPr>
            <a:spAutoFit/>
          </a:bodyPr>
          <a:lstStyle/>
          <a:p>
            <a:pPr algn="ctr" eaLnBrk="0" fontAlgn="ctr" hangingPunct="0">
              <a:buClr>
                <a:srgbClr val="FF0000"/>
              </a:buClr>
              <a:buSzPct val="70000"/>
            </a:pPr>
            <a:r>
              <a:rPr lang="zh-CN" altLang="en-US" sz="1865" dirty="0">
                <a:solidFill>
                  <a:srgbClr val="7F7F7F"/>
                </a:solidFill>
                <a:latin typeface="+mn-ea"/>
                <a:cs typeface="+mn-ea"/>
              </a:rPr>
              <a:t>点击添加文本 点击添加文本</a:t>
            </a:r>
            <a:endParaRPr lang="zh-CN" altLang="en-US" sz="1865" dirty="0">
              <a:solidFill>
                <a:srgbClr val="7F7F7F"/>
              </a:solidFill>
              <a:latin typeface="+mn-ea"/>
              <a:cs typeface="+mn-ea"/>
            </a:endParaRPr>
          </a:p>
          <a:p>
            <a:pPr algn="ctr" eaLnBrk="0" fontAlgn="ctr" hangingPunct="0">
              <a:buClr>
                <a:srgbClr val="FF0000"/>
              </a:buClr>
              <a:buSzPct val="70000"/>
            </a:pPr>
            <a:r>
              <a:rPr lang="zh-CN" altLang="en-US" sz="1865" dirty="0">
                <a:solidFill>
                  <a:srgbClr val="7F7F7F"/>
                </a:solidFill>
                <a:latin typeface="+mn-ea"/>
                <a:cs typeface="+mn-ea"/>
              </a:rPr>
              <a:t>点击添加文本 点击添加文本</a:t>
            </a:r>
            <a:endParaRPr lang="zh-CN" altLang="en-US" sz="1865" dirty="0">
              <a:solidFill>
                <a:srgbClr val="7F7F7F"/>
              </a:solidFill>
              <a:latin typeface="+mn-ea"/>
              <a:cs typeface="+mn-ea"/>
            </a:endParaRPr>
          </a:p>
        </p:txBody>
      </p:sp>
      <p:sp>
        <p:nvSpPr>
          <p:cNvPr id="19" name="圆角矩形 18"/>
          <p:cNvSpPr/>
          <p:nvPr/>
        </p:nvSpPr>
        <p:spPr bwMode="auto">
          <a:xfrm>
            <a:off x="1967541" y="1316768"/>
            <a:ext cx="4224867" cy="1822449"/>
          </a:xfrm>
          <a:prstGeom prst="roundRect">
            <a:avLst>
              <a:gd name="adj" fmla="val 7848"/>
            </a:avLst>
          </a:prstGeom>
          <a:noFill/>
          <a:ln w="38100" cap="flat" cmpd="sng" algn="ctr">
            <a:solidFill>
              <a:srgbClr val="254061"/>
            </a:solidFill>
            <a:prstDash val="solid"/>
          </a:ln>
          <a:effectLst/>
        </p:spPr>
        <p:txBody>
          <a:bodyPr anchor="ctr"/>
          <a:lstStyle/>
          <a:p>
            <a:pPr marL="0" lvl="2" algn="ctr" defTabSz="1219200" eaLnBrk="0" fontAlgn="ctr" hangingPunct="0">
              <a:buClr>
                <a:srgbClr val="FF0000"/>
              </a:buClr>
              <a:buSzPct val="70000"/>
              <a:buFont typeface="Wingdings" panose="05000000000000000000" pitchFamily="2" charset="2"/>
              <a:buChar char="n"/>
              <a:tabLst>
                <a:tab pos="181610" algn="l"/>
              </a:tabLst>
              <a:defRPr/>
            </a:pPr>
            <a:endParaRPr lang="zh-CN" altLang="en-US" sz="1865" kern="0" dirty="0">
              <a:solidFill>
                <a:srgbClr val="FFFFFF"/>
              </a:solidFill>
              <a:latin typeface="+mn-ea"/>
              <a:cs typeface="+mn-ea"/>
            </a:endParaRPr>
          </a:p>
        </p:txBody>
      </p:sp>
      <p:sp>
        <p:nvSpPr>
          <p:cNvPr id="20" name="矩形 87"/>
          <p:cNvSpPr>
            <a:spLocks noChangeArrowheads="1"/>
          </p:cNvSpPr>
          <p:nvPr/>
        </p:nvSpPr>
        <p:spPr bwMode="auto">
          <a:xfrm>
            <a:off x="2007007" y="1646483"/>
            <a:ext cx="4145936" cy="666977"/>
          </a:xfrm>
          <a:prstGeom prst="rect">
            <a:avLst/>
          </a:prstGeom>
          <a:noFill/>
          <a:ln w="9525">
            <a:noFill/>
            <a:miter lim="800000"/>
          </a:ln>
        </p:spPr>
        <p:txBody>
          <a:bodyPr>
            <a:spAutoFit/>
          </a:bodyPr>
          <a:lstStyle/>
          <a:p>
            <a:pPr algn="ctr" eaLnBrk="0" fontAlgn="ctr" hangingPunct="0">
              <a:buClr>
                <a:srgbClr val="FF0000"/>
              </a:buClr>
              <a:buSzPct val="70000"/>
            </a:pPr>
            <a:r>
              <a:rPr lang="zh-CN" altLang="en-US" sz="1865" dirty="0">
                <a:solidFill>
                  <a:srgbClr val="7F7F7F"/>
                </a:solidFill>
                <a:latin typeface="+mn-ea"/>
                <a:cs typeface="+mn-ea"/>
              </a:rPr>
              <a:t>点击添加文本 点击添加文本</a:t>
            </a:r>
            <a:endParaRPr lang="zh-CN" altLang="en-US" sz="1865" dirty="0">
              <a:solidFill>
                <a:srgbClr val="7F7F7F"/>
              </a:solidFill>
              <a:latin typeface="+mn-ea"/>
              <a:cs typeface="+mn-ea"/>
            </a:endParaRPr>
          </a:p>
          <a:p>
            <a:pPr algn="ctr" eaLnBrk="0" fontAlgn="ctr" hangingPunct="0">
              <a:buClr>
                <a:srgbClr val="FF0000"/>
              </a:buClr>
              <a:buSzPct val="70000"/>
            </a:pPr>
            <a:r>
              <a:rPr lang="zh-CN" altLang="en-US" sz="1865" dirty="0">
                <a:solidFill>
                  <a:srgbClr val="7F7F7F"/>
                </a:solidFill>
                <a:latin typeface="+mn-ea"/>
                <a:cs typeface="+mn-ea"/>
              </a:rPr>
              <a:t>点击添加文本 点击添加文本</a:t>
            </a:r>
            <a:endParaRPr lang="zh-CN" altLang="en-US" sz="1865" dirty="0">
              <a:solidFill>
                <a:srgbClr val="7F7F7F"/>
              </a:solidFill>
              <a:latin typeface="+mn-ea"/>
              <a:cs typeface="+mn-ea"/>
            </a:endParaRPr>
          </a:p>
        </p:txBody>
      </p:sp>
      <p:grpSp>
        <p:nvGrpSpPr>
          <p:cNvPr id="21" name="组合 26"/>
          <p:cNvGrpSpPr>
            <a:grpSpLocks noChangeAspect="1"/>
          </p:cNvGrpSpPr>
          <p:nvPr/>
        </p:nvGrpSpPr>
        <p:grpSpPr bwMode="auto">
          <a:xfrm>
            <a:off x="2452261" y="2796315"/>
            <a:ext cx="3257551" cy="738717"/>
            <a:chOff x="855540" y="3513439"/>
            <a:chExt cx="1399872" cy="987727"/>
          </a:xfrm>
          <a:scene3d>
            <a:camera prst="orthographicFront">
              <a:rot lat="0" lon="0" rev="0"/>
            </a:camera>
            <a:lightRig rig="balanced" dir="t">
              <a:rot lat="0" lon="0" rev="8700000"/>
            </a:lightRig>
          </a:scene3d>
        </p:grpSpPr>
        <p:sp>
          <p:nvSpPr>
            <p:cNvPr id="22" name="圆角矩形 21"/>
            <p:cNvSpPr/>
            <p:nvPr/>
          </p:nvSpPr>
          <p:spPr>
            <a:xfrm>
              <a:off x="855540" y="3513439"/>
              <a:ext cx="1399872" cy="987727"/>
            </a:xfrm>
            <a:prstGeom prst="roundRect">
              <a:avLst>
                <a:gd name="adj" fmla="val 10568"/>
              </a:avLst>
            </a:prstGeom>
            <a:solidFill>
              <a:srgbClr val="254061"/>
            </a:solidFill>
            <a:ln w="25400" cap="flat" cmpd="sng" algn="ctr">
              <a:noFill/>
              <a:prstDash val="solid"/>
            </a:ln>
            <a:effectLst>
              <a:outerShdw blurRad="44450" dist="27940" dir="5400000" algn="ctr">
                <a:srgbClr val="000000">
                  <a:alpha val="32000"/>
                </a:srgbClr>
              </a:outerShdw>
            </a:effectLst>
            <a:sp3d/>
          </p:spPr>
          <p:txBody>
            <a:bodyPr anchor="ctr"/>
            <a:lstStyle/>
            <a:p>
              <a:pPr algn="ctr" defTabSz="1219200" eaLnBrk="0" fontAlgn="ctr" hangingPunct="0">
                <a:buClr>
                  <a:srgbClr val="FF0000"/>
                </a:buClr>
                <a:buSzPct val="70000"/>
                <a:buFont typeface="Wingdings" panose="05000000000000000000" pitchFamily="2" charset="2"/>
                <a:buChar char="u"/>
                <a:defRPr/>
              </a:pPr>
              <a:endParaRPr lang="zh-CN" altLang="en-US" sz="2135" b="1" kern="0">
                <a:solidFill>
                  <a:srgbClr val="FFFFFF"/>
                </a:solidFill>
                <a:latin typeface="+mn-ea"/>
                <a:cs typeface="+mn-ea"/>
              </a:endParaRPr>
            </a:p>
          </p:txBody>
        </p:sp>
        <p:sp>
          <p:nvSpPr>
            <p:cNvPr id="23" name="矩形 14"/>
            <p:cNvSpPr>
              <a:spLocks noChangeArrowheads="1"/>
            </p:cNvSpPr>
            <p:nvPr/>
          </p:nvSpPr>
          <p:spPr bwMode="auto">
            <a:xfrm>
              <a:off x="1004859" y="3726138"/>
              <a:ext cx="1101235" cy="562330"/>
            </a:xfrm>
            <a:prstGeom prst="rect">
              <a:avLst/>
            </a:prstGeom>
            <a:noFill/>
            <a:ln w="9525">
              <a:noFill/>
              <a:miter lim="800000"/>
            </a:ln>
            <a:effectLst>
              <a:outerShdw blurRad="44450" dist="27940" dir="5400000" algn="ctr">
                <a:srgbClr val="000000">
                  <a:alpha val="32000"/>
                </a:srgbClr>
              </a:outerShdw>
            </a:effectLst>
            <a:sp3d>
              <a:bevelT w="190500" h="38100"/>
            </a:sp3d>
          </p:spPr>
          <p:txBody>
            <a:bodyPr anchor="ctr">
              <a:spAutoFit/>
            </a:bodyPr>
            <a:lstStyle/>
            <a:p>
              <a:pPr algn="ctr" defTabSz="1219200" fontAlgn="ctr">
                <a:buClr>
                  <a:srgbClr val="FF0000"/>
                </a:buClr>
                <a:buSzPct val="70000"/>
                <a:defRPr/>
              </a:pPr>
              <a:r>
                <a:rPr kumimoji="1" lang="zh-CN" altLang="en-US" sz="2135" kern="0" dirty="0">
                  <a:solidFill>
                    <a:srgbClr val="FFFFFF"/>
                  </a:solidFill>
                  <a:latin typeface="+mn-ea"/>
                  <a:cs typeface="+mn-ea"/>
                </a:rPr>
                <a:t>添加标题</a:t>
              </a:r>
              <a:endParaRPr kumimoji="1" lang="zh-CN" altLang="en-US" sz="2135" kern="0" dirty="0">
                <a:solidFill>
                  <a:srgbClr val="FFFFFF"/>
                </a:solidFill>
                <a:latin typeface="+mn-ea"/>
                <a:cs typeface="+mn-ea"/>
              </a:endParaRPr>
            </a:p>
          </p:txBody>
        </p:sp>
      </p:grpSp>
      <p:grpSp>
        <p:nvGrpSpPr>
          <p:cNvPr id="24" name="组合 26"/>
          <p:cNvGrpSpPr>
            <a:grpSpLocks noChangeAspect="1"/>
          </p:cNvGrpSpPr>
          <p:nvPr/>
        </p:nvGrpSpPr>
        <p:grpSpPr bwMode="auto">
          <a:xfrm>
            <a:off x="2452261" y="3805968"/>
            <a:ext cx="3257551" cy="740833"/>
            <a:chOff x="855540" y="3513439"/>
            <a:chExt cx="1399872" cy="987727"/>
          </a:xfrm>
        </p:grpSpPr>
        <p:sp>
          <p:nvSpPr>
            <p:cNvPr id="25" name="圆角矩形 24"/>
            <p:cNvSpPr/>
            <p:nvPr/>
          </p:nvSpPr>
          <p:spPr>
            <a:xfrm>
              <a:off x="855540" y="3513439"/>
              <a:ext cx="1399872" cy="987727"/>
            </a:xfrm>
            <a:prstGeom prst="roundRect">
              <a:avLst>
                <a:gd name="adj" fmla="val 10568"/>
              </a:avLst>
            </a:prstGeom>
            <a:solidFill>
              <a:srgbClr val="254061"/>
            </a:solidFill>
            <a:ln w="25400" cap="flat" cmpd="sng" algn="ctr">
              <a:noFill/>
              <a:prstDash val="solid"/>
            </a:ln>
            <a:effectLst/>
          </p:spPr>
          <p:txBody>
            <a:bodyPr anchor="ctr"/>
            <a:lstStyle/>
            <a:p>
              <a:pPr algn="ctr" defTabSz="1219200" eaLnBrk="0" fontAlgn="ctr" hangingPunct="0">
                <a:buClr>
                  <a:srgbClr val="FF0000"/>
                </a:buClr>
                <a:buSzPct val="70000"/>
                <a:buFont typeface="Wingdings" panose="05000000000000000000" pitchFamily="2" charset="2"/>
                <a:buChar char="u"/>
                <a:defRPr/>
              </a:pPr>
              <a:endParaRPr lang="zh-CN" altLang="en-US" sz="2135" b="1" kern="0">
                <a:solidFill>
                  <a:srgbClr val="FFFFFF"/>
                </a:solidFill>
                <a:latin typeface="+mn-ea"/>
                <a:cs typeface="+mn-ea"/>
              </a:endParaRPr>
            </a:p>
          </p:txBody>
        </p:sp>
        <p:sp>
          <p:nvSpPr>
            <p:cNvPr id="26" name="矩形 25"/>
            <p:cNvSpPr>
              <a:spLocks noChangeArrowheads="1"/>
            </p:cNvSpPr>
            <p:nvPr/>
          </p:nvSpPr>
          <p:spPr bwMode="auto">
            <a:xfrm>
              <a:off x="930021" y="3726940"/>
              <a:ext cx="1250910" cy="560723"/>
            </a:xfrm>
            <a:prstGeom prst="rect">
              <a:avLst/>
            </a:prstGeom>
            <a:noFill/>
            <a:ln w="9525">
              <a:noFill/>
              <a:miter lim="800000"/>
            </a:ln>
            <a:effectLst>
              <a:outerShdw blurRad="44450" dist="27940" dir="5400000" algn="ctr">
                <a:srgbClr val="000000">
                  <a:alpha val="32000"/>
                </a:srgbClr>
              </a:outerShdw>
            </a:effectLst>
            <a:sp3d>
              <a:bevelT w="190500" h="38100"/>
            </a:sp3d>
          </p:spPr>
          <p:txBody>
            <a:bodyPr anchor="ctr">
              <a:spAutoFit/>
            </a:bodyPr>
            <a:lstStyle/>
            <a:p>
              <a:pPr algn="ctr" defTabSz="1219200" fontAlgn="ctr">
                <a:buClr>
                  <a:srgbClr val="FF0000"/>
                </a:buClr>
                <a:buSzPct val="70000"/>
                <a:defRPr/>
              </a:pPr>
              <a:r>
                <a:rPr kumimoji="1" lang="zh-CN" altLang="en-US" sz="2135" kern="0" dirty="0">
                  <a:solidFill>
                    <a:srgbClr val="FFFFFF"/>
                  </a:solidFill>
                  <a:latin typeface="+mn-ea"/>
                  <a:cs typeface="+mn-ea"/>
                </a:rPr>
                <a:t>添加标题</a:t>
              </a:r>
              <a:endParaRPr kumimoji="1" lang="zh-CN" altLang="en-US" sz="2135" kern="0" dirty="0">
                <a:solidFill>
                  <a:srgbClr val="FFFFFF"/>
                </a:solidFill>
                <a:latin typeface="+mn-ea"/>
                <a:cs typeface="+mn-ea"/>
              </a:endParaRPr>
            </a:p>
          </p:txBody>
        </p:sp>
      </p:grpSp>
      <p:grpSp>
        <p:nvGrpSpPr>
          <p:cNvPr id="27" name="组合 26"/>
          <p:cNvGrpSpPr/>
          <p:nvPr/>
        </p:nvGrpSpPr>
        <p:grpSpPr>
          <a:xfrm>
            <a:off x="7935880" y="2330649"/>
            <a:ext cx="2639483" cy="2641600"/>
            <a:chOff x="6336804" y="1747987"/>
            <a:chExt cx="1979612" cy="1981200"/>
          </a:xfrm>
        </p:grpSpPr>
        <p:sp>
          <p:nvSpPr>
            <p:cNvPr id="28" name="Oval 2"/>
            <p:cNvSpPr>
              <a:spLocks noChangeAspect="1" noChangeArrowheads="1"/>
            </p:cNvSpPr>
            <p:nvPr/>
          </p:nvSpPr>
          <p:spPr bwMode="auto">
            <a:xfrm>
              <a:off x="6336804" y="1747987"/>
              <a:ext cx="1979612" cy="1981200"/>
            </a:xfrm>
            <a:prstGeom prst="ellipse">
              <a:avLst/>
            </a:prstGeom>
            <a:solidFill>
              <a:srgbClr val="E46C0A"/>
            </a:solidFill>
            <a:ln w="28575" cap="flat" cmpd="sng" algn="ctr">
              <a:solidFill>
                <a:srgbClr val="F2F2F2"/>
              </a:solidFill>
              <a:prstDash val="solid"/>
            </a:ln>
            <a:effectLst>
              <a:outerShdw blurRad="88900" dist="75434" dir="2699985" rotWithShape="0">
                <a:scrgbClr r="0" g="0" b="0">
                  <a:alpha val="23000"/>
                </a:scrgbClr>
              </a:outerShdw>
            </a:effectLst>
          </p:spPr>
          <p:txBody>
            <a:bodyPr anchor="ctr"/>
            <a:lstStyle/>
            <a:p>
              <a:pPr algn="ctr" defTabSz="1219200" eaLnBrk="0" fontAlgn="ctr" hangingPunct="0">
                <a:buClr>
                  <a:srgbClr val="FF0000"/>
                </a:buClr>
                <a:buSzPct val="70000"/>
                <a:defRPr/>
              </a:pPr>
              <a:endParaRPr lang="fr-FR" altLang="zh-CN" sz="2135" b="1" kern="0" dirty="0">
                <a:solidFill>
                  <a:srgbClr val="000000"/>
                </a:solidFill>
                <a:latin typeface="+mn-ea"/>
                <a:cs typeface="+mn-ea"/>
              </a:endParaRPr>
            </a:p>
          </p:txBody>
        </p:sp>
        <p:sp>
          <p:nvSpPr>
            <p:cNvPr id="29" name="Text Box 29"/>
            <p:cNvSpPr txBox="1">
              <a:spLocks noChangeArrowheads="1"/>
            </p:cNvSpPr>
            <p:nvPr/>
          </p:nvSpPr>
          <p:spPr bwMode="gray">
            <a:xfrm>
              <a:off x="6560780" y="2355727"/>
              <a:ext cx="1531794" cy="807914"/>
            </a:xfrm>
            <a:prstGeom prst="rect">
              <a:avLst/>
            </a:prstGeom>
            <a:noFill/>
            <a:ln>
              <a:noFill/>
            </a:ln>
            <a:effectLst/>
          </p:spPr>
          <p:txBody>
            <a:bodyPr>
              <a:spAutoFit/>
            </a:bodyPr>
            <a:lstStyle/>
            <a:p>
              <a:pPr algn="ctr">
                <a:buClr>
                  <a:srgbClr val="FFFFFF"/>
                </a:buClr>
                <a:buSzPct val="120000"/>
                <a:defRPr/>
              </a:pPr>
              <a:r>
                <a:rPr lang="zh-CN" altLang="en-US" sz="3200" spc="400" dirty="0">
                  <a:ln w="12700" cmpd="sng">
                    <a:noFill/>
                    <a:prstDash val="solid"/>
                    <a:miter lim="800000"/>
                  </a:ln>
                  <a:solidFill>
                    <a:srgbClr val="FFFFFF"/>
                  </a:solidFill>
                  <a:latin typeface="+mn-ea"/>
                  <a:cs typeface="+mn-ea"/>
                </a:rPr>
                <a:t>点击添加文本</a:t>
              </a:r>
              <a:endParaRPr lang="zh-CN" altLang="en-US" sz="3200" spc="400" dirty="0">
                <a:ln w="12700" cmpd="sng">
                  <a:noFill/>
                  <a:prstDash val="solid"/>
                  <a:miter lim="800000"/>
                </a:ln>
                <a:solidFill>
                  <a:srgbClr val="FFFFFF"/>
                </a:solidFill>
                <a:latin typeface="+mn-ea"/>
                <a:cs typeface="+mn-ea"/>
              </a:endParaRPr>
            </a:p>
          </p:txBody>
        </p:sp>
      </p:grpSp>
      <p:sp>
        <p:nvSpPr>
          <p:cNvPr id="30"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4" name="文本框 33"/>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16" fill="hold" nodeType="after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p:cTn id="12" dur="500" fill="hold"/>
                                        <p:tgtEl>
                                          <p:spTgt spid="24"/>
                                        </p:tgtEl>
                                        <p:attrNameLst>
                                          <p:attrName>ppt_w</p:attrName>
                                        </p:attrNameLst>
                                      </p:cBhvr>
                                      <p:tavLst>
                                        <p:tav tm="0">
                                          <p:val>
                                            <p:fltVal val="0"/>
                                          </p:val>
                                        </p:tav>
                                        <p:tav tm="100000">
                                          <p:val>
                                            <p:strVal val="#ppt_w"/>
                                          </p:val>
                                        </p:tav>
                                      </p:tavLst>
                                    </p:anim>
                                    <p:anim calcmode="lin" valueType="num">
                                      <p:cBhvr>
                                        <p:cTn id="13" dur="500" fill="hold"/>
                                        <p:tgtEl>
                                          <p:spTgt spid="24"/>
                                        </p:tgtEl>
                                        <p:attrNameLst>
                                          <p:attrName>ppt_h</p:attrName>
                                        </p:attrNameLst>
                                      </p:cBhvr>
                                      <p:tavLst>
                                        <p:tav tm="0">
                                          <p:val>
                                            <p:fltVal val="0"/>
                                          </p:val>
                                        </p:tav>
                                        <p:tav tm="100000">
                                          <p:val>
                                            <p:strVal val="#ppt_h"/>
                                          </p:val>
                                        </p:tav>
                                      </p:tavLst>
                                    </p:anim>
                                  </p:childTnLst>
                                </p:cTn>
                              </p:par>
                            </p:childTnLst>
                          </p:cTn>
                        </p:par>
                        <p:par>
                          <p:cTn id="14" fill="hold">
                            <p:stCondLst>
                              <p:cond delay="1000"/>
                            </p:stCondLst>
                            <p:childTnLst>
                              <p:par>
                                <p:cTn id="15" presetID="12" presetClass="entr" presetSubtype="4"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slide(fromBottom)">
                                      <p:cBhvr>
                                        <p:cTn id="17" dur="500"/>
                                        <p:tgtEl>
                                          <p:spTgt spid="19"/>
                                        </p:tgtEl>
                                      </p:cBhvr>
                                    </p:animEffect>
                                  </p:childTnLst>
                                </p:cTn>
                              </p:par>
                            </p:childTnLst>
                          </p:cTn>
                        </p:par>
                        <p:par>
                          <p:cTn id="18" fill="hold">
                            <p:stCondLst>
                              <p:cond delay="1500"/>
                            </p:stCondLst>
                            <p:childTnLst>
                              <p:par>
                                <p:cTn id="19" presetID="12" presetClass="entr" presetSubtype="4" fill="hold" grpId="0" nodeType="after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slide(fromBottom)">
                                      <p:cBhvr>
                                        <p:cTn id="21" dur="500"/>
                                        <p:tgtEl>
                                          <p:spTgt spid="20"/>
                                        </p:tgtEl>
                                      </p:cBhvr>
                                    </p:animEffect>
                                  </p:childTnLst>
                                </p:cTn>
                              </p:par>
                            </p:childTnLst>
                          </p:cTn>
                        </p:par>
                        <p:par>
                          <p:cTn id="22" fill="hold">
                            <p:stCondLst>
                              <p:cond delay="2000"/>
                            </p:stCondLst>
                            <p:childTnLst>
                              <p:par>
                                <p:cTn id="23" presetID="12" presetClass="entr" presetSubtype="1" fill="hold" grpId="0" nodeType="after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slide(fromTop)">
                                      <p:cBhvr>
                                        <p:cTn id="25" dur="500"/>
                                        <p:tgtEl>
                                          <p:spTgt spid="17"/>
                                        </p:tgtEl>
                                      </p:cBhvr>
                                    </p:animEffect>
                                  </p:childTnLst>
                                </p:cTn>
                              </p:par>
                            </p:childTnLst>
                          </p:cTn>
                        </p:par>
                        <p:par>
                          <p:cTn id="26" fill="hold">
                            <p:stCondLst>
                              <p:cond delay="2500"/>
                            </p:stCondLst>
                            <p:childTnLst>
                              <p:par>
                                <p:cTn id="27" presetID="12" presetClass="entr" presetSubtype="1" fill="hold" grpId="0"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slide(fromTop)">
                                      <p:cBhvr>
                                        <p:cTn id="29" dur="500"/>
                                        <p:tgtEl>
                                          <p:spTgt spid="18"/>
                                        </p:tgtEl>
                                      </p:cBhvr>
                                    </p:animEffect>
                                  </p:childTnLst>
                                </p:cTn>
                              </p:par>
                            </p:childTnLst>
                          </p:cTn>
                        </p:par>
                        <p:par>
                          <p:cTn id="30" fill="hold">
                            <p:stCondLst>
                              <p:cond delay="3000"/>
                            </p:stCondLst>
                            <p:childTnLst>
                              <p:par>
                                <p:cTn id="31" presetID="2" presetClass="entr" presetSubtype="8" fill="hold" grpId="0" nodeType="after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additive="base">
                                        <p:cTn id="33" dur="1000" fill="hold"/>
                                        <p:tgtEl>
                                          <p:spTgt spid="16"/>
                                        </p:tgtEl>
                                        <p:attrNameLst>
                                          <p:attrName>ppt_x</p:attrName>
                                        </p:attrNameLst>
                                      </p:cBhvr>
                                      <p:tavLst>
                                        <p:tav tm="0">
                                          <p:val>
                                            <p:strVal val="0-#ppt_w/2"/>
                                          </p:val>
                                        </p:tav>
                                        <p:tav tm="100000">
                                          <p:val>
                                            <p:strVal val="#ppt_x"/>
                                          </p:val>
                                        </p:tav>
                                      </p:tavLst>
                                    </p:anim>
                                    <p:anim calcmode="lin" valueType="num">
                                      <p:cBhvr additive="base">
                                        <p:cTn id="34" dur="1000" fill="hold"/>
                                        <p:tgtEl>
                                          <p:spTgt spid="16"/>
                                        </p:tgtEl>
                                        <p:attrNameLst>
                                          <p:attrName>ppt_y</p:attrName>
                                        </p:attrNameLst>
                                      </p:cBhvr>
                                      <p:tavLst>
                                        <p:tav tm="0">
                                          <p:val>
                                            <p:strVal val="#ppt_y"/>
                                          </p:val>
                                        </p:tav>
                                        <p:tav tm="100000">
                                          <p:val>
                                            <p:strVal val="#ppt_y"/>
                                          </p:val>
                                        </p:tav>
                                      </p:tavLst>
                                    </p:anim>
                                  </p:childTnLst>
                                </p:cTn>
                              </p:par>
                            </p:childTnLst>
                          </p:cTn>
                        </p:par>
                        <p:par>
                          <p:cTn id="35" fill="hold">
                            <p:stCondLst>
                              <p:cond delay="4000"/>
                            </p:stCondLst>
                            <p:childTnLst>
                              <p:par>
                                <p:cTn id="36" presetID="53" presetClass="entr" presetSubtype="16"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p:cTn id="38" dur="500" fill="hold"/>
                                        <p:tgtEl>
                                          <p:spTgt spid="27"/>
                                        </p:tgtEl>
                                        <p:attrNameLst>
                                          <p:attrName>ppt_w</p:attrName>
                                        </p:attrNameLst>
                                      </p:cBhvr>
                                      <p:tavLst>
                                        <p:tav tm="0">
                                          <p:val>
                                            <p:fltVal val="0"/>
                                          </p:val>
                                        </p:tav>
                                        <p:tav tm="100000">
                                          <p:val>
                                            <p:strVal val="#ppt_w"/>
                                          </p:val>
                                        </p:tav>
                                      </p:tavLst>
                                    </p:anim>
                                    <p:anim calcmode="lin" valueType="num">
                                      <p:cBhvr>
                                        <p:cTn id="39" dur="500" fill="hold"/>
                                        <p:tgtEl>
                                          <p:spTgt spid="27"/>
                                        </p:tgtEl>
                                        <p:attrNameLst>
                                          <p:attrName>ppt_h</p:attrName>
                                        </p:attrNameLst>
                                      </p:cBhvr>
                                      <p:tavLst>
                                        <p:tav tm="0">
                                          <p:val>
                                            <p:fltVal val="0"/>
                                          </p:val>
                                        </p:tav>
                                        <p:tav tm="100000">
                                          <p:val>
                                            <p:strVal val="#ppt_h"/>
                                          </p:val>
                                        </p:tav>
                                      </p:tavLst>
                                    </p:anim>
                                    <p:animEffect transition="in" filter="fade">
                                      <p:cBhvr>
                                        <p:cTn id="40" dur="500"/>
                                        <p:tgtEl>
                                          <p:spTgt spid="27"/>
                                        </p:tgtEl>
                                      </p:cBhvr>
                                    </p:animEffect>
                                  </p:childTnLst>
                                </p:cTn>
                              </p:par>
                            </p:childTnLst>
                          </p:cTn>
                        </p:par>
                        <p:par>
                          <p:cTn id="41" fill="hold">
                            <p:stCondLst>
                              <p:cond delay="4500"/>
                            </p:stCondLst>
                            <p:childTnLst>
                              <p:par>
                                <p:cTn id="42" presetID="22" presetClass="entr" presetSubtype="4" fill="hold" grpId="0" nodeType="afterEffect">
                                  <p:stCondLst>
                                    <p:cond delay="0"/>
                                  </p:stCondLst>
                                  <p:childTnLst>
                                    <p:set>
                                      <p:cBhvr>
                                        <p:cTn id="43" dur="1" fill="hold">
                                          <p:stCondLst>
                                            <p:cond delay="0"/>
                                          </p:stCondLst>
                                        </p:cTn>
                                        <p:tgtEl>
                                          <p:spTgt spid="34"/>
                                        </p:tgtEl>
                                        <p:attrNameLst>
                                          <p:attrName>style.visibility</p:attrName>
                                        </p:attrNameLst>
                                      </p:cBhvr>
                                      <p:to>
                                        <p:strVal val="visible"/>
                                      </p:to>
                                    </p:set>
                                    <p:animEffect transition="in" filter="wipe(down)">
                                      <p:cBhvr>
                                        <p:cTn id="44" dur="125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p:bldP spid="19" grpId="0" animBg="1"/>
      <p:bldP spid="20" grpId="0"/>
      <p:bldP spid="34"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759885" y="2418557"/>
            <a:ext cx="1441449" cy="3314700"/>
            <a:chOff x="760413" y="1916113"/>
            <a:chExt cx="1439862" cy="3313112"/>
          </a:xfrm>
        </p:grpSpPr>
        <p:sp>
          <p:nvSpPr>
            <p:cNvPr id="6" name="矩形 5"/>
            <p:cNvSpPr/>
            <p:nvPr/>
          </p:nvSpPr>
          <p:spPr>
            <a:xfrm>
              <a:off x="760413" y="1916113"/>
              <a:ext cx="1439862" cy="3313112"/>
            </a:xfrm>
            <a:prstGeom prst="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7" name="文本框 2"/>
            <p:cNvSpPr txBox="1">
              <a:spLocks noChangeArrowheads="1"/>
            </p:cNvSpPr>
            <p:nvPr/>
          </p:nvSpPr>
          <p:spPr bwMode="auto">
            <a:xfrm>
              <a:off x="788988" y="1916113"/>
              <a:ext cx="1411287" cy="707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Impact" panose="020B0806030902050204" pitchFamily="34" charset="0"/>
                  <a:ea typeface="+mn-ea"/>
                  <a:cs typeface="+mn-ea"/>
                </a:rPr>
                <a:t>75%</a:t>
              </a:r>
              <a:endParaRPr lang="zh-CN" altLang="en-US" sz="4000">
                <a:solidFill>
                  <a:srgbClr val="FFFFFF"/>
                </a:solidFill>
                <a:latin typeface="Impact" panose="020B0806030902050204" pitchFamily="34" charset="0"/>
                <a:ea typeface="+mn-ea"/>
                <a:cs typeface="+mn-ea"/>
              </a:endParaRPr>
            </a:p>
          </p:txBody>
        </p:sp>
      </p:grpSp>
      <p:grpSp>
        <p:nvGrpSpPr>
          <p:cNvPr id="8" name="组合 7"/>
          <p:cNvGrpSpPr/>
          <p:nvPr/>
        </p:nvGrpSpPr>
        <p:grpSpPr bwMode="auto">
          <a:xfrm>
            <a:off x="2393952" y="3756290"/>
            <a:ext cx="1441449" cy="1976967"/>
            <a:chOff x="2393950" y="3252788"/>
            <a:chExt cx="1441450" cy="1976437"/>
          </a:xfrm>
        </p:grpSpPr>
        <p:sp>
          <p:nvSpPr>
            <p:cNvPr id="9" name="矩形 8"/>
            <p:cNvSpPr/>
            <p:nvPr/>
          </p:nvSpPr>
          <p:spPr>
            <a:xfrm>
              <a:off x="2393950" y="3252788"/>
              <a:ext cx="1441450" cy="1976437"/>
            </a:xfrm>
            <a:prstGeom prst="rect">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10" name="文本框 20"/>
            <p:cNvSpPr txBox="1">
              <a:spLocks noChangeArrowheads="1"/>
            </p:cNvSpPr>
            <p:nvPr/>
          </p:nvSpPr>
          <p:spPr bwMode="auto">
            <a:xfrm>
              <a:off x="2393950" y="3252788"/>
              <a:ext cx="1441450" cy="707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Impact" panose="020B0806030902050204" pitchFamily="34" charset="0"/>
                  <a:ea typeface="+mn-ea"/>
                  <a:cs typeface="+mn-ea"/>
                </a:rPr>
                <a:t>45%</a:t>
              </a:r>
              <a:endParaRPr lang="zh-CN" altLang="en-US" sz="4000">
                <a:solidFill>
                  <a:srgbClr val="FFFFFF"/>
                </a:solidFill>
                <a:latin typeface="Impact" panose="020B0806030902050204" pitchFamily="34" charset="0"/>
                <a:ea typeface="+mn-ea"/>
                <a:cs typeface="+mn-ea"/>
              </a:endParaRPr>
            </a:p>
          </p:txBody>
        </p:sp>
      </p:grpSp>
      <p:grpSp>
        <p:nvGrpSpPr>
          <p:cNvPr id="11" name="组合 10"/>
          <p:cNvGrpSpPr/>
          <p:nvPr/>
        </p:nvGrpSpPr>
        <p:grpSpPr bwMode="auto">
          <a:xfrm>
            <a:off x="4030134" y="4751123"/>
            <a:ext cx="1439333" cy="982133"/>
            <a:chOff x="4029075" y="4248150"/>
            <a:chExt cx="1439863" cy="981075"/>
          </a:xfrm>
        </p:grpSpPr>
        <p:sp>
          <p:nvSpPr>
            <p:cNvPr id="12" name="矩形 11"/>
            <p:cNvSpPr/>
            <p:nvPr/>
          </p:nvSpPr>
          <p:spPr>
            <a:xfrm>
              <a:off x="4029075" y="4260836"/>
              <a:ext cx="1439863" cy="968389"/>
            </a:xfrm>
            <a:prstGeom prst="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13" name="文本框 21"/>
            <p:cNvSpPr txBox="1">
              <a:spLocks noChangeArrowheads="1"/>
            </p:cNvSpPr>
            <p:nvPr/>
          </p:nvSpPr>
          <p:spPr bwMode="auto">
            <a:xfrm>
              <a:off x="4029075" y="4248150"/>
              <a:ext cx="1439863" cy="707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Impact" panose="020B0806030902050204" pitchFamily="34" charset="0"/>
                  <a:ea typeface="+mn-ea"/>
                  <a:cs typeface="+mn-ea"/>
                </a:rPr>
                <a:t>25%</a:t>
              </a:r>
              <a:endParaRPr lang="zh-CN" altLang="en-US" sz="4000">
                <a:solidFill>
                  <a:srgbClr val="FFFFFF"/>
                </a:solidFill>
                <a:latin typeface="Impact" panose="020B0806030902050204" pitchFamily="34" charset="0"/>
                <a:ea typeface="+mn-ea"/>
                <a:cs typeface="+mn-ea"/>
              </a:endParaRPr>
            </a:p>
          </p:txBody>
        </p:sp>
      </p:grpSp>
      <p:grpSp>
        <p:nvGrpSpPr>
          <p:cNvPr id="14" name="组合 13"/>
          <p:cNvGrpSpPr/>
          <p:nvPr/>
        </p:nvGrpSpPr>
        <p:grpSpPr bwMode="auto">
          <a:xfrm>
            <a:off x="5664200" y="3034506"/>
            <a:ext cx="1439333" cy="2698751"/>
            <a:chOff x="5664200" y="2532063"/>
            <a:chExt cx="1439863" cy="2697162"/>
          </a:xfrm>
        </p:grpSpPr>
        <p:sp>
          <p:nvSpPr>
            <p:cNvPr id="15" name="矩形 14"/>
            <p:cNvSpPr/>
            <p:nvPr/>
          </p:nvSpPr>
          <p:spPr>
            <a:xfrm>
              <a:off x="5664200" y="2532063"/>
              <a:ext cx="1439863" cy="2697162"/>
            </a:xfrm>
            <a:prstGeom prst="rect">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16" name="文本框 22"/>
            <p:cNvSpPr txBox="1">
              <a:spLocks noChangeArrowheads="1"/>
            </p:cNvSpPr>
            <p:nvPr/>
          </p:nvSpPr>
          <p:spPr bwMode="auto">
            <a:xfrm>
              <a:off x="5664200" y="2544764"/>
              <a:ext cx="1439863" cy="707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Impact" panose="020B0806030902050204" pitchFamily="34" charset="0"/>
                  <a:ea typeface="+mn-ea"/>
                  <a:cs typeface="+mn-ea"/>
                </a:rPr>
                <a:t>65%</a:t>
              </a:r>
              <a:endParaRPr lang="zh-CN" altLang="en-US" sz="4000">
                <a:solidFill>
                  <a:srgbClr val="FFFFFF"/>
                </a:solidFill>
                <a:latin typeface="Impact" panose="020B0806030902050204" pitchFamily="34" charset="0"/>
                <a:ea typeface="+mn-ea"/>
                <a:cs typeface="+mn-ea"/>
              </a:endParaRPr>
            </a:p>
          </p:txBody>
        </p:sp>
      </p:grpSp>
      <p:grpSp>
        <p:nvGrpSpPr>
          <p:cNvPr id="17" name="组合 16"/>
          <p:cNvGrpSpPr/>
          <p:nvPr/>
        </p:nvGrpSpPr>
        <p:grpSpPr bwMode="auto">
          <a:xfrm>
            <a:off x="7327901" y="1849172"/>
            <a:ext cx="3723217" cy="3775153"/>
            <a:chOff x="7327900" y="1346200"/>
            <a:chExt cx="3722688" cy="3775995"/>
          </a:xfrm>
        </p:grpSpPr>
        <p:sp>
          <p:nvSpPr>
            <p:cNvPr id="18" name="矩形 39"/>
            <p:cNvSpPr>
              <a:spLocks noChangeArrowheads="1"/>
            </p:cNvSpPr>
            <p:nvPr/>
          </p:nvSpPr>
          <p:spPr bwMode="auto">
            <a:xfrm>
              <a:off x="7327900" y="1346200"/>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endParaRPr lang="zh-CN" altLang="en-US" sz="1600">
                <a:solidFill>
                  <a:srgbClr val="969696"/>
                </a:solidFill>
                <a:latin typeface="+mn-ea"/>
                <a:ea typeface="+mn-ea"/>
                <a:cs typeface="+mn-ea"/>
              </a:endParaRPr>
            </a:p>
          </p:txBody>
        </p:sp>
        <p:sp>
          <p:nvSpPr>
            <p:cNvPr id="19" name="矩形 40"/>
            <p:cNvSpPr>
              <a:spLocks noChangeArrowheads="1"/>
            </p:cNvSpPr>
            <p:nvPr/>
          </p:nvSpPr>
          <p:spPr bwMode="auto">
            <a:xfrm>
              <a:off x="7327900" y="2819399"/>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endParaRPr lang="zh-CN" altLang="en-US" sz="1600">
                <a:solidFill>
                  <a:srgbClr val="969696"/>
                </a:solidFill>
                <a:latin typeface="+mn-ea"/>
                <a:ea typeface="+mn-ea"/>
                <a:cs typeface="+mn-ea"/>
              </a:endParaRPr>
            </a:p>
          </p:txBody>
        </p:sp>
        <p:sp>
          <p:nvSpPr>
            <p:cNvPr id="20" name="矩形 47"/>
            <p:cNvSpPr>
              <a:spLocks noChangeArrowheads="1"/>
            </p:cNvSpPr>
            <p:nvPr/>
          </p:nvSpPr>
          <p:spPr bwMode="auto">
            <a:xfrm>
              <a:off x="7327900" y="4291013"/>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endParaRPr lang="zh-CN" altLang="en-US" sz="1600">
                <a:solidFill>
                  <a:srgbClr val="969696"/>
                </a:solidFill>
                <a:latin typeface="+mn-ea"/>
                <a:ea typeface="+mn-ea"/>
                <a:cs typeface="+mn-ea"/>
              </a:endParaRPr>
            </a:p>
          </p:txBody>
        </p:sp>
      </p:grpSp>
      <p:sp>
        <p:nvSpPr>
          <p:cNvPr id="21"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3" name="文本框 22"/>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anim calcmode="lin" valueType="num">
                                      <p:cBhvr>
                                        <p:cTn id="20" dur="1000" fill="hold"/>
                                        <p:tgtEl>
                                          <p:spTgt spid="11"/>
                                        </p:tgtEl>
                                        <p:attrNameLst>
                                          <p:attrName>ppt_x</p:attrName>
                                        </p:attrNameLst>
                                      </p:cBhvr>
                                      <p:tavLst>
                                        <p:tav tm="0">
                                          <p:val>
                                            <p:strVal val="#ppt_x"/>
                                          </p:val>
                                        </p:tav>
                                        <p:tav tm="100000">
                                          <p:val>
                                            <p:strVal val="#ppt_x"/>
                                          </p:val>
                                        </p:tav>
                                      </p:tavLst>
                                    </p:anim>
                                    <p:anim calcmode="lin" valueType="num">
                                      <p:cBhvr>
                                        <p:cTn id="21" dur="1000" fill="hold"/>
                                        <p:tgtEl>
                                          <p:spTgt spid="11"/>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1000"/>
                                        <p:tgtEl>
                                          <p:spTgt spid="14"/>
                                        </p:tgtEl>
                                      </p:cBhvr>
                                    </p:animEffect>
                                    <p:anim calcmode="lin" valueType="num">
                                      <p:cBhvr>
                                        <p:cTn id="26" dur="1000" fill="hold"/>
                                        <p:tgtEl>
                                          <p:spTgt spid="14"/>
                                        </p:tgtEl>
                                        <p:attrNameLst>
                                          <p:attrName>ppt_x</p:attrName>
                                        </p:attrNameLst>
                                      </p:cBhvr>
                                      <p:tavLst>
                                        <p:tav tm="0">
                                          <p:val>
                                            <p:strVal val="#ppt_x"/>
                                          </p:val>
                                        </p:tav>
                                        <p:tav tm="100000">
                                          <p:val>
                                            <p:strVal val="#ppt_x"/>
                                          </p:val>
                                        </p:tav>
                                      </p:tavLst>
                                    </p:anim>
                                    <p:anim calcmode="lin" valueType="num">
                                      <p:cBhvr>
                                        <p:cTn id="27" dur="1000" fill="hold"/>
                                        <p:tgtEl>
                                          <p:spTgt spid="14"/>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2" presetClass="entr" presetSubtype="2" fill="hold" nodeType="afterEffect">
                                  <p:stCondLst>
                                    <p:cond delay="0"/>
                                  </p:stCondLst>
                                  <p:childTnLst>
                                    <p:set>
                                      <p:cBhvr>
                                        <p:cTn id="30" dur="1" fill="hold">
                                          <p:stCondLst>
                                            <p:cond delay="0"/>
                                          </p:stCondLst>
                                        </p:cTn>
                                        <p:tgtEl>
                                          <p:spTgt spid="17"/>
                                        </p:tgtEl>
                                        <p:attrNameLst>
                                          <p:attrName>style.visibility</p:attrName>
                                        </p:attrNameLst>
                                      </p:cBhvr>
                                      <p:to>
                                        <p:strVal val="visible"/>
                                      </p:to>
                                    </p:set>
                                    <p:anim calcmode="lin" valueType="num">
                                      <p:cBhvr additive="base">
                                        <p:cTn id="31" dur="500" fill="hold"/>
                                        <p:tgtEl>
                                          <p:spTgt spid="17"/>
                                        </p:tgtEl>
                                        <p:attrNameLst>
                                          <p:attrName>ppt_x</p:attrName>
                                        </p:attrNameLst>
                                      </p:cBhvr>
                                      <p:tavLst>
                                        <p:tav tm="0">
                                          <p:val>
                                            <p:strVal val="1+#ppt_w/2"/>
                                          </p:val>
                                        </p:tav>
                                        <p:tav tm="100000">
                                          <p:val>
                                            <p:strVal val="#ppt_x"/>
                                          </p:val>
                                        </p:tav>
                                      </p:tavLst>
                                    </p:anim>
                                    <p:anim calcmode="lin" valueType="num">
                                      <p:cBhvr additive="base">
                                        <p:cTn id="32" dur="500" fill="hold"/>
                                        <p:tgtEl>
                                          <p:spTgt spid="17"/>
                                        </p:tgtEl>
                                        <p:attrNameLst>
                                          <p:attrName>ppt_y</p:attrName>
                                        </p:attrNameLst>
                                      </p:cBhvr>
                                      <p:tavLst>
                                        <p:tav tm="0">
                                          <p:val>
                                            <p:strVal val="#ppt_y"/>
                                          </p:val>
                                        </p:tav>
                                        <p:tav tm="100000">
                                          <p:val>
                                            <p:strVal val="#ppt_y"/>
                                          </p:val>
                                        </p:tav>
                                      </p:tavLst>
                                    </p:anim>
                                  </p:childTnLst>
                                </p:cTn>
                              </p:par>
                            </p:childTnLst>
                          </p:cTn>
                        </p:par>
                        <p:par>
                          <p:cTn id="33" fill="hold">
                            <p:stCondLst>
                              <p:cond delay="4500"/>
                            </p:stCondLst>
                            <p:childTnLst>
                              <p:par>
                                <p:cTn id="34" presetID="22" presetClass="entr" presetSubtype="4" fill="hold" grpId="0" nodeType="after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wipe(down)">
                                      <p:cBhvr>
                                        <p:cTn id="36" dur="125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文本框 7"/>
          <p:cNvSpPr txBox="1"/>
          <p:nvPr/>
        </p:nvSpPr>
        <p:spPr>
          <a:xfrm>
            <a:off x="7940678" y="4953728"/>
            <a:ext cx="2008188" cy="461657"/>
          </a:xfrm>
          <a:prstGeom prst="rect">
            <a:avLst/>
          </a:prstGeom>
          <a:noFill/>
        </p:spPr>
        <p:txBody>
          <a:bodyPr lIns="91435" tIns="45716" rIns="91435" bIns="45716">
            <a:spAutoFit/>
          </a:bodyPr>
          <a:lstStyle/>
          <a:p>
            <a:pPr defTabSz="914400">
              <a:defRPr/>
            </a:pPr>
            <a:r>
              <a:rPr lang="zh-CN" altLang="en-US" sz="2400" b="1" dirty="0">
                <a:solidFill>
                  <a:srgbClr val="969696"/>
                </a:solidFill>
                <a:cs typeface="+mn-ea"/>
              </a:rPr>
              <a:t>添加标题</a:t>
            </a:r>
            <a:endParaRPr lang="zh-CN" altLang="en-US" sz="2400" b="1" baseline="-3000" dirty="0">
              <a:solidFill>
                <a:srgbClr val="969696"/>
              </a:solidFill>
              <a:cs typeface="+mn-ea"/>
            </a:endParaRPr>
          </a:p>
        </p:txBody>
      </p:sp>
      <p:sp>
        <p:nvSpPr>
          <p:cNvPr id="73" name="文本框 8"/>
          <p:cNvSpPr txBox="1"/>
          <p:nvPr/>
        </p:nvSpPr>
        <p:spPr>
          <a:xfrm>
            <a:off x="7381879" y="5483287"/>
            <a:ext cx="3624263" cy="781873"/>
          </a:xfrm>
          <a:prstGeom prst="rect">
            <a:avLst/>
          </a:prstGeom>
          <a:noFill/>
        </p:spPr>
        <p:txBody>
          <a:bodyPr lIns="91435" tIns="45716" rIns="91435" bIns="45716">
            <a:spAutoFit/>
          </a:bodyPr>
          <a:lstStyle/>
          <a:p>
            <a:pPr defTabSz="914400">
              <a:lnSpc>
                <a:spcPct val="120000"/>
              </a:lnSpc>
              <a:defRPr/>
            </a:pPr>
            <a:r>
              <a:rPr lang="zh-CN" altLang="en-US" sz="1865" dirty="0">
                <a:solidFill>
                  <a:srgbClr val="969696"/>
                </a:solidFill>
                <a:latin typeface="+mn-ea"/>
                <a:cs typeface="+mn-ea"/>
                <a:sym typeface="微软雅黑" panose="020B0503020204020204" pitchFamily="34" charset="-122"/>
              </a:rPr>
              <a:t>在此录入图表的描述说明，在此录入图表的描述说明，</a:t>
            </a:r>
            <a:endParaRPr lang="zh-CN" altLang="en-US" sz="1865" dirty="0">
              <a:solidFill>
                <a:srgbClr val="969696"/>
              </a:solidFill>
              <a:latin typeface="+mn-ea"/>
              <a:cs typeface="+mn-ea"/>
              <a:sym typeface="微软雅黑" panose="020B0503020204020204" pitchFamily="34" charset="-122"/>
            </a:endParaRPr>
          </a:p>
        </p:txBody>
      </p:sp>
      <p:sp>
        <p:nvSpPr>
          <p:cNvPr id="74" name="文本框 9"/>
          <p:cNvSpPr txBox="1"/>
          <p:nvPr/>
        </p:nvSpPr>
        <p:spPr>
          <a:xfrm>
            <a:off x="7377113" y="4850544"/>
            <a:ext cx="654051" cy="584767"/>
          </a:xfrm>
          <a:prstGeom prst="rect">
            <a:avLst/>
          </a:prstGeom>
          <a:noFill/>
        </p:spPr>
        <p:txBody>
          <a:bodyPr lIns="91435" tIns="45716" rIns="91435" bIns="45716">
            <a:spAutoFit/>
          </a:bodyPr>
          <a:lstStyle/>
          <a:p>
            <a:pPr defTabSz="914400">
              <a:defRPr/>
            </a:pPr>
            <a:r>
              <a:rPr lang="en-US" altLang="zh-CN" sz="4800" baseline="-3000" dirty="0">
                <a:solidFill>
                  <a:srgbClr val="969696"/>
                </a:solidFill>
                <a:cs typeface="+mn-ea"/>
              </a:rPr>
              <a:t>03</a:t>
            </a:r>
            <a:endParaRPr lang="zh-CN" altLang="en-US" sz="4800" baseline="-3000" dirty="0">
              <a:solidFill>
                <a:srgbClr val="969696"/>
              </a:solidFill>
              <a:cs typeface="+mn-ea"/>
            </a:endParaRPr>
          </a:p>
        </p:txBody>
      </p:sp>
      <p:sp>
        <p:nvSpPr>
          <p:cNvPr id="75" name="文本框 12"/>
          <p:cNvSpPr txBox="1"/>
          <p:nvPr/>
        </p:nvSpPr>
        <p:spPr>
          <a:xfrm>
            <a:off x="7993063" y="1650140"/>
            <a:ext cx="2144712" cy="461657"/>
          </a:xfrm>
          <a:prstGeom prst="rect">
            <a:avLst/>
          </a:prstGeom>
          <a:noFill/>
        </p:spPr>
        <p:txBody>
          <a:bodyPr lIns="91435" tIns="45716" rIns="91435" bIns="45716">
            <a:spAutoFit/>
          </a:bodyPr>
          <a:lstStyle/>
          <a:p>
            <a:pPr defTabSz="914400">
              <a:defRPr/>
            </a:pPr>
            <a:r>
              <a:rPr lang="zh-CN" altLang="en-US" sz="2400" b="1" dirty="0">
                <a:solidFill>
                  <a:srgbClr val="969696"/>
                </a:solidFill>
                <a:cs typeface="+mn-ea"/>
              </a:rPr>
              <a:t>添加标题</a:t>
            </a:r>
            <a:endParaRPr lang="zh-CN" altLang="en-US" sz="2400" b="1" baseline="-3000" dirty="0">
              <a:solidFill>
                <a:srgbClr val="969696"/>
              </a:solidFill>
              <a:cs typeface="+mn-ea"/>
            </a:endParaRPr>
          </a:p>
        </p:txBody>
      </p:sp>
      <p:sp>
        <p:nvSpPr>
          <p:cNvPr id="76" name="文本框 13"/>
          <p:cNvSpPr txBox="1"/>
          <p:nvPr/>
        </p:nvSpPr>
        <p:spPr>
          <a:xfrm>
            <a:off x="7944346" y="2151506"/>
            <a:ext cx="3624263" cy="781873"/>
          </a:xfrm>
          <a:prstGeom prst="rect">
            <a:avLst/>
          </a:prstGeom>
          <a:noFill/>
        </p:spPr>
        <p:txBody>
          <a:bodyPr lIns="91435" tIns="45716" rIns="91435" bIns="45716">
            <a:spAutoFit/>
          </a:bodyPr>
          <a:lstStyle/>
          <a:p>
            <a:pPr defTabSz="914400">
              <a:lnSpc>
                <a:spcPct val="120000"/>
              </a:lnSpc>
              <a:defRPr/>
            </a:pPr>
            <a:r>
              <a:rPr lang="zh-CN" altLang="en-US" sz="1865" dirty="0">
                <a:solidFill>
                  <a:srgbClr val="969696"/>
                </a:solidFill>
                <a:latin typeface="+mn-ea"/>
                <a:cs typeface="+mn-ea"/>
                <a:sym typeface="微软雅黑" panose="020B0503020204020204" pitchFamily="34" charset="-122"/>
              </a:rPr>
              <a:t>在此录入图表的描述说明，在此录入图表的描述说明，</a:t>
            </a:r>
            <a:endParaRPr lang="zh-CN" altLang="en-US" sz="1865" dirty="0">
              <a:solidFill>
                <a:srgbClr val="969696"/>
              </a:solidFill>
              <a:latin typeface="+mn-ea"/>
              <a:cs typeface="+mn-ea"/>
              <a:sym typeface="微软雅黑" panose="020B0503020204020204" pitchFamily="34" charset="-122"/>
            </a:endParaRPr>
          </a:p>
        </p:txBody>
      </p:sp>
      <p:sp>
        <p:nvSpPr>
          <p:cNvPr id="77" name="文本框 14"/>
          <p:cNvSpPr txBox="1"/>
          <p:nvPr/>
        </p:nvSpPr>
        <p:spPr>
          <a:xfrm>
            <a:off x="7377113" y="1548541"/>
            <a:ext cx="654051" cy="584767"/>
          </a:xfrm>
          <a:prstGeom prst="rect">
            <a:avLst/>
          </a:prstGeom>
          <a:noFill/>
        </p:spPr>
        <p:txBody>
          <a:bodyPr lIns="91435" tIns="45716" rIns="91435" bIns="45716">
            <a:spAutoFit/>
          </a:bodyPr>
          <a:lstStyle/>
          <a:p>
            <a:pPr defTabSz="914400">
              <a:defRPr/>
            </a:pPr>
            <a:r>
              <a:rPr lang="en-US" altLang="zh-CN" sz="4800" baseline="-3000" dirty="0">
                <a:solidFill>
                  <a:srgbClr val="969696"/>
                </a:solidFill>
                <a:cs typeface="+mn-ea"/>
              </a:rPr>
              <a:t>02</a:t>
            </a:r>
            <a:endParaRPr lang="zh-CN" altLang="en-US" sz="4800" baseline="-3000" dirty="0">
              <a:solidFill>
                <a:srgbClr val="969696"/>
              </a:solidFill>
              <a:cs typeface="+mn-ea"/>
            </a:endParaRPr>
          </a:p>
        </p:txBody>
      </p:sp>
      <p:sp>
        <p:nvSpPr>
          <p:cNvPr id="78" name="文本框 16"/>
          <p:cNvSpPr txBox="1"/>
          <p:nvPr/>
        </p:nvSpPr>
        <p:spPr>
          <a:xfrm>
            <a:off x="2019300" y="4953728"/>
            <a:ext cx="2182813" cy="461657"/>
          </a:xfrm>
          <a:prstGeom prst="rect">
            <a:avLst/>
          </a:prstGeom>
          <a:noFill/>
        </p:spPr>
        <p:txBody>
          <a:bodyPr lIns="91435" tIns="45716" rIns="91435" bIns="45716">
            <a:spAutoFit/>
          </a:bodyPr>
          <a:lstStyle/>
          <a:p>
            <a:pPr algn="r" defTabSz="914400">
              <a:defRPr/>
            </a:pPr>
            <a:r>
              <a:rPr lang="zh-CN" altLang="en-US" sz="2400" b="1" dirty="0">
                <a:solidFill>
                  <a:srgbClr val="969696"/>
                </a:solidFill>
                <a:cs typeface="+mn-ea"/>
              </a:rPr>
              <a:t>添加标题</a:t>
            </a:r>
            <a:endParaRPr lang="zh-CN" altLang="en-US" sz="2400" b="1" baseline="-3000" dirty="0">
              <a:solidFill>
                <a:srgbClr val="969696"/>
              </a:solidFill>
              <a:cs typeface="+mn-ea"/>
            </a:endParaRPr>
          </a:p>
        </p:txBody>
      </p:sp>
      <p:sp>
        <p:nvSpPr>
          <p:cNvPr id="79" name="文本框 17"/>
          <p:cNvSpPr txBox="1"/>
          <p:nvPr/>
        </p:nvSpPr>
        <p:spPr>
          <a:xfrm>
            <a:off x="1168400" y="5478523"/>
            <a:ext cx="3616325" cy="781873"/>
          </a:xfrm>
          <a:prstGeom prst="rect">
            <a:avLst/>
          </a:prstGeom>
          <a:noFill/>
        </p:spPr>
        <p:txBody>
          <a:bodyPr lIns="91435" tIns="45716" rIns="91435" bIns="45716">
            <a:spAutoFit/>
          </a:bodyPr>
          <a:lstStyle/>
          <a:p>
            <a:pPr algn="r" defTabSz="914400">
              <a:lnSpc>
                <a:spcPct val="120000"/>
              </a:lnSpc>
              <a:defRPr/>
            </a:pPr>
            <a:r>
              <a:rPr lang="zh-CN" altLang="en-US" sz="1865" dirty="0">
                <a:solidFill>
                  <a:srgbClr val="969696"/>
                </a:solidFill>
                <a:latin typeface="+mn-ea"/>
                <a:cs typeface="+mn-ea"/>
                <a:sym typeface="微软雅黑" panose="020B0503020204020204" pitchFamily="34" charset="-122"/>
              </a:rPr>
              <a:t>在此录入图表的描述说明，在此录入图表的描述说明，</a:t>
            </a:r>
            <a:endParaRPr lang="zh-CN" altLang="en-US" sz="1865" dirty="0">
              <a:solidFill>
                <a:srgbClr val="969696"/>
              </a:solidFill>
              <a:latin typeface="+mn-ea"/>
              <a:cs typeface="+mn-ea"/>
              <a:sym typeface="微软雅黑" panose="020B0503020204020204" pitchFamily="34" charset="-122"/>
            </a:endParaRPr>
          </a:p>
        </p:txBody>
      </p:sp>
      <p:sp>
        <p:nvSpPr>
          <p:cNvPr id="80" name="文本框 18"/>
          <p:cNvSpPr txBox="1"/>
          <p:nvPr/>
        </p:nvSpPr>
        <p:spPr>
          <a:xfrm>
            <a:off x="4154488" y="4845780"/>
            <a:ext cx="654051" cy="584767"/>
          </a:xfrm>
          <a:prstGeom prst="rect">
            <a:avLst/>
          </a:prstGeom>
          <a:noFill/>
        </p:spPr>
        <p:txBody>
          <a:bodyPr lIns="91435" tIns="45716" rIns="91435" bIns="45716">
            <a:spAutoFit/>
          </a:bodyPr>
          <a:lstStyle/>
          <a:p>
            <a:pPr algn="r" defTabSz="914400">
              <a:defRPr/>
            </a:pPr>
            <a:r>
              <a:rPr lang="en-US" altLang="zh-CN" sz="4800" baseline="-3000" dirty="0">
                <a:solidFill>
                  <a:srgbClr val="969696"/>
                </a:solidFill>
                <a:cs typeface="+mn-ea"/>
              </a:rPr>
              <a:t>04</a:t>
            </a:r>
            <a:endParaRPr lang="zh-CN" altLang="en-US" sz="4800" baseline="-3000" dirty="0">
              <a:solidFill>
                <a:srgbClr val="969696"/>
              </a:solidFill>
              <a:cs typeface="+mn-ea"/>
            </a:endParaRPr>
          </a:p>
        </p:txBody>
      </p:sp>
      <p:sp>
        <p:nvSpPr>
          <p:cNvPr id="81" name="文本框 20"/>
          <p:cNvSpPr txBox="1"/>
          <p:nvPr/>
        </p:nvSpPr>
        <p:spPr>
          <a:xfrm>
            <a:off x="2365378" y="1650140"/>
            <a:ext cx="1830388" cy="461657"/>
          </a:xfrm>
          <a:prstGeom prst="rect">
            <a:avLst/>
          </a:prstGeom>
          <a:noFill/>
        </p:spPr>
        <p:txBody>
          <a:bodyPr lIns="91435" tIns="45716" rIns="91435" bIns="45716">
            <a:spAutoFit/>
          </a:bodyPr>
          <a:lstStyle/>
          <a:p>
            <a:pPr algn="r" defTabSz="914400">
              <a:defRPr/>
            </a:pPr>
            <a:r>
              <a:rPr lang="zh-CN" altLang="en-US" sz="2400" b="1" dirty="0">
                <a:solidFill>
                  <a:srgbClr val="969696"/>
                </a:solidFill>
                <a:cs typeface="+mn-ea"/>
              </a:rPr>
              <a:t>添加标题</a:t>
            </a:r>
            <a:endParaRPr lang="zh-CN" altLang="en-US" sz="2400" b="1" baseline="-3000" dirty="0">
              <a:solidFill>
                <a:srgbClr val="969696"/>
              </a:solidFill>
              <a:cs typeface="+mn-ea"/>
            </a:endParaRPr>
          </a:p>
        </p:txBody>
      </p:sp>
      <p:sp>
        <p:nvSpPr>
          <p:cNvPr id="82" name="文本框 21"/>
          <p:cNvSpPr txBox="1"/>
          <p:nvPr/>
        </p:nvSpPr>
        <p:spPr>
          <a:xfrm>
            <a:off x="911424" y="2126331"/>
            <a:ext cx="3616325" cy="781873"/>
          </a:xfrm>
          <a:prstGeom prst="rect">
            <a:avLst/>
          </a:prstGeom>
          <a:noFill/>
        </p:spPr>
        <p:txBody>
          <a:bodyPr lIns="91435" tIns="45716" rIns="91435" bIns="45716">
            <a:spAutoFit/>
          </a:bodyPr>
          <a:lstStyle/>
          <a:p>
            <a:pPr algn="r" defTabSz="914400">
              <a:lnSpc>
                <a:spcPct val="120000"/>
              </a:lnSpc>
              <a:defRPr/>
            </a:pPr>
            <a:r>
              <a:rPr lang="zh-CN" altLang="en-US" sz="1865" dirty="0">
                <a:solidFill>
                  <a:srgbClr val="969696"/>
                </a:solidFill>
                <a:latin typeface="+mn-ea"/>
                <a:cs typeface="+mn-ea"/>
                <a:sym typeface="微软雅黑" panose="020B0503020204020204" pitchFamily="34" charset="-122"/>
              </a:rPr>
              <a:t>在此录入图表的描述说明，在此录入图表的描述说明，</a:t>
            </a:r>
            <a:endParaRPr lang="zh-CN" altLang="en-US" sz="1865" dirty="0">
              <a:solidFill>
                <a:srgbClr val="969696"/>
              </a:solidFill>
              <a:latin typeface="+mn-ea"/>
              <a:cs typeface="+mn-ea"/>
              <a:sym typeface="微软雅黑" panose="020B0503020204020204" pitchFamily="34" charset="-122"/>
            </a:endParaRPr>
          </a:p>
        </p:txBody>
      </p:sp>
      <p:sp>
        <p:nvSpPr>
          <p:cNvPr id="83" name="文本框 22"/>
          <p:cNvSpPr txBox="1"/>
          <p:nvPr/>
        </p:nvSpPr>
        <p:spPr>
          <a:xfrm>
            <a:off x="4135437" y="1542192"/>
            <a:ext cx="654051" cy="584767"/>
          </a:xfrm>
          <a:prstGeom prst="rect">
            <a:avLst/>
          </a:prstGeom>
          <a:noFill/>
        </p:spPr>
        <p:txBody>
          <a:bodyPr lIns="91435" tIns="45716" rIns="91435" bIns="45716">
            <a:spAutoFit/>
          </a:bodyPr>
          <a:lstStyle/>
          <a:p>
            <a:pPr algn="r" defTabSz="914400">
              <a:defRPr/>
            </a:pPr>
            <a:r>
              <a:rPr lang="en-US" altLang="zh-CN" sz="4800" baseline="-3000" dirty="0">
                <a:solidFill>
                  <a:srgbClr val="969696"/>
                </a:solidFill>
                <a:cs typeface="+mn-ea"/>
              </a:rPr>
              <a:t>01</a:t>
            </a:r>
            <a:endParaRPr lang="zh-CN" altLang="en-US" sz="4800" baseline="-3000" dirty="0">
              <a:solidFill>
                <a:srgbClr val="969696"/>
              </a:solidFill>
              <a:cs typeface="+mn-ea"/>
            </a:endParaRPr>
          </a:p>
        </p:txBody>
      </p:sp>
      <p:grpSp>
        <p:nvGrpSpPr>
          <p:cNvPr id="84" name="组合 83"/>
          <p:cNvGrpSpPr/>
          <p:nvPr/>
        </p:nvGrpSpPr>
        <p:grpSpPr bwMode="auto">
          <a:xfrm>
            <a:off x="5138741" y="1316769"/>
            <a:ext cx="1897063" cy="1897063"/>
            <a:chOff x="4854966" y="1574162"/>
            <a:chExt cx="1897870" cy="1897870"/>
          </a:xfrm>
        </p:grpSpPr>
        <p:sp>
          <p:nvSpPr>
            <p:cNvPr id="85" name="泪滴形 84"/>
            <p:cNvSpPr/>
            <p:nvPr/>
          </p:nvSpPr>
          <p:spPr>
            <a:xfrm rot="8100000">
              <a:off x="4854966" y="1574162"/>
              <a:ext cx="1897870" cy="1897870"/>
            </a:xfrm>
            <a:prstGeom prst="teardrop">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zh-CN" altLang="en-US" sz="2535">
                <a:solidFill>
                  <a:srgbClr val="000000"/>
                </a:solidFill>
                <a:latin typeface="Arial" panose="020B0604020202020204" pitchFamily="34" charset="0"/>
                <a:cs typeface="+mn-ea"/>
              </a:endParaRPr>
            </a:p>
          </p:txBody>
        </p:sp>
        <p:grpSp>
          <p:nvGrpSpPr>
            <p:cNvPr id="86" name="组合 85"/>
            <p:cNvGrpSpPr>
              <a:grpSpLocks noChangeAspect="1"/>
            </p:cNvGrpSpPr>
            <p:nvPr/>
          </p:nvGrpSpPr>
          <p:grpSpPr>
            <a:xfrm>
              <a:off x="5635285" y="1758388"/>
              <a:ext cx="337232" cy="540000"/>
              <a:chOff x="8912226" y="6748292"/>
              <a:chExt cx="250825" cy="401638"/>
            </a:xfrm>
            <a:solidFill>
              <a:srgbClr val="9DA8B1"/>
            </a:solidFill>
          </p:grpSpPr>
          <p:sp>
            <p:nvSpPr>
              <p:cNvPr id="87" name="Freeform 550"/>
              <p:cNvSpPr/>
              <p:nvPr/>
            </p:nvSpPr>
            <p:spPr bwMode="auto">
              <a:xfrm>
                <a:off x="8912226" y="6859417"/>
                <a:ext cx="250825" cy="290513"/>
              </a:xfrm>
              <a:custGeom>
                <a:avLst/>
                <a:gdLst>
                  <a:gd name="T0" fmla="*/ 180 w 180"/>
                  <a:gd name="T1" fmla="*/ 68 h 209"/>
                  <a:gd name="T2" fmla="*/ 180 w 180"/>
                  <a:gd name="T3" fmla="*/ 15 h 209"/>
                  <a:gd name="T4" fmla="*/ 156 w 180"/>
                  <a:gd name="T5" fmla="*/ 15 h 209"/>
                  <a:gd name="T6" fmla="*/ 156 w 180"/>
                  <a:gd name="T7" fmla="*/ 68 h 209"/>
                  <a:gd name="T8" fmla="*/ 92 w 180"/>
                  <a:gd name="T9" fmla="*/ 132 h 209"/>
                  <a:gd name="T10" fmla="*/ 91 w 180"/>
                  <a:gd name="T11" fmla="*/ 132 h 209"/>
                  <a:gd name="T12" fmla="*/ 90 w 180"/>
                  <a:gd name="T13" fmla="*/ 132 h 209"/>
                  <a:gd name="T14" fmla="*/ 90 w 180"/>
                  <a:gd name="T15" fmla="*/ 132 h 209"/>
                  <a:gd name="T16" fmla="*/ 89 w 180"/>
                  <a:gd name="T17" fmla="*/ 132 h 209"/>
                  <a:gd name="T18" fmla="*/ 24 w 180"/>
                  <a:gd name="T19" fmla="*/ 68 h 209"/>
                  <a:gd name="T20" fmla="*/ 24 w 180"/>
                  <a:gd name="T21" fmla="*/ 15 h 209"/>
                  <a:gd name="T22" fmla="*/ 0 w 180"/>
                  <a:gd name="T23" fmla="*/ 15 h 209"/>
                  <a:gd name="T24" fmla="*/ 0 w 180"/>
                  <a:gd name="T25" fmla="*/ 68 h 209"/>
                  <a:gd name="T26" fmla="*/ 76 w 180"/>
                  <a:gd name="T27" fmla="*/ 156 h 209"/>
                  <a:gd name="T28" fmla="*/ 76 w 180"/>
                  <a:gd name="T29" fmla="*/ 194 h 209"/>
                  <a:gd name="T30" fmla="*/ 22 w 180"/>
                  <a:gd name="T31" fmla="*/ 209 h 209"/>
                  <a:gd name="T32" fmla="*/ 159 w 180"/>
                  <a:gd name="T33" fmla="*/ 209 h 209"/>
                  <a:gd name="T34" fmla="*/ 104 w 180"/>
                  <a:gd name="T35" fmla="*/ 193 h 209"/>
                  <a:gd name="T36" fmla="*/ 104 w 180"/>
                  <a:gd name="T37" fmla="*/ 156 h 209"/>
                  <a:gd name="T38" fmla="*/ 180 w 180"/>
                  <a:gd name="T39" fmla="*/ 6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0" h="209">
                    <a:moveTo>
                      <a:pt x="180" y="68"/>
                    </a:moveTo>
                    <a:cubicBezTo>
                      <a:pt x="180" y="68"/>
                      <a:pt x="180" y="38"/>
                      <a:pt x="180" y="15"/>
                    </a:cubicBezTo>
                    <a:cubicBezTo>
                      <a:pt x="180" y="0"/>
                      <a:pt x="156" y="0"/>
                      <a:pt x="156" y="15"/>
                    </a:cubicBezTo>
                    <a:cubicBezTo>
                      <a:pt x="156" y="38"/>
                      <a:pt x="156" y="68"/>
                      <a:pt x="156" y="68"/>
                    </a:cubicBezTo>
                    <a:cubicBezTo>
                      <a:pt x="156" y="104"/>
                      <a:pt x="128" y="132"/>
                      <a:pt x="92" y="132"/>
                    </a:cubicBezTo>
                    <a:cubicBezTo>
                      <a:pt x="92" y="132"/>
                      <a:pt x="91" y="132"/>
                      <a:pt x="91" y="132"/>
                    </a:cubicBezTo>
                    <a:cubicBezTo>
                      <a:pt x="90" y="132"/>
                      <a:pt x="90" y="132"/>
                      <a:pt x="90" y="132"/>
                    </a:cubicBezTo>
                    <a:cubicBezTo>
                      <a:pt x="90" y="132"/>
                      <a:pt x="90" y="132"/>
                      <a:pt x="90" y="132"/>
                    </a:cubicBezTo>
                    <a:cubicBezTo>
                      <a:pt x="90" y="132"/>
                      <a:pt x="89" y="132"/>
                      <a:pt x="89" y="132"/>
                    </a:cubicBezTo>
                    <a:cubicBezTo>
                      <a:pt x="53" y="132"/>
                      <a:pt x="24" y="104"/>
                      <a:pt x="24" y="68"/>
                    </a:cubicBezTo>
                    <a:cubicBezTo>
                      <a:pt x="24" y="68"/>
                      <a:pt x="24" y="38"/>
                      <a:pt x="24" y="15"/>
                    </a:cubicBezTo>
                    <a:cubicBezTo>
                      <a:pt x="24" y="0"/>
                      <a:pt x="0" y="0"/>
                      <a:pt x="0" y="15"/>
                    </a:cubicBezTo>
                    <a:cubicBezTo>
                      <a:pt x="0" y="22"/>
                      <a:pt x="0" y="68"/>
                      <a:pt x="0" y="68"/>
                    </a:cubicBezTo>
                    <a:cubicBezTo>
                      <a:pt x="0" y="113"/>
                      <a:pt x="33" y="149"/>
                      <a:pt x="76" y="156"/>
                    </a:cubicBezTo>
                    <a:cubicBezTo>
                      <a:pt x="76" y="194"/>
                      <a:pt x="76" y="194"/>
                      <a:pt x="76" y="194"/>
                    </a:cubicBezTo>
                    <a:cubicBezTo>
                      <a:pt x="22" y="209"/>
                      <a:pt x="22" y="209"/>
                      <a:pt x="22" y="209"/>
                    </a:cubicBezTo>
                    <a:cubicBezTo>
                      <a:pt x="159" y="209"/>
                      <a:pt x="159" y="209"/>
                      <a:pt x="159" y="209"/>
                    </a:cubicBezTo>
                    <a:cubicBezTo>
                      <a:pt x="104" y="193"/>
                      <a:pt x="104" y="193"/>
                      <a:pt x="104" y="193"/>
                    </a:cubicBezTo>
                    <a:cubicBezTo>
                      <a:pt x="104" y="156"/>
                      <a:pt x="104" y="156"/>
                      <a:pt x="104" y="156"/>
                    </a:cubicBezTo>
                    <a:cubicBezTo>
                      <a:pt x="147" y="150"/>
                      <a:pt x="180" y="113"/>
                      <a:pt x="180" y="68"/>
                    </a:cubicBezTo>
                    <a:close/>
                  </a:path>
                </a:pathLst>
              </a:custGeom>
              <a:solidFill>
                <a:schemeClr val="bg1">
                  <a:lumMod val="95000"/>
                </a:schemeClr>
              </a:solidFill>
              <a:ln>
                <a:noFill/>
              </a:ln>
            </p:spPr>
            <p:txBody>
              <a:bodyPr lIns="162560" tIns="81280" rIns="162560" bIns="81280"/>
              <a:lstStyle/>
              <a:p>
                <a:pPr defTabSz="914400">
                  <a:defRPr/>
                </a:pPr>
                <a:endParaRPr lang="zh-CN" altLang="en-US" sz="2535">
                  <a:solidFill>
                    <a:schemeClr val="tx2">
                      <a:lumMod val="75000"/>
                    </a:schemeClr>
                  </a:solidFill>
                  <a:cs typeface="+mn-ea"/>
                </a:endParaRPr>
              </a:p>
            </p:txBody>
          </p:sp>
          <p:sp>
            <p:nvSpPr>
              <p:cNvPr id="88" name="Freeform 551"/>
              <p:cNvSpPr/>
              <p:nvPr/>
            </p:nvSpPr>
            <p:spPr bwMode="auto">
              <a:xfrm>
                <a:off x="8977313" y="6748292"/>
                <a:ext cx="120650" cy="263525"/>
              </a:xfrm>
              <a:custGeom>
                <a:avLst/>
                <a:gdLst>
                  <a:gd name="T0" fmla="*/ 43 w 87"/>
                  <a:gd name="T1" fmla="*/ 190 h 190"/>
                  <a:gd name="T2" fmla="*/ 43 w 87"/>
                  <a:gd name="T3" fmla="*/ 190 h 190"/>
                  <a:gd name="T4" fmla="*/ 44 w 87"/>
                  <a:gd name="T5" fmla="*/ 190 h 190"/>
                  <a:gd name="T6" fmla="*/ 87 w 87"/>
                  <a:gd name="T7" fmla="*/ 147 h 190"/>
                  <a:gd name="T8" fmla="*/ 87 w 87"/>
                  <a:gd name="T9" fmla="*/ 43 h 190"/>
                  <a:gd name="T10" fmla="*/ 44 w 87"/>
                  <a:gd name="T11" fmla="*/ 0 h 190"/>
                  <a:gd name="T12" fmla="*/ 43 w 87"/>
                  <a:gd name="T13" fmla="*/ 0 h 190"/>
                  <a:gd name="T14" fmla="*/ 43 w 87"/>
                  <a:gd name="T15" fmla="*/ 0 h 190"/>
                  <a:gd name="T16" fmla="*/ 0 w 87"/>
                  <a:gd name="T17" fmla="*/ 43 h 190"/>
                  <a:gd name="T18" fmla="*/ 0 w 87"/>
                  <a:gd name="T19" fmla="*/ 147 h 190"/>
                  <a:gd name="T20" fmla="*/ 43 w 87"/>
                  <a:gd name="T21"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190">
                    <a:moveTo>
                      <a:pt x="43" y="190"/>
                    </a:moveTo>
                    <a:cubicBezTo>
                      <a:pt x="43" y="190"/>
                      <a:pt x="43" y="190"/>
                      <a:pt x="43" y="190"/>
                    </a:cubicBezTo>
                    <a:cubicBezTo>
                      <a:pt x="44" y="190"/>
                      <a:pt x="44" y="190"/>
                      <a:pt x="44" y="190"/>
                    </a:cubicBezTo>
                    <a:cubicBezTo>
                      <a:pt x="68" y="190"/>
                      <a:pt x="87" y="171"/>
                      <a:pt x="87" y="147"/>
                    </a:cubicBezTo>
                    <a:cubicBezTo>
                      <a:pt x="87" y="43"/>
                      <a:pt x="87" y="43"/>
                      <a:pt x="87" y="43"/>
                    </a:cubicBezTo>
                    <a:cubicBezTo>
                      <a:pt x="87" y="19"/>
                      <a:pt x="68" y="0"/>
                      <a:pt x="44" y="0"/>
                    </a:cubicBezTo>
                    <a:cubicBezTo>
                      <a:pt x="44" y="0"/>
                      <a:pt x="44" y="0"/>
                      <a:pt x="43" y="0"/>
                    </a:cubicBezTo>
                    <a:cubicBezTo>
                      <a:pt x="43" y="0"/>
                      <a:pt x="43" y="0"/>
                      <a:pt x="43" y="0"/>
                    </a:cubicBezTo>
                    <a:cubicBezTo>
                      <a:pt x="19" y="0"/>
                      <a:pt x="0" y="19"/>
                      <a:pt x="0" y="43"/>
                    </a:cubicBezTo>
                    <a:cubicBezTo>
                      <a:pt x="0" y="147"/>
                      <a:pt x="0" y="147"/>
                      <a:pt x="0" y="147"/>
                    </a:cubicBezTo>
                    <a:cubicBezTo>
                      <a:pt x="0" y="171"/>
                      <a:pt x="19" y="190"/>
                      <a:pt x="43" y="190"/>
                    </a:cubicBezTo>
                    <a:close/>
                  </a:path>
                </a:pathLst>
              </a:custGeom>
              <a:solidFill>
                <a:schemeClr val="bg1">
                  <a:lumMod val="95000"/>
                </a:schemeClr>
              </a:solidFill>
              <a:ln>
                <a:noFill/>
              </a:ln>
            </p:spPr>
            <p:txBody>
              <a:bodyPr lIns="162560" tIns="81280" rIns="162560" bIns="81280"/>
              <a:lstStyle/>
              <a:p>
                <a:pPr defTabSz="914400">
                  <a:defRPr/>
                </a:pPr>
                <a:endParaRPr lang="zh-CN" altLang="en-US" sz="2535">
                  <a:solidFill>
                    <a:schemeClr val="tx2">
                      <a:lumMod val="75000"/>
                    </a:schemeClr>
                  </a:solidFill>
                  <a:cs typeface="+mn-ea"/>
                </a:endParaRPr>
              </a:p>
            </p:txBody>
          </p:sp>
        </p:grpSp>
      </p:grpSp>
      <p:grpSp>
        <p:nvGrpSpPr>
          <p:cNvPr id="89" name="组合 88"/>
          <p:cNvGrpSpPr/>
          <p:nvPr/>
        </p:nvGrpSpPr>
        <p:grpSpPr bwMode="auto">
          <a:xfrm>
            <a:off x="5138741" y="4153633"/>
            <a:ext cx="1897063" cy="1970087"/>
            <a:chOff x="4854966" y="4355480"/>
            <a:chExt cx="1897870" cy="1969070"/>
          </a:xfrm>
        </p:grpSpPr>
        <p:sp>
          <p:nvSpPr>
            <p:cNvPr id="90" name="泪滴形 89"/>
            <p:cNvSpPr/>
            <p:nvPr/>
          </p:nvSpPr>
          <p:spPr>
            <a:xfrm rot="13500000" flipV="1">
              <a:off x="4854966" y="4426880"/>
              <a:ext cx="1897870" cy="1897670"/>
            </a:xfrm>
            <a:prstGeom prst="teardrop">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zh-CN" altLang="en-US" sz="2535">
                <a:solidFill>
                  <a:srgbClr val="000000"/>
                </a:solidFill>
                <a:latin typeface="Arial" panose="020B0604020202020204" pitchFamily="34" charset="0"/>
                <a:cs typeface="+mn-ea"/>
              </a:endParaRPr>
            </a:p>
          </p:txBody>
        </p:sp>
        <p:grpSp>
          <p:nvGrpSpPr>
            <p:cNvPr id="91" name="组合 90"/>
            <p:cNvGrpSpPr>
              <a:grpSpLocks noChangeAspect="1"/>
            </p:cNvGrpSpPr>
            <p:nvPr/>
          </p:nvGrpSpPr>
          <p:grpSpPr>
            <a:xfrm>
              <a:off x="5541401" y="4355480"/>
              <a:ext cx="525001" cy="540000"/>
              <a:chOff x="7240588" y="6794047"/>
              <a:chExt cx="388938" cy="400050"/>
            </a:xfrm>
            <a:solidFill>
              <a:srgbClr val="9DA8B1"/>
            </a:solidFill>
          </p:grpSpPr>
          <p:sp>
            <p:nvSpPr>
              <p:cNvPr id="92" name="Freeform 405"/>
              <p:cNvSpPr/>
              <p:nvPr/>
            </p:nvSpPr>
            <p:spPr bwMode="auto">
              <a:xfrm>
                <a:off x="7339013" y="6794047"/>
                <a:ext cx="127000" cy="125413"/>
              </a:xfrm>
              <a:custGeom>
                <a:avLst/>
                <a:gdLst>
                  <a:gd name="T0" fmla="*/ 45 w 91"/>
                  <a:gd name="T1" fmla="*/ 91 h 91"/>
                  <a:gd name="T2" fmla="*/ 56 w 91"/>
                  <a:gd name="T3" fmla="*/ 90 h 91"/>
                  <a:gd name="T4" fmla="*/ 41 w 91"/>
                  <a:gd name="T5" fmla="*/ 77 h 91"/>
                  <a:gd name="T6" fmla="*/ 31 w 91"/>
                  <a:gd name="T7" fmla="*/ 60 h 91"/>
                  <a:gd name="T8" fmla="*/ 37 w 91"/>
                  <a:gd name="T9" fmla="*/ 40 h 91"/>
                  <a:gd name="T10" fmla="*/ 58 w 91"/>
                  <a:gd name="T11" fmla="*/ 31 h 91"/>
                  <a:gd name="T12" fmla="*/ 74 w 91"/>
                  <a:gd name="T13" fmla="*/ 37 h 91"/>
                  <a:gd name="T14" fmla="*/ 91 w 91"/>
                  <a:gd name="T15" fmla="*/ 50 h 91"/>
                  <a:gd name="T16" fmla="*/ 91 w 91"/>
                  <a:gd name="T17" fmla="*/ 46 h 91"/>
                  <a:gd name="T18" fmla="*/ 45 w 91"/>
                  <a:gd name="T19" fmla="*/ 0 h 91"/>
                  <a:gd name="T20" fmla="*/ 0 w 91"/>
                  <a:gd name="T21" fmla="*/ 46 h 91"/>
                  <a:gd name="T22" fmla="*/ 45 w 91"/>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1">
                    <a:moveTo>
                      <a:pt x="45" y="91"/>
                    </a:moveTo>
                    <a:cubicBezTo>
                      <a:pt x="49" y="91"/>
                      <a:pt x="53" y="91"/>
                      <a:pt x="56" y="90"/>
                    </a:cubicBezTo>
                    <a:cubicBezTo>
                      <a:pt x="41" y="77"/>
                      <a:pt x="41" y="77"/>
                      <a:pt x="41" y="77"/>
                    </a:cubicBezTo>
                    <a:cubicBezTo>
                      <a:pt x="35" y="73"/>
                      <a:pt x="32" y="67"/>
                      <a:pt x="31" y="60"/>
                    </a:cubicBezTo>
                    <a:cubicBezTo>
                      <a:pt x="31" y="53"/>
                      <a:pt x="33" y="46"/>
                      <a:pt x="37" y="40"/>
                    </a:cubicBezTo>
                    <a:cubicBezTo>
                      <a:pt x="42" y="34"/>
                      <a:pt x="50" y="31"/>
                      <a:pt x="58" y="31"/>
                    </a:cubicBezTo>
                    <a:cubicBezTo>
                      <a:pt x="64" y="31"/>
                      <a:pt x="70" y="33"/>
                      <a:pt x="74" y="37"/>
                    </a:cubicBezTo>
                    <a:cubicBezTo>
                      <a:pt x="91" y="50"/>
                      <a:pt x="91" y="50"/>
                      <a:pt x="91" y="50"/>
                    </a:cubicBezTo>
                    <a:cubicBezTo>
                      <a:pt x="91" y="49"/>
                      <a:pt x="91" y="47"/>
                      <a:pt x="91" y="46"/>
                    </a:cubicBezTo>
                    <a:cubicBezTo>
                      <a:pt x="91" y="21"/>
                      <a:pt x="71" y="0"/>
                      <a:pt x="45" y="0"/>
                    </a:cubicBezTo>
                    <a:cubicBezTo>
                      <a:pt x="20" y="0"/>
                      <a:pt x="0" y="21"/>
                      <a:pt x="0" y="46"/>
                    </a:cubicBezTo>
                    <a:cubicBezTo>
                      <a:pt x="0" y="71"/>
                      <a:pt x="20" y="91"/>
                      <a:pt x="45" y="91"/>
                    </a:cubicBezTo>
                    <a:close/>
                  </a:path>
                </a:pathLst>
              </a:custGeom>
              <a:solidFill>
                <a:schemeClr val="bg1">
                  <a:lumMod val="95000"/>
                </a:schemeClr>
              </a:solidFill>
              <a:ln>
                <a:noFill/>
              </a:ln>
            </p:spPr>
            <p:txBody>
              <a:bodyPr lIns="162560" tIns="81280" rIns="162560" bIns="81280"/>
              <a:lstStyle/>
              <a:p>
                <a:pPr defTabSz="914400">
                  <a:defRPr/>
                </a:pPr>
                <a:endParaRPr lang="zh-CN" altLang="en-US" sz="2535">
                  <a:solidFill>
                    <a:schemeClr val="tx2">
                      <a:lumMod val="75000"/>
                    </a:schemeClr>
                  </a:solidFill>
                  <a:cs typeface="+mn-ea"/>
                </a:endParaRPr>
              </a:p>
            </p:txBody>
          </p:sp>
          <p:sp>
            <p:nvSpPr>
              <p:cNvPr id="93" name="Freeform 407"/>
              <p:cNvSpPr/>
              <p:nvPr/>
            </p:nvSpPr>
            <p:spPr bwMode="auto">
              <a:xfrm>
                <a:off x="7402513" y="6857547"/>
                <a:ext cx="227013" cy="198438"/>
              </a:xfrm>
              <a:custGeom>
                <a:avLst/>
                <a:gdLst>
                  <a:gd name="T0" fmla="*/ 104 w 163"/>
                  <a:gd name="T1" fmla="*/ 26 h 143"/>
                  <a:gd name="T2" fmla="*/ 79 w 163"/>
                  <a:gd name="T3" fmla="*/ 31 h 143"/>
                  <a:gd name="T4" fmla="*/ 66 w 163"/>
                  <a:gd name="T5" fmla="*/ 40 h 143"/>
                  <a:gd name="T6" fmla="*/ 20 w 163"/>
                  <a:gd name="T7" fmla="*/ 2 h 143"/>
                  <a:gd name="T8" fmla="*/ 13 w 163"/>
                  <a:gd name="T9" fmla="*/ 0 h 143"/>
                  <a:gd name="T10" fmla="*/ 4 w 163"/>
                  <a:gd name="T11" fmla="*/ 4 h 143"/>
                  <a:gd name="T12" fmla="*/ 5 w 163"/>
                  <a:gd name="T13" fmla="*/ 20 h 143"/>
                  <a:gd name="T14" fmla="*/ 52 w 163"/>
                  <a:gd name="T15" fmla="*/ 58 h 143"/>
                  <a:gd name="T16" fmla="*/ 46 w 163"/>
                  <a:gd name="T17" fmla="*/ 73 h 143"/>
                  <a:gd name="T18" fmla="*/ 45 w 163"/>
                  <a:gd name="T19" fmla="*/ 81 h 143"/>
                  <a:gd name="T20" fmla="*/ 73 w 163"/>
                  <a:gd name="T21" fmla="*/ 66 h 143"/>
                  <a:gd name="T22" fmla="*/ 89 w 163"/>
                  <a:gd name="T23" fmla="*/ 62 h 143"/>
                  <a:gd name="T24" fmla="*/ 119 w 163"/>
                  <a:gd name="T25" fmla="*/ 79 h 143"/>
                  <a:gd name="T26" fmla="*/ 106 w 163"/>
                  <a:gd name="T27" fmla="*/ 125 h 143"/>
                  <a:gd name="T28" fmla="*/ 82 w 163"/>
                  <a:gd name="T29" fmla="*/ 139 h 143"/>
                  <a:gd name="T30" fmla="*/ 104 w 163"/>
                  <a:gd name="T31" fmla="*/ 143 h 143"/>
                  <a:gd name="T32" fmla="*/ 163 w 163"/>
                  <a:gd name="T33" fmla="*/ 84 h 143"/>
                  <a:gd name="T34" fmla="*/ 104 w 163"/>
                  <a:gd name="T35" fmla="*/ 2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 h="143">
                    <a:moveTo>
                      <a:pt x="104" y="26"/>
                    </a:moveTo>
                    <a:cubicBezTo>
                      <a:pt x="95" y="26"/>
                      <a:pt x="86" y="28"/>
                      <a:pt x="79" y="31"/>
                    </a:cubicBezTo>
                    <a:cubicBezTo>
                      <a:pt x="74" y="34"/>
                      <a:pt x="70" y="36"/>
                      <a:pt x="66" y="40"/>
                    </a:cubicBezTo>
                    <a:cubicBezTo>
                      <a:pt x="20" y="2"/>
                      <a:pt x="20" y="2"/>
                      <a:pt x="20" y="2"/>
                    </a:cubicBezTo>
                    <a:cubicBezTo>
                      <a:pt x="18" y="0"/>
                      <a:pt x="15" y="0"/>
                      <a:pt x="13" y="0"/>
                    </a:cubicBezTo>
                    <a:cubicBezTo>
                      <a:pt x="9" y="0"/>
                      <a:pt x="6" y="1"/>
                      <a:pt x="4" y="4"/>
                    </a:cubicBezTo>
                    <a:cubicBezTo>
                      <a:pt x="0" y="9"/>
                      <a:pt x="1" y="16"/>
                      <a:pt x="5" y="20"/>
                    </a:cubicBezTo>
                    <a:cubicBezTo>
                      <a:pt x="52" y="58"/>
                      <a:pt x="52" y="58"/>
                      <a:pt x="52" y="58"/>
                    </a:cubicBezTo>
                    <a:cubicBezTo>
                      <a:pt x="49" y="62"/>
                      <a:pt x="47" y="67"/>
                      <a:pt x="46" y="73"/>
                    </a:cubicBezTo>
                    <a:cubicBezTo>
                      <a:pt x="46" y="75"/>
                      <a:pt x="45" y="78"/>
                      <a:pt x="45" y="81"/>
                    </a:cubicBezTo>
                    <a:cubicBezTo>
                      <a:pt x="73" y="66"/>
                      <a:pt x="73" y="66"/>
                      <a:pt x="73" y="66"/>
                    </a:cubicBezTo>
                    <a:cubicBezTo>
                      <a:pt x="78" y="63"/>
                      <a:pt x="84" y="62"/>
                      <a:pt x="89" y="62"/>
                    </a:cubicBezTo>
                    <a:cubicBezTo>
                      <a:pt x="102" y="62"/>
                      <a:pt x="113" y="68"/>
                      <a:pt x="119" y="79"/>
                    </a:cubicBezTo>
                    <a:cubicBezTo>
                      <a:pt x="128" y="95"/>
                      <a:pt x="122" y="116"/>
                      <a:pt x="106" y="125"/>
                    </a:cubicBezTo>
                    <a:cubicBezTo>
                      <a:pt x="82" y="139"/>
                      <a:pt x="82" y="139"/>
                      <a:pt x="82" y="139"/>
                    </a:cubicBezTo>
                    <a:cubicBezTo>
                      <a:pt x="88" y="141"/>
                      <a:pt x="96" y="143"/>
                      <a:pt x="104" y="143"/>
                    </a:cubicBezTo>
                    <a:cubicBezTo>
                      <a:pt x="136" y="143"/>
                      <a:pt x="163" y="117"/>
                      <a:pt x="163" y="84"/>
                    </a:cubicBezTo>
                    <a:cubicBezTo>
                      <a:pt x="163" y="52"/>
                      <a:pt x="136" y="26"/>
                      <a:pt x="104" y="26"/>
                    </a:cubicBezTo>
                    <a:close/>
                  </a:path>
                </a:pathLst>
              </a:custGeom>
              <a:solidFill>
                <a:schemeClr val="bg1">
                  <a:lumMod val="95000"/>
                </a:schemeClr>
              </a:solidFill>
              <a:ln>
                <a:noFill/>
              </a:ln>
            </p:spPr>
            <p:txBody>
              <a:bodyPr lIns="162560" tIns="81280" rIns="162560" bIns="81280"/>
              <a:lstStyle/>
              <a:p>
                <a:pPr defTabSz="914400">
                  <a:defRPr/>
                </a:pPr>
                <a:endParaRPr lang="zh-CN" altLang="en-US" sz="2535">
                  <a:solidFill>
                    <a:schemeClr val="tx2">
                      <a:lumMod val="75000"/>
                    </a:schemeClr>
                  </a:solidFill>
                  <a:cs typeface="+mn-ea"/>
                </a:endParaRPr>
              </a:p>
            </p:txBody>
          </p:sp>
          <p:sp>
            <p:nvSpPr>
              <p:cNvPr id="94" name="Freeform 408"/>
              <p:cNvSpPr/>
              <p:nvPr/>
            </p:nvSpPr>
            <p:spPr bwMode="auto">
              <a:xfrm>
                <a:off x="7240588" y="6963909"/>
                <a:ext cx="315913" cy="230188"/>
              </a:xfrm>
              <a:custGeom>
                <a:avLst/>
                <a:gdLst>
                  <a:gd name="T0" fmla="*/ 152 w 227"/>
                  <a:gd name="T1" fmla="*/ 69 h 165"/>
                  <a:gd name="T2" fmla="*/ 215 w 227"/>
                  <a:gd name="T3" fmla="*/ 35 h 165"/>
                  <a:gd name="T4" fmla="*/ 222 w 227"/>
                  <a:gd name="T5" fmla="*/ 9 h 165"/>
                  <a:gd name="T6" fmla="*/ 205 w 227"/>
                  <a:gd name="T7" fmla="*/ 0 h 165"/>
                  <a:gd name="T8" fmla="*/ 196 w 227"/>
                  <a:gd name="T9" fmla="*/ 2 h 165"/>
                  <a:gd name="T10" fmla="*/ 135 w 227"/>
                  <a:gd name="T11" fmla="*/ 36 h 165"/>
                  <a:gd name="T12" fmla="*/ 123 w 227"/>
                  <a:gd name="T13" fmla="*/ 26 h 165"/>
                  <a:gd name="T14" fmla="*/ 77 w 227"/>
                  <a:gd name="T15" fmla="*/ 11 h 165"/>
                  <a:gd name="T16" fmla="*/ 0 w 227"/>
                  <a:gd name="T17" fmla="*/ 88 h 165"/>
                  <a:gd name="T18" fmla="*/ 77 w 227"/>
                  <a:gd name="T19" fmla="*/ 165 h 165"/>
                  <a:gd name="T20" fmla="*/ 155 w 227"/>
                  <a:gd name="T21" fmla="*/ 88 h 165"/>
                  <a:gd name="T22" fmla="*/ 154 w 227"/>
                  <a:gd name="T23" fmla="*/ 85 h 165"/>
                  <a:gd name="T24" fmla="*/ 152 w 227"/>
                  <a:gd name="T25" fmla="*/ 6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165">
                    <a:moveTo>
                      <a:pt x="152" y="69"/>
                    </a:moveTo>
                    <a:cubicBezTo>
                      <a:pt x="215" y="35"/>
                      <a:pt x="215" y="35"/>
                      <a:pt x="215" y="35"/>
                    </a:cubicBezTo>
                    <a:cubicBezTo>
                      <a:pt x="224" y="30"/>
                      <a:pt x="227" y="18"/>
                      <a:pt x="222" y="9"/>
                    </a:cubicBezTo>
                    <a:cubicBezTo>
                      <a:pt x="219" y="3"/>
                      <a:pt x="212" y="0"/>
                      <a:pt x="205" y="0"/>
                    </a:cubicBezTo>
                    <a:cubicBezTo>
                      <a:pt x="202" y="0"/>
                      <a:pt x="199" y="0"/>
                      <a:pt x="196" y="2"/>
                    </a:cubicBezTo>
                    <a:cubicBezTo>
                      <a:pt x="135" y="36"/>
                      <a:pt x="135" y="36"/>
                      <a:pt x="135" y="36"/>
                    </a:cubicBezTo>
                    <a:cubicBezTo>
                      <a:pt x="131" y="32"/>
                      <a:pt x="127" y="29"/>
                      <a:pt x="123" y="26"/>
                    </a:cubicBezTo>
                    <a:cubicBezTo>
                      <a:pt x="110" y="16"/>
                      <a:pt x="94" y="11"/>
                      <a:pt x="77" y="11"/>
                    </a:cubicBezTo>
                    <a:cubicBezTo>
                      <a:pt x="35" y="11"/>
                      <a:pt x="0" y="45"/>
                      <a:pt x="0" y="88"/>
                    </a:cubicBezTo>
                    <a:cubicBezTo>
                      <a:pt x="0" y="131"/>
                      <a:pt x="35" y="165"/>
                      <a:pt x="77" y="165"/>
                    </a:cubicBezTo>
                    <a:cubicBezTo>
                      <a:pt x="120" y="165"/>
                      <a:pt x="155" y="131"/>
                      <a:pt x="155" y="88"/>
                    </a:cubicBezTo>
                    <a:cubicBezTo>
                      <a:pt x="155" y="87"/>
                      <a:pt x="155" y="86"/>
                      <a:pt x="154" y="85"/>
                    </a:cubicBezTo>
                    <a:cubicBezTo>
                      <a:pt x="154" y="80"/>
                      <a:pt x="154" y="75"/>
                      <a:pt x="152" y="69"/>
                    </a:cubicBezTo>
                    <a:close/>
                  </a:path>
                </a:pathLst>
              </a:custGeom>
              <a:solidFill>
                <a:schemeClr val="bg1">
                  <a:lumMod val="95000"/>
                </a:schemeClr>
              </a:solidFill>
              <a:ln>
                <a:noFill/>
              </a:ln>
            </p:spPr>
            <p:txBody>
              <a:bodyPr lIns="162560" tIns="81280" rIns="162560" bIns="81280"/>
              <a:lstStyle/>
              <a:p>
                <a:pPr defTabSz="914400">
                  <a:defRPr/>
                </a:pPr>
                <a:endParaRPr lang="zh-CN" altLang="en-US" sz="2535">
                  <a:solidFill>
                    <a:schemeClr val="tx2">
                      <a:lumMod val="75000"/>
                    </a:schemeClr>
                  </a:solidFill>
                  <a:cs typeface="+mn-ea"/>
                </a:endParaRPr>
              </a:p>
            </p:txBody>
          </p:sp>
        </p:grpSp>
      </p:grpSp>
      <p:grpSp>
        <p:nvGrpSpPr>
          <p:cNvPr id="95" name="组合 94"/>
          <p:cNvGrpSpPr/>
          <p:nvPr/>
        </p:nvGrpSpPr>
        <p:grpSpPr bwMode="auto">
          <a:xfrm>
            <a:off x="6721479" y="2767745"/>
            <a:ext cx="1897063" cy="1897063"/>
            <a:chOff x="6438262" y="3038866"/>
            <a:chExt cx="1897870" cy="1897870"/>
          </a:xfrm>
        </p:grpSpPr>
        <p:sp>
          <p:nvSpPr>
            <p:cNvPr id="96" name="泪滴形 95"/>
            <p:cNvSpPr/>
            <p:nvPr/>
          </p:nvSpPr>
          <p:spPr>
            <a:xfrm rot="8100000" flipV="1">
              <a:off x="6438262" y="3038866"/>
              <a:ext cx="1897870" cy="1897870"/>
            </a:xfrm>
            <a:prstGeom prst="teardrop">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zh-CN" altLang="en-US" sz="2535">
                <a:latin typeface="Arial" panose="020B0604020202020204" pitchFamily="34" charset="0"/>
                <a:cs typeface="+mn-ea"/>
              </a:endParaRPr>
            </a:p>
          </p:txBody>
        </p:sp>
        <p:grpSp>
          <p:nvGrpSpPr>
            <p:cNvPr id="97" name="组合 96"/>
            <p:cNvGrpSpPr>
              <a:grpSpLocks noChangeAspect="1"/>
            </p:cNvGrpSpPr>
            <p:nvPr/>
          </p:nvGrpSpPr>
          <p:grpSpPr>
            <a:xfrm>
              <a:off x="7839999" y="3717801"/>
              <a:ext cx="318025" cy="540000"/>
              <a:chOff x="11322051" y="6770687"/>
              <a:chExt cx="236538" cy="401638"/>
            </a:xfrm>
            <a:solidFill>
              <a:srgbClr val="E7E7E7"/>
            </a:solidFill>
          </p:grpSpPr>
          <p:sp>
            <p:nvSpPr>
              <p:cNvPr id="98" name="Freeform 492"/>
              <p:cNvSpPr>
                <a:spLocks noEditPoints="1"/>
              </p:cNvSpPr>
              <p:nvPr/>
            </p:nvSpPr>
            <p:spPr bwMode="auto">
              <a:xfrm>
                <a:off x="11322051" y="6770687"/>
                <a:ext cx="236538" cy="320675"/>
              </a:xfrm>
              <a:custGeom>
                <a:avLst/>
                <a:gdLst>
                  <a:gd name="T0" fmla="*/ 86 w 170"/>
                  <a:gd name="T1" fmla="*/ 0 h 230"/>
                  <a:gd name="T2" fmla="*/ 85 w 170"/>
                  <a:gd name="T3" fmla="*/ 0 h 230"/>
                  <a:gd name="T4" fmla="*/ 84 w 170"/>
                  <a:gd name="T5" fmla="*/ 0 h 230"/>
                  <a:gd name="T6" fmla="*/ 0 w 170"/>
                  <a:gd name="T7" fmla="*/ 96 h 230"/>
                  <a:gd name="T8" fmla="*/ 50 w 170"/>
                  <a:gd name="T9" fmla="*/ 230 h 230"/>
                  <a:gd name="T10" fmla="*/ 120 w 170"/>
                  <a:gd name="T11" fmla="*/ 230 h 230"/>
                  <a:gd name="T12" fmla="*/ 170 w 170"/>
                  <a:gd name="T13" fmla="*/ 96 h 230"/>
                  <a:gd name="T14" fmla="*/ 86 w 170"/>
                  <a:gd name="T15" fmla="*/ 0 h 230"/>
                  <a:gd name="T16" fmla="*/ 105 w 170"/>
                  <a:gd name="T17" fmla="*/ 210 h 230"/>
                  <a:gd name="T18" fmla="*/ 97 w 170"/>
                  <a:gd name="T19" fmla="*/ 210 h 230"/>
                  <a:gd name="T20" fmla="*/ 97 w 170"/>
                  <a:gd name="T21" fmla="*/ 159 h 230"/>
                  <a:gd name="T22" fmla="*/ 73 w 170"/>
                  <a:gd name="T23" fmla="*/ 159 h 230"/>
                  <a:gd name="T24" fmla="*/ 73 w 170"/>
                  <a:gd name="T25" fmla="*/ 210 h 230"/>
                  <a:gd name="T26" fmla="*/ 65 w 170"/>
                  <a:gd name="T27" fmla="*/ 210 h 230"/>
                  <a:gd name="T28" fmla="*/ 49 w 170"/>
                  <a:gd name="T29" fmla="*/ 176 h 230"/>
                  <a:gd name="T30" fmla="*/ 20 w 170"/>
                  <a:gd name="T31" fmla="*/ 96 h 230"/>
                  <a:gd name="T32" fmla="*/ 49 w 170"/>
                  <a:gd name="T33" fmla="*/ 30 h 230"/>
                  <a:gd name="T34" fmla="*/ 84 w 170"/>
                  <a:gd name="T35" fmla="*/ 20 h 230"/>
                  <a:gd name="T36" fmla="*/ 84 w 170"/>
                  <a:gd name="T37" fmla="*/ 20 h 230"/>
                  <a:gd name="T38" fmla="*/ 85 w 170"/>
                  <a:gd name="T39" fmla="*/ 20 h 230"/>
                  <a:gd name="T40" fmla="*/ 86 w 170"/>
                  <a:gd name="T41" fmla="*/ 20 h 230"/>
                  <a:gd name="T42" fmla="*/ 86 w 170"/>
                  <a:gd name="T43" fmla="*/ 20 h 230"/>
                  <a:gd name="T44" fmla="*/ 121 w 170"/>
                  <a:gd name="T45" fmla="*/ 30 h 230"/>
                  <a:gd name="T46" fmla="*/ 150 w 170"/>
                  <a:gd name="T47" fmla="*/ 96 h 230"/>
                  <a:gd name="T48" fmla="*/ 121 w 170"/>
                  <a:gd name="T49" fmla="*/ 176 h 230"/>
                  <a:gd name="T50" fmla="*/ 105 w 170"/>
                  <a:gd name="T51" fmla="*/ 21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0" h="230">
                    <a:moveTo>
                      <a:pt x="86" y="0"/>
                    </a:moveTo>
                    <a:cubicBezTo>
                      <a:pt x="85" y="0"/>
                      <a:pt x="85" y="0"/>
                      <a:pt x="85" y="0"/>
                    </a:cubicBezTo>
                    <a:cubicBezTo>
                      <a:pt x="85" y="0"/>
                      <a:pt x="84" y="0"/>
                      <a:pt x="84" y="0"/>
                    </a:cubicBezTo>
                    <a:cubicBezTo>
                      <a:pt x="74" y="0"/>
                      <a:pt x="0" y="3"/>
                      <a:pt x="0" y="96"/>
                    </a:cubicBezTo>
                    <a:cubicBezTo>
                      <a:pt x="0" y="136"/>
                      <a:pt x="50" y="210"/>
                      <a:pt x="50" y="230"/>
                    </a:cubicBezTo>
                    <a:cubicBezTo>
                      <a:pt x="120" y="230"/>
                      <a:pt x="120" y="230"/>
                      <a:pt x="120" y="230"/>
                    </a:cubicBezTo>
                    <a:cubicBezTo>
                      <a:pt x="120" y="210"/>
                      <a:pt x="170" y="136"/>
                      <a:pt x="170" y="96"/>
                    </a:cubicBezTo>
                    <a:cubicBezTo>
                      <a:pt x="170" y="3"/>
                      <a:pt x="96" y="0"/>
                      <a:pt x="86" y="0"/>
                    </a:cubicBezTo>
                    <a:close/>
                    <a:moveTo>
                      <a:pt x="105" y="210"/>
                    </a:moveTo>
                    <a:cubicBezTo>
                      <a:pt x="97" y="210"/>
                      <a:pt x="97" y="210"/>
                      <a:pt x="97" y="210"/>
                    </a:cubicBezTo>
                    <a:cubicBezTo>
                      <a:pt x="97" y="159"/>
                      <a:pt x="97" y="159"/>
                      <a:pt x="97" y="159"/>
                    </a:cubicBezTo>
                    <a:cubicBezTo>
                      <a:pt x="73" y="159"/>
                      <a:pt x="73" y="159"/>
                      <a:pt x="73" y="159"/>
                    </a:cubicBezTo>
                    <a:cubicBezTo>
                      <a:pt x="73" y="210"/>
                      <a:pt x="73" y="210"/>
                      <a:pt x="73" y="210"/>
                    </a:cubicBezTo>
                    <a:cubicBezTo>
                      <a:pt x="65" y="210"/>
                      <a:pt x="65" y="210"/>
                      <a:pt x="65" y="210"/>
                    </a:cubicBezTo>
                    <a:cubicBezTo>
                      <a:pt x="62" y="201"/>
                      <a:pt x="56" y="190"/>
                      <a:pt x="49" y="176"/>
                    </a:cubicBezTo>
                    <a:cubicBezTo>
                      <a:pt x="37" y="150"/>
                      <a:pt x="20" y="115"/>
                      <a:pt x="20" y="96"/>
                    </a:cubicBezTo>
                    <a:cubicBezTo>
                      <a:pt x="20" y="64"/>
                      <a:pt x="30" y="42"/>
                      <a:pt x="49" y="30"/>
                    </a:cubicBezTo>
                    <a:cubicBezTo>
                      <a:pt x="65" y="20"/>
                      <a:pt x="82" y="20"/>
                      <a:pt x="84" y="20"/>
                    </a:cubicBezTo>
                    <a:cubicBezTo>
                      <a:pt x="84" y="20"/>
                      <a:pt x="84" y="20"/>
                      <a:pt x="84" y="20"/>
                    </a:cubicBezTo>
                    <a:cubicBezTo>
                      <a:pt x="85" y="20"/>
                      <a:pt x="85" y="20"/>
                      <a:pt x="85" y="20"/>
                    </a:cubicBezTo>
                    <a:cubicBezTo>
                      <a:pt x="86" y="20"/>
                      <a:pt x="86" y="20"/>
                      <a:pt x="86" y="20"/>
                    </a:cubicBezTo>
                    <a:cubicBezTo>
                      <a:pt x="86" y="20"/>
                      <a:pt x="86" y="20"/>
                      <a:pt x="86" y="20"/>
                    </a:cubicBezTo>
                    <a:cubicBezTo>
                      <a:pt x="88" y="20"/>
                      <a:pt x="105" y="20"/>
                      <a:pt x="121" y="30"/>
                    </a:cubicBezTo>
                    <a:cubicBezTo>
                      <a:pt x="140" y="42"/>
                      <a:pt x="150" y="64"/>
                      <a:pt x="150" y="96"/>
                    </a:cubicBezTo>
                    <a:cubicBezTo>
                      <a:pt x="150" y="115"/>
                      <a:pt x="133" y="150"/>
                      <a:pt x="121" y="176"/>
                    </a:cubicBezTo>
                    <a:cubicBezTo>
                      <a:pt x="114" y="190"/>
                      <a:pt x="108" y="201"/>
                      <a:pt x="105" y="210"/>
                    </a:cubicBezTo>
                    <a:close/>
                  </a:path>
                </a:pathLst>
              </a:custGeom>
              <a:solidFill>
                <a:schemeClr val="bg1">
                  <a:lumMod val="95000"/>
                </a:schemeClr>
              </a:solidFill>
              <a:ln>
                <a:noFill/>
              </a:ln>
            </p:spPr>
            <p:txBody>
              <a:bodyPr lIns="162560" tIns="81280" rIns="162560" bIns="81280"/>
              <a:lstStyle/>
              <a:p>
                <a:pPr defTabSz="914400">
                  <a:defRPr/>
                </a:pPr>
                <a:endParaRPr lang="zh-CN" altLang="en-US" sz="2535">
                  <a:cs typeface="+mn-ea"/>
                </a:endParaRPr>
              </a:p>
            </p:txBody>
          </p:sp>
          <p:sp>
            <p:nvSpPr>
              <p:cNvPr id="99" name="Rectangle 493"/>
              <p:cNvSpPr>
                <a:spLocks noChangeArrowheads="1"/>
              </p:cNvSpPr>
              <p:nvPr/>
            </p:nvSpPr>
            <p:spPr bwMode="auto">
              <a:xfrm>
                <a:off x="11391901" y="7105649"/>
                <a:ext cx="98425" cy="26988"/>
              </a:xfrm>
              <a:prstGeom prst="rect">
                <a:avLst/>
              </a:prstGeom>
              <a:solidFill>
                <a:schemeClr val="bg1">
                  <a:lumMod val="95000"/>
                </a:schemeClr>
              </a:solidFill>
              <a:ln>
                <a:noFill/>
              </a:ln>
            </p:spPr>
            <p:txBody>
              <a:bodyPr lIns="162560" tIns="81280" rIns="162560" bIns="81280"/>
              <a:lstStyle/>
              <a:p>
                <a:pPr defTabSz="914400">
                  <a:defRPr/>
                </a:pPr>
                <a:endParaRPr lang="zh-CN" altLang="en-US" sz="2535">
                  <a:cs typeface="+mn-ea"/>
                </a:endParaRPr>
              </a:p>
            </p:txBody>
          </p:sp>
          <p:sp>
            <p:nvSpPr>
              <p:cNvPr id="100" name="Rectangle 494"/>
              <p:cNvSpPr>
                <a:spLocks noChangeArrowheads="1"/>
              </p:cNvSpPr>
              <p:nvPr/>
            </p:nvSpPr>
            <p:spPr bwMode="auto">
              <a:xfrm>
                <a:off x="11417301" y="7145337"/>
                <a:ext cx="49213" cy="26988"/>
              </a:xfrm>
              <a:prstGeom prst="rect">
                <a:avLst/>
              </a:prstGeom>
              <a:solidFill>
                <a:schemeClr val="bg1">
                  <a:lumMod val="95000"/>
                </a:schemeClr>
              </a:solidFill>
              <a:ln>
                <a:noFill/>
              </a:ln>
            </p:spPr>
            <p:txBody>
              <a:bodyPr lIns="162560" tIns="81280" rIns="162560" bIns="81280"/>
              <a:lstStyle/>
              <a:p>
                <a:pPr defTabSz="914400">
                  <a:defRPr/>
                </a:pPr>
                <a:endParaRPr lang="zh-CN" altLang="en-US" sz="2535">
                  <a:cs typeface="+mn-ea"/>
                </a:endParaRPr>
              </a:p>
            </p:txBody>
          </p:sp>
        </p:grpSp>
      </p:grpSp>
      <p:grpSp>
        <p:nvGrpSpPr>
          <p:cNvPr id="101" name="组合 100"/>
          <p:cNvGrpSpPr/>
          <p:nvPr/>
        </p:nvGrpSpPr>
        <p:grpSpPr bwMode="auto">
          <a:xfrm>
            <a:off x="3554413" y="2767745"/>
            <a:ext cx="1898651" cy="1897063"/>
            <a:chOff x="3271670" y="3038866"/>
            <a:chExt cx="1897870" cy="1897870"/>
          </a:xfrm>
        </p:grpSpPr>
        <p:sp>
          <p:nvSpPr>
            <p:cNvPr id="102" name="泪滴形 101"/>
            <p:cNvSpPr/>
            <p:nvPr/>
          </p:nvSpPr>
          <p:spPr>
            <a:xfrm rot="13500000" flipH="1" flipV="1">
              <a:off x="3271670" y="3038867"/>
              <a:ext cx="1897870" cy="1897870"/>
            </a:xfrm>
            <a:prstGeom prst="teardrop">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zh-CN" altLang="en-US" sz="2535">
                <a:latin typeface="Arial" panose="020B0604020202020204" pitchFamily="34" charset="0"/>
                <a:cs typeface="+mn-ea"/>
              </a:endParaRPr>
            </a:p>
          </p:txBody>
        </p:sp>
        <p:sp>
          <p:nvSpPr>
            <p:cNvPr id="103" name="Freeform 169"/>
            <p:cNvSpPr>
              <a:spLocks noChangeAspect="1"/>
            </p:cNvSpPr>
            <p:nvPr/>
          </p:nvSpPr>
          <p:spPr bwMode="auto">
            <a:xfrm>
              <a:off x="3482720" y="3717017"/>
              <a:ext cx="360215" cy="541567"/>
            </a:xfrm>
            <a:custGeom>
              <a:avLst/>
              <a:gdLst>
                <a:gd name="T0" fmla="*/ 144 w 192"/>
                <a:gd name="T1" fmla="*/ 192 h 288"/>
                <a:gd name="T2" fmla="*/ 130 w 192"/>
                <a:gd name="T3" fmla="*/ 194 h 288"/>
                <a:gd name="T4" fmla="*/ 120 w 192"/>
                <a:gd name="T5" fmla="*/ 192 h 288"/>
                <a:gd name="T6" fmla="*/ 96 w 192"/>
                <a:gd name="T7" fmla="*/ 167 h 288"/>
                <a:gd name="T8" fmla="*/ 94 w 192"/>
                <a:gd name="T9" fmla="*/ 158 h 288"/>
                <a:gd name="T10" fmla="*/ 96 w 192"/>
                <a:gd name="T11" fmla="*/ 144 h 288"/>
                <a:gd name="T12" fmla="*/ 94 w 192"/>
                <a:gd name="T13" fmla="*/ 131 h 288"/>
                <a:gd name="T14" fmla="*/ 96 w 192"/>
                <a:gd name="T15" fmla="*/ 121 h 288"/>
                <a:gd name="T16" fmla="*/ 121 w 192"/>
                <a:gd name="T17" fmla="*/ 96 h 288"/>
                <a:gd name="T18" fmla="*/ 131 w 192"/>
                <a:gd name="T19" fmla="*/ 94 h 288"/>
                <a:gd name="T20" fmla="*/ 144 w 192"/>
                <a:gd name="T21" fmla="*/ 96 h 288"/>
                <a:gd name="T22" fmla="*/ 192 w 192"/>
                <a:gd name="T23" fmla="*/ 48 h 288"/>
                <a:gd name="T24" fmla="*/ 144 w 192"/>
                <a:gd name="T25" fmla="*/ 0 h 288"/>
                <a:gd name="T26" fmla="*/ 96 w 192"/>
                <a:gd name="T27" fmla="*/ 48 h 288"/>
                <a:gd name="T28" fmla="*/ 98 w 192"/>
                <a:gd name="T29" fmla="*/ 62 h 288"/>
                <a:gd name="T30" fmla="*/ 96 w 192"/>
                <a:gd name="T31" fmla="*/ 71 h 288"/>
                <a:gd name="T32" fmla="*/ 71 w 192"/>
                <a:gd name="T33" fmla="*/ 96 h 288"/>
                <a:gd name="T34" fmla="*/ 62 w 192"/>
                <a:gd name="T35" fmla="*/ 98 h 288"/>
                <a:gd name="T36" fmla="*/ 48 w 192"/>
                <a:gd name="T37" fmla="*/ 96 h 288"/>
                <a:gd name="T38" fmla="*/ 0 w 192"/>
                <a:gd name="T39" fmla="*/ 144 h 288"/>
                <a:gd name="T40" fmla="*/ 48 w 192"/>
                <a:gd name="T41" fmla="*/ 192 h 288"/>
                <a:gd name="T42" fmla="*/ 60 w 192"/>
                <a:gd name="T43" fmla="*/ 190 h 288"/>
                <a:gd name="T44" fmla="*/ 70 w 192"/>
                <a:gd name="T45" fmla="*/ 192 h 288"/>
                <a:gd name="T46" fmla="*/ 95 w 192"/>
                <a:gd name="T47" fmla="*/ 218 h 288"/>
                <a:gd name="T48" fmla="*/ 98 w 192"/>
                <a:gd name="T49" fmla="*/ 227 h 288"/>
                <a:gd name="T50" fmla="*/ 96 w 192"/>
                <a:gd name="T51" fmla="*/ 240 h 288"/>
                <a:gd name="T52" fmla="*/ 144 w 192"/>
                <a:gd name="T53" fmla="*/ 288 h 288"/>
                <a:gd name="T54" fmla="*/ 192 w 192"/>
                <a:gd name="T55" fmla="*/ 240 h 288"/>
                <a:gd name="T56" fmla="*/ 144 w 192"/>
                <a:gd name="T57"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2" h="288">
                  <a:moveTo>
                    <a:pt x="144" y="192"/>
                  </a:moveTo>
                  <a:cubicBezTo>
                    <a:pt x="137" y="192"/>
                    <a:pt x="130" y="194"/>
                    <a:pt x="130" y="194"/>
                  </a:cubicBezTo>
                  <a:cubicBezTo>
                    <a:pt x="127" y="195"/>
                    <a:pt x="123" y="194"/>
                    <a:pt x="120" y="192"/>
                  </a:cubicBezTo>
                  <a:cubicBezTo>
                    <a:pt x="96" y="167"/>
                    <a:pt x="96" y="167"/>
                    <a:pt x="96" y="167"/>
                  </a:cubicBezTo>
                  <a:cubicBezTo>
                    <a:pt x="94" y="165"/>
                    <a:pt x="93" y="161"/>
                    <a:pt x="94" y="158"/>
                  </a:cubicBezTo>
                  <a:cubicBezTo>
                    <a:pt x="94" y="158"/>
                    <a:pt x="96" y="151"/>
                    <a:pt x="96" y="144"/>
                  </a:cubicBezTo>
                  <a:cubicBezTo>
                    <a:pt x="96" y="137"/>
                    <a:pt x="94" y="131"/>
                    <a:pt x="94" y="131"/>
                  </a:cubicBezTo>
                  <a:cubicBezTo>
                    <a:pt x="93" y="128"/>
                    <a:pt x="94" y="124"/>
                    <a:pt x="96" y="121"/>
                  </a:cubicBezTo>
                  <a:cubicBezTo>
                    <a:pt x="121" y="96"/>
                    <a:pt x="121" y="96"/>
                    <a:pt x="121" y="96"/>
                  </a:cubicBezTo>
                  <a:cubicBezTo>
                    <a:pt x="123" y="94"/>
                    <a:pt x="128" y="93"/>
                    <a:pt x="131" y="94"/>
                  </a:cubicBezTo>
                  <a:cubicBezTo>
                    <a:pt x="131" y="94"/>
                    <a:pt x="137" y="96"/>
                    <a:pt x="144" y="96"/>
                  </a:cubicBezTo>
                  <a:cubicBezTo>
                    <a:pt x="170" y="96"/>
                    <a:pt x="192" y="75"/>
                    <a:pt x="192" y="48"/>
                  </a:cubicBezTo>
                  <a:cubicBezTo>
                    <a:pt x="192" y="22"/>
                    <a:pt x="170" y="0"/>
                    <a:pt x="144" y="0"/>
                  </a:cubicBezTo>
                  <a:cubicBezTo>
                    <a:pt x="117" y="0"/>
                    <a:pt x="96" y="22"/>
                    <a:pt x="96" y="48"/>
                  </a:cubicBezTo>
                  <a:cubicBezTo>
                    <a:pt x="96" y="55"/>
                    <a:pt x="98" y="62"/>
                    <a:pt x="98" y="62"/>
                  </a:cubicBezTo>
                  <a:cubicBezTo>
                    <a:pt x="99" y="65"/>
                    <a:pt x="98" y="69"/>
                    <a:pt x="96" y="71"/>
                  </a:cubicBezTo>
                  <a:cubicBezTo>
                    <a:pt x="71" y="96"/>
                    <a:pt x="71" y="96"/>
                    <a:pt x="71" y="96"/>
                  </a:cubicBezTo>
                  <a:cubicBezTo>
                    <a:pt x="69" y="98"/>
                    <a:pt x="65" y="99"/>
                    <a:pt x="62" y="98"/>
                  </a:cubicBezTo>
                  <a:cubicBezTo>
                    <a:pt x="62" y="98"/>
                    <a:pt x="55" y="96"/>
                    <a:pt x="48" y="96"/>
                  </a:cubicBezTo>
                  <a:cubicBezTo>
                    <a:pt x="21" y="96"/>
                    <a:pt x="0" y="117"/>
                    <a:pt x="0" y="144"/>
                  </a:cubicBezTo>
                  <a:cubicBezTo>
                    <a:pt x="0" y="170"/>
                    <a:pt x="21" y="192"/>
                    <a:pt x="48" y="192"/>
                  </a:cubicBezTo>
                  <a:cubicBezTo>
                    <a:pt x="54" y="192"/>
                    <a:pt x="60" y="190"/>
                    <a:pt x="60" y="190"/>
                  </a:cubicBezTo>
                  <a:cubicBezTo>
                    <a:pt x="63" y="189"/>
                    <a:pt x="68" y="190"/>
                    <a:pt x="70" y="192"/>
                  </a:cubicBezTo>
                  <a:cubicBezTo>
                    <a:pt x="95" y="218"/>
                    <a:pt x="95" y="218"/>
                    <a:pt x="95" y="218"/>
                  </a:cubicBezTo>
                  <a:cubicBezTo>
                    <a:pt x="97" y="220"/>
                    <a:pt x="98" y="224"/>
                    <a:pt x="98" y="227"/>
                  </a:cubicBezTo>
                  <a:cubicBezTo>
                    <a:pt x="98" y="227"/>
                    <a:pt x="96" y="234"/>
                    <a:pt x="96" y="240"/>
                  </a:cubicBezTo>
                  <a:cubicBezTo>
                    <a:pt x="96" y="266"/>
                    <a:pt x="117" y="288"/>
                    <a:pt x="144" y="288"/>
                  </a:cubicBezTo>
                  <a:cubicBezTo>
                    <a:pt x="170" y="288"/>
                    <a:pt x="192" y="266"/>
                    <a:pt x="192" y="240"/>
                  </a:cubicBezTo>
                  <a:cubicBezTo>
                    <a:pt x="192" y="213"/>
                    <a:pt x="170" y="192"/>
                    <a:pt x="144" y="192"/>
                  </a:cubicBezTo>
                  <a:close/>
                </a:path>
              </a:pathLst>
            </a:custGeom>
            <a:solidFill>
              <a:schemeClr val="bg1">
                <a:lumMod val="95000"/>
              </a:schemeClr>
            </a:solidFill>
            <a:ln>
              <a:noFill/>
            </a:ln>
          </p:spPr>
          <p:txBody>
            <a:bodyPr lIns="162560" tIns="81280" rIns="162560" bIns="81280"/>
            <a:lstStyle/>
            <a:p>
              <a:pPr defTabSz="914400">
                <a:defRPr/>
              </a:pPr>
              <a:endParaRPr lang="zh-CN" altLang="en-US" sz="2535">
                <a:cs typeface="+mn-ea"/>
              </a:endParaRPr>
            </a:p>
          </p:txBody>
        </p:sp>
      </p:grpSp>
      <p:sp>
        <p:nvSpPr>
          <p:cNvPr id="104" name="矩形 103"/>
          <p:cNvSpPr/>
          <p:nvPr/>
        </p:nvSpPr>
        <p:spPr>
          <a:xfrm>
            <a:off x="4124329" y="3180491"/>
            <a:ext cx="1345222" cy="441203"/>
          </a:xfrm>
          <a:prstGeom prst="rect">
            <a:avLst/>
          </a:prstGeom>
        </p:spPr>
        <p:txBody>
          <a:bodyPr wrap="none" lIns="91431" tIns="45716" rIns="91431" bIns="45716">
            <a:spAutoFit/>
          </a:bodyPr>
          <a:lstStyle/>
          <a:p>
            <a:pPr defTabSz="914400">
              <a:defRPr/>
            </a:pPr>
            <a:r>
              <a:rPr lang="zh-CN" altLang="en-US" sz="2265" dirty="0">
                <a:solidFill>
                  <a:schemeClr val="bg1">
                    <a:lumMod val="95000"/>
                  </a:schemeClr>
                </a:solidFill>
                <a:effectLst>
                  <a:outerShdw blurRad="50800" dist="76200" dir="5400000" algn="t" rotWithShape="0">
                    <a:prstClr val="black">
                      <a:alpha val="40000"/>
                    </a:prstClr>
                  </a:outerShdw>
                </a:effectLst>
                <a:latin typeface="+mn-ea"/>
                <a:cs typeface="+mn-ea"/>
              </a:rPr>
              <a:t>添加标题</a:t>
            </a:r>
            <a:endParaRPr lang="en-US" altLang="zh-CN" sz="2265" dirty="0">
              <a:solidFill>
                <a:schemeClr val="bg1">
                  <a:lumMod val="95000"/>
                </a:schemeClr>
              </a:solidFill>
              <a:effectLst>
                <a:outerShdw blurRad="50800" dist="76200" dir="5400000" algn="t" rotWithShape="0">
                  <a:prstClr val="black">
                    <a:alpha val="40000"/>
                  </a:prstClr>
                </a:outerShdw>
              </a:effectLst>
              <a:latin typeface="+mn-ea"/>
              <a:cs typeface="+mn-ea"/>
            </a:endParaRPr>
          </a:p>
        </p:txBody>
      </p:sp>
      <p:sp>
        <p:nvSpPr>
          <p:cNvPr id="105" name="矩形 47"/>
          <p:cNvSpPr>
            <a:spLocks noChangeArrowheads="1"/>
          </p:cNvSpPr>
          <p:nvPr/>
        </p:nvSpPr>
        <p:spPr bwMode="auto">
          <a:xfrm>
            <a:off x="4138617" y="3529741"/>
            <a:ext cx="1455737" cy="549053"/>
          </a:xfrm>
          <a:prstGeom prst="rect">
            <a:avLst/>
          </a:prstGeom>
          <a:noFill/>
          <a:ln>
            <a:noFill/>
          </a:ln>
        </p:spPr>
        <p:txBody>
          <a:bodyPr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defTabSz="914400">
              <a:lnSpc>
                <a:spcPct val="130000"/>
              </a:lnSpc>
              <a:spcBef>
                <a:spcPct val="0"/>
              </a:spcBef>
              <a:buNone/>
              <a:defRPr/>
            </a:pPr>
            <a:r>
              <a:rPr lang="zh-CN" altLang="en-US" sz="1200" dirty="0">
                <a:solidFill>
                  <a:schemeClr val="bg1">
                    <a:lumMod val="95000"/>
                  </a:schemeClr>
                </a:solidFill>
                <a:ea typeface="+mn-ea"/>
                <a:cs typeface="+mn-ea"/>
                <a:sym typeface="微软雅黑" panose="020B0503020204020204" pitchFamily="34" charset="-122"/>
              </a:rPr>
              <a:t>在此录入图表的描述说明</a:t>
            </a:r>
            <a:endParaRPr lang="zh-CN" altLang="en-US" sz="1200" dirty="0">
              <a:solidFill>
                <a:schemeClr val="bg1">
                  <a:lumMod val="95000"/>
                </a:schemeClr>
              </a:solidFill>
              <a:ea typeface="+mn-ea"/>
              <a:cs typeface="+mn-ea"/>
              <a:sym typeface="微软雅黑" panose="020B0503020204020204" pitchFamily="34" charset="-122"/>
            </a:endParaRPr>
          </a:p>
        </p:txBody>
      </p:sp>
      <p:sp>
        <p:nvSpPr>
          <p:cNvPr id="106" name="矩形 105"/>
          <p:cNvSpPr/>
          <p:nvPr/>
        </p:nvSpPr>
        <p:spPr>
          <a:xfrm>
            <a:off x="6747858" y="3180491"/>
            <a:ext cx="1345222" cy="441203"/>
          </a:xfrm>
          <a:prstGeom prst="rect">
            <a:avLst/>
          </a:prstGeom>
        </p:spPr>
        <p:txBody>
          <a:bodyPr wrap="none" lIns="91431" tIns="45716" rIns="91431" bIns="45716">
            <a:spAutoFit/>
          </a:bodyPr>
          <a:lstStyle/>
          <a:p>
            <a:pPr algn="r" defTabSz="914400">
              <a:defRPr/>
            </a:pPr>
            <a:r>
              <a:rPr lang="zh-CN" altLang="en-US" sz="2265" dirty="0">
                <a:solidFill>
                  <a:schemeClr val="bg1">
                    <a:lumMod val="95000"/>
                  </a:schemeClr>
                </a:solidFill>
                <a:effectLst>
                  <a:outerShdw blurRad="50800" dist="76200" dir="5400000" algn="t" rotWithShape="0">
                    <a:prstClr val="black">
                      <a:alpha val="40000"/>
                    </a:prstClr>
                  </a:outerShdw>
                </a:effectLst>
                <a:latin typeface="+mn-ea"/>
                <a:cs typeface="+mn-ea"/>
              </a:rPr>
              <a:t>添加标题</a:t>
            </a:r>
            <a:endParaRPr lang="en-US" altLang="zh-CN" sz="2265" dirty="0">
              <a:solidFill>
                <a:schemeClr val="bg1">
                  <a:lumMod val="95000"/>
                </a:schemeClr>
              </a:solidFill>
              <a:effectLst>
                <a:outerShdw blurRad="50800" dist="76200" dir="5400000" algn="t" rotWithShape="0">
                  <a:prstClr val="black">
                    <a:alpha val="40000"/>
                  </a:prstClr>
                </a:outerShdw>
              </a:effectLst>
              <a:latin typeface="+mn-ea"/>
              <a:cs typeface="+mn-ea"/>
            </a:endParaRPr>
          </a:p>
        </p:txBody>
      </p:sp>
      <p:sp>
        <p:nvSpPr>
          <p:cNvPr id="107" name="矩形 47"/>
          <p:cNvSpPr>
            <a:spLocks noChangeArrowheads="1"/>
          </p:cNvSpPr>
          <p:nvPr/>
        </p:nvSpPr>
        <p:spPr bwMode="auto">
          <a:xfrm>
            <a:off x="6637342" y="3529741"/>
            <a:ext cx="1455737" cy="549053"/>
          </a:xfrm>
          <a:prstGeom prst="rect">
            <a:avLst/>
          </a:prstGeom>
          <a:noFill/>
          <a:ln>
            <a:noFill/>
          </a:ln>
        </p:spPr>
        <p:txBody>
          <a:bodyPr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r" defTabSz="914400">
              <a:lnSpc>
                <a:spcPct val="130000"/>
              </a:lnSpc>
              <a:spcBef>
                <a:spcPct val="0"/>
              </a:spcBef>
              <a:buNone/>
              <a:defRPr/>
            </a:pPr>
            <a:r>
              <a:rPr lang="zh-CN" altLang="en-US" sz="1200" dirty="0">
                <a:solidFill>
                  <a:schemeClr val="bg1">
                    <a:lumMod val="95000"/>
                  </a:schemeClr>
                </a:solidFill>
                <a:ea typeface="+mn-ea"/>
                <a:cs typeface="+mn-ea"/>
                <a:sym typeface="微软雅黑" panose="020B0503020204020204" pitchFamily="34" charset="-122"/>
              </a:rPr>
              <a:t>在此录入图表的描述说明</a:t>
            </a:r>
            <a:endParaRPr lang="zh-CN" altLang="en-US" sz="1200" dirty="0">
              <a:solidFill>
                <a:schemeClr val="bg1">
                  <a:lumMod val="95000"/>
                </a:schemeClr>
              </a:solidFill>
              <a:ea typeface="+mn-ea"/>
              <a:cs typeface="+mn-ea"/>
              <a:sym typeface="微软雅黑" panose="020B0503020204020204" pitchFamily="34" charset="-122"/>
            </a:endParaRPr>
          </a:p>
        </p:txBody>
      </p:sp>
      <p:sp>
        <p:nvSpPr>
          <p:cNvPr id="108" name="矩形 107"/>
          <p:cNvSpPr/>
          <p:nvPr/>
        </p:nvSpPr>
        <p:spPr>
          <a:xfrm>
            <a:off x="5414658" y="2039077"/>
            <a:ext cx="1345222" cy="441203"/>
          </a:xfrm>
          <a:prstGeom prst="rect">
            <a:avLst/>
          </a:prstGeom>
        </p:spPr>
        <p:txBody>
          <a:bodyPr wrap="none" lIns="91431" tIns="45716" rIns="91431" bIns="45716">
            <a:spAutoFit/>
          </a:bodyPr>
          <a:lstStyle/>
          <a:p>
            <a:pPr algn="ctr" defTabSz="914400">
              <a:defRPr/>
            </a:pPr>
            <a:r>
              <a:rPr lang="zh-CN" altLang="en-US" sz="2265" dirty="0">
                <a:solidFill>
                  <a:schemeClr val="bg1">
                    <a:lumMod val="95000"/>
                  </a:schemeClr>
                </a:solidFill>
                <a:effectLst>
                  <a:outerShdw blurRad="50800" dist="88900" dir="5400000" algn="t" rotWithShape="0">
                    <a:prstClr val="black">
                      <a:alpha val="40000"/>
                    </a:prstClr>
                  </a:outerShdw>
                </a:effectLst>
                <a:latin typeface="+mn-ea"/>
                <a:cs typeface="+mn-ea"/>
              </a:rPr>
              <a:t>添加标题</a:t>
            </a:r>
            <a:endParaRPr lang="en-US" altLang="zh-CN" sz="2265" dirty="0">
              <a:solidFill>
                <a:schemeClr val="bg1">
                  <a:lumMod val="95000"/>
                </a:schemeClr>
              </a:solidFill>
              <a:effectLst>
                <a:outerShdw blurRad="50800" dist="88900" dir="5400000" algn="t" rotWithShape="0">
                  <a:prstClr val="black">
                    <a:alpha val="40000"/>
                  </a:prstClr>
                </a:outerShdw>
              </a:effectLst>
              <a:latin typeface="+mn-ea"/>
              <a:cs typeface="+mn-ea"/>
            </a:endParaRPr>
          </a:p>
        </p:txBody>
      </p:sp>
      <p:sp>
        <p:nvSpPr>
          <p:cNvPr id="109" name="矩形 47"/>
          <p:cNvSpPr>
            <a:spLocks noChangeArrowheads="1"/>
          </p:cNvSpPr>
          <p:nvPr/>
        </p:nvSpPr>
        <p:spPr bwMode="auto">
          <a:xfrm>
            <a:off x="5408613" y="2388329"/>
            <a:ext cx="1357312" cy="549053"/>
          </a:xfrm>
          <a:prstGeom prst="rect">
            <a:avLst/>
          </a:prstGeom>
          <a:noFill/>
          <a:ln>
            <a:noFill/>
          </a:ln>
        </p:spPr>
        <p:txBody>
          <a:bodyPr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defTabSz="914400">
              <a:lnSpc>
                <a:spcPct val="130000"/>
              </a:lnSpc>
              <a:spcBef>
                <a:spcPct val="0"/>
              </a:spcBef>
              <a:buNone/>
              <a:defRPr/>
            </a:pPr>
            <a:r>
              <a:rPr lang="zh-CN" altLang="en-US" sz="1200" dirty="0">
                <a:solidFill>
                  <a:schemeClr val="bg1">
                    <a:lumMod val="95000"/>
                  </a:schemeClr>
                </a:solidFill>
                <a:ea typeface="+mn-ea"/>
                <a:cs typeface="+mn-ea"/>
                <a:sym typeface="微软雅黑" panose="020B0503020204020204" pitchFamily="34" charset="-122"/>
              </a:rPr>
              <a:t>在此录入图表的说明</a:t>
            </a:r>
            <a:endParaRPr lang="zh-CN" altLang="en-US" sz="1200" dirty="0">
              <a:solidFill>
                <a:schemeClr val="bg1">
                  <a:lumMod val="95000"/>
                </a:schemeClr>
              </a:solidFill>
              <a:ea typeface="+mn-ea"/>
              <a:cs typeface="+mn-ea"/>
              <a:sym typeface="微软雅黑" panose="020B0503020204020204" pitchFamily="34" charset="-122"/>
            </a:endParaRPr>
          </a:p>
        </p:txBody>
      </p:sp>
      <p:sp>
        <p:nvSpPr>
          <p:cNvPr id="110" name="矩形 109"/>
          <p:cNvSpPr/>
          <p:nvPr/>
        </p:nvSpPr>
        <p:spPr>
          <a:xfrm>
            <a:off x="5422597" y="4748940"/>
            <a:ext cx="1345222" cy="441203"/>
          </a:xfrm>
          <a:prstGeom prst="rect">
            <a:avLst/>
          </a:prstGeom>
        </p:spPr>
        <p:txBody>
          <a:bodyPr wrap="none" lIns="91431" tIns="45716" rIns="91431" bIns="45716">
            <a:spAutoFit/>
          </a:bodyPr>
          <a:lstStyle/>
          <a:p>
            <a:pPr algn="ctr" defTabSz="914400">
              <a:defRPr/>
            </a:pPr>
            <a:r>
              <a:rPr lang="zh-CN" altLang="en-US" sz="2265" dirty="0">
                <a:solidFill>
                  <a:schemeClr val="bg1">
                    <a:lumMod val="95000"/>
                  </a:schemeClr>
                </a:solidFill>
                <a:effectLst>
                  <a:outerShdw blurRad="50800" dist="88900" dir="5400000" algn="t" rotWithShape="0">
                    <a:prstClr val="black">
                      <a:alpha val="40000"/>
                    </a:prstClr>
                  </a:outerShdw>
                </a:effectLst>
                <a:latin typeface="+mn-ea"/>
                <a:cs typeface="+mn-ea"/>
              </a:rPr>
              <a:t>添加标题</a:t>
            </a:r>
            <a:endParaRPr lang="en-US" altLang="zh-CN" sz="2265" dirty="0">
              <a:solidFill>
                <a:schemeClr val="bg1">
                  <a:lumMod val="95000"/>
                </a:schemeClr>
              </a:solidFill>
              <a:effectLst>
                <a:outerShdw blurRad="50800" dist="88900" dir="5400000" algn="t" rotWithShape="0">
                  <a:prstClr val="black">
                    <a:alpha val="40000"/>
                  </a:prstClr>
                </a:outerShdw>
              </a:effectLst>
              <a:latin typeface="+mn-ea"/>
              <a:cs typeface="+mn-ea"/>
            </a:endParaRPr>
          </a:p>
        </p:txBody>
      </p:sp>
      <p:sp>
        <p:nvSpPr>
          <p:cNvPr id="111" name="矩形 47"/>
          <p:cNvSpPr>
            <a:spLocks noChangeArrowheads="1"/>
          </p:cNvSpPr>
          <p:nvPr/>
        </p:nvSpPr>
        <p:spPr bwMode="auto">
          <a:xfrm>
            <a:off x="5367342" y="5126766"/>
            <a:ext cx="1455737" cy="549053"/>
          </a:xfrm>
          <a:prstGeom prst="rect">
            <a:avLst/>
          </a:prstGeom>
          <a:noFill/>
          <a:ln>
            <a:noFill/>
          </a:ln>
        </p:spPr>
        <p:txBody>
          <a:bodyPr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defTabSz="914400">
              <a:lnSpc>
                <a:spcPct val="130000"/>
              </a:lnSpc>
              <a:spcBef>
                <a:spcPct val="0"/>
              </a:spcBef>
              <a:buNone/>
              <a:defRPr/>
            </a:pPr>
            <a:r>
              <a:rPr lang="zh-CN" altLang="en-US" sz="1200" dirty="0">
                <a:solidFill>
                  <a:schemeClr val="bg1">
                    <a:lumMod val="95000"/>
                  </a:schemeClr>
                </a:solidFill>
                <a:ea typeface="+mn-ea"/>
                <a:cs typeface="+mn-ea"/>
                <a:sym typeface="微软雅黑" panose="020B0503020204020204" pitchFamily="34" charset="-122"/>
              </a:rPr>
              <a:t>在此录入图表的描述说明</a:t>
            </a:r>
            <a:endParaRPr lang="zh-CN" altLang="en-US" sz="1200" dirty="0">
              <a:solidFill>
                <a:schemeClr val="bg1">
                  <a:lumMod val="95000"/>
                </a:schemeClr>
              </a:solidFill>
              <a:ea typeface="+mn-ea"/>
              <a:cs typeface="+mn-ea"/>
              <a:sym typeface="微软雅黑" panose="020B0503020204020204" pitchFamily="34" charset="-122"/>
            </a:endParaRPr>
          </a:p>
        </p:txBody>
      </p:sp>
      <p:sp>
        <p:nvSpPr>
          <p:cNvPr id="46"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47" name="文本框 46"/>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1200">
        <p14:flip dir="r"/>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nodeType="afterEffect">
                                  <p:stCondLst>
                                    <p:cond delay="250"/>
                                  </p:stCondLst>
                                  <p:childTnLst>
                                    <p:set>
                                      <p:cBhvr>
                                        <p:cTn id="6" dur="1" fill="hold">
                                          <p:stCondLst>
                                            <p:cond delay="0"/>
                                          </p:stCondLst>
                                        </p:cTn>
                                        <p:tgtEl>
                                          <p:spTgt spid="101"/>
                                        </p:tgtEl>
                                        <p:attrNameLst>
                                          <p:attrName>style.visibility</p:attrName>
                                        </p:attrNameLst>
                                      </p:cBhvr>
                                      <p:to>
                                        <p:strVal val="visible"/>
                                      </p:to>
                                    </p:set>
                                    <p:animEffect transition="in" filter="barn(inHorizontal)">
                                      <p:cBhvr>
                                        <p:cTn id="7" dur="600"/>
                                        <p:tgtEl>
                                          <p:spTgt spid="101"/>
                                        </p:tgtEl>
                                      </p:cBhvr>
                                    </p:animEffect>
                                  </p:childTnLst>
                                </p:cTn>
                              </p:par>
                              <p:par>
                                <p:cTn id="8" presetID="16" presetClass="entr" presetSubtype="26" fill="hold" grpId="0" nodeType="withEffect">
                                  <p:stCondLst>
                                    <p:cond delay="450"/>
                                  </p:stCondLst>
                                  <p:childTnLst>
                                    <p:set>
                                      <p:cBhvr>
                                        <p:cTn id="9" dur="1" fill="hold">
                                          <p:stCondLst>
                                            <p:cond delay="0"/>
                                          </p:stCondLst>
                                        </p:cTn>
                                        <p:tgtEl>
                                          <p:spTgt spid="105"/>
                                        </p:tgtEl>
                                        <p:attrNameLst>
                                          <p:attrName>style.visibility</p:attrName>
                                        </p:attrNameLst>
                                      </p:cBhvr>
                                      <p:to>
                                        <p:strVal val="visible"/>
                                      </p:to>
                                    </p:set>
                                    <p:animEffect transition="in" filter="barn(inHorizontal)">
                                      <p:cBhvr>
                                        <p:cTn id="10" dur="500"/>
                                        <p:tgtEl>
                                          <p:spTgt spid="105"/>
                                        </p:tgtEl>
                                      </p:cBhvr>
                                    </p:animEffect>
                                  </p:childTnLst>
                                </p:cTn>
                              </p:par>
                              <p:par>
                                <p:cTn id="11" presetID="22" presetClass="entr" presetSubtype="4" fill="hold" grpId="0" nodeType="withEffect">
                                  <p:stCondLst>
                                    <p:cond delay="750"/>
                                  </p:stCondLst>
                                  <p:childTnLst>
                                    <p:set>
                                      <p:cBhvr>
                                        <p:cTn id="12" dur="1" fill="hold">
                                          <p:stCondLst>
                                            <p:cond delay="0"/>
                                          </p:stCondLst>
                                        </p:cTn>
                                        <p:tgtEl>
                                          <p:spTgt spid="104"/>
                                        </p:tgtEl>
                                        <p:attrNameLst>
                                          <p:attrName>style.visibility</p:attrName>
                                        </p:attrNameLst>
                                      </p:cBhvr>
                                      <p:to>
                                        <p:strVal val="visible"/>
                                      </p:to>
                                    </p:set>
                                    <p:animEffect transition="in" filter="wipe(down)">
                                      <p:cBhvr>
                                        <p:cTn id="13" dur="250"/>
                                        <p:tgtEl>
                                          <p:spTgt spid="104"/>
                                        </p:tgtEl>
                                      </p:cBhvr>
                                    </p:animEffect>
                                  </p:childTnLst>
                                </p:cTn>
                              </p:par>
                              <p:par>
                                <p:cTn id="14" presetID="22" presetClass="entr" presetSubtype="2" fill="hold" grpId="0" nodeType="withEffect">
                                  <p:stCondLst>
                                    <p:cond delay="250"/>
                                  </p:stCondLst>
                                  <p:childTnLst>
                                    <p:set>
                                      <p:cBhvr>
                                        <p:cTn id="15" dur="1" fill="hold">
                                          <p:stCondLst>
                                            <p:cond delay="0"/>
                                          </p:stCondLst>
                                        </p:cTn>
                                        <p:tgtEl>
                                          <p:spTgt spid="83"/>
                                        </p:tgtEl>
                                        <p:attrNameLst>
                                          <p:attrName>style.visibility</p:attrName>
                                        </p:attrNameLst>
                                      </p:cBhvr>
                                      <p:to>
                                        <p:strVal val="visible"/>
                                      </p:to>
                                    </p:set>
                                    <p:animEffect transition="in" filter="wipe(right)">
                                      <p:cBhvr>
                                        <p:cTn id="16" dur="300"/>
                                        <p:tgtEl>
                                          <p:spTgt spid="83"/>
                                        </p:tgtEl>
                                      </p:cBhvr>
                                    </p:animEffect>
                                  </p:childTnLst>
                                </p:cTn>
                              </p:par>
                              <p:par>
                                <p:cTn id="17" presetID="22" presetClass="entr" presetSubtype="2" fill="hold" grpId="0" nodeType="withEffect">
                                  <p:stCondLst>
                                    <p:cond delay="250"/>
                                  </p:stCondLst>
                                  <p:childTnLst>
                                    <p:set>
                                      <p:cBhvr>
                                        <p:cTn id="18" dur="1" fill="hold">
                                          <p:stCondLst>
                                            <p:cond delay="0"/>
                                          </p:stCondLst>
                                        </p:cTn>
                                        <p:tgtEl>
                                          <p:spTgt spid="82"/>
                                        </p:tgtEl>
                                        <p:attrNameLst>
                                          <p:attrName>style.visibility</p:attrName>
                                        </p:attrNameLst>
                                      </p:cBhvr>
                                      <p:to>
                                        <p:strVal val="visible"/>
                                      </p:to>
                                    </p:set>
                                    <p:animEffect transition="in" filter="wipe(right)">
                                      <p:cBhvr>
                                        <p:cTn id="19" dur="750"/>
                                        <p:tgtEl>
                                          <p:spTgt spid="82"/>
                                        </p:tgtEl>
                                      </p:cBhvr>
                                    </p:animEffect>
                                  </p:childTnLst>
                                </p:cTn>
                              </p:par>
                              <p:par>
                                <p:cTn id="20" presetID="22" presetClass="entr" presetSubtype="2" fill="hold" grpId="0" nodeType="withEffect">
                                  <p:stCondLst>
                                    <p:cond delay="550"/>
                                  </p:stCondLst>
                                  <p:childTnLst>
                                    <p:set>
                                      <p:cBhvr>
                                        <p:cTn id="21" dur="1" fill="hold">
                                          <p:stCondLst>
                                            <p:cond delay="0"/>
                                          </p:stCondLst>
                                        </p:cTn>
                                        <p:tgtEl>
                                          <p:spTgt spid="81"/>
                                        </p:tgtEl>
                                        <p:attrNameLst>
                                          <p:attrName>style.visibility</p:attrName>
                                        </p:attrNameLst>
                                      </p:cBhvr>
                                      <p:to>
                                        <p:strVal val="visible"/>
                                      </p:to>
                                    </p:set>
                                    <p:animEffect transition="in" filter="wipe(right)">
                                      <p:cBhvr>
                                        <p:cTn id="22" dur="350"/>
                                        <p:tgtEl>
                                          <p:spTgt spid="81"/>
                                        </p:tgtEl>
                                      </p:cBhvr>
                                    </p:animEffect>
                                  </p:childTnLst>
                                </p:cTn>
                              </p:par>
                            </p:childTnLst>
                          </p:cTn>
                        </p:par>
                        <p:par>
                          <p:cTn id="23" fill="hold">
                            <p:stCondLst>
                              <p:cond delay="1250"/>
                            </p:stCondLst>
                            <p:childTnLst>
                              <p:par>
                                <p:cTn id="24" presetID="16" presetClass="entr" presetSubtype="21" fill="hold" nodeType="afterEffect">
                                  <p:stCondLst>
                                    <p:cond delay="250"/>
                                  </p:stCondLst>
                                  <p:childTnLst>
                                    <p:set>
                                      <p:cBhvr>
                                        <p:cTn id="25" dur="1" fill="hold">
                                          <p:stCondLst>
                                            <p:cond delay="0"/>
                                          </p:stCondLst>
                                        </p:cTn>
                                        <p:tgtEl>
                                          <p:spTgt spid="84"/>
                                        </p:tgtEl>
                                        <p:attrNameLst>
                                          <p:attrName>style.visibility</p:attrName>
                                        </p:attrNameLst>
                                      </p:cBhvr>
                                      <p:to>
                                        <p:strVal val="visible"/>
                                      </p:to>
                                    </p:set>
                                    <p:animEffect transition="in" filter="barn(inVertical)">
                                      <p:cBhvr>
                                        <p:cTn id="26" dur="600"/>
                                        <p:tgtEl>
                                          <p:spTgt spid="84"/>
                                        </p:tgtEl>
                                      </p:cBhvr>
                                    </p:animEffect>
                                  </p:childTnLst>
                                </p:cTn>
                              </p:par>
                              <p:par>
                                <p:cTn id="27" presetID="16" presetClass="entr" presetSubtype="21" fill="hold" grpId="0" nodeType="withEffect">
                                  <p:stCondLst>
                                    <p:cond delay="450"/>
                                  </p:stCondLst>
                                  <p:childTnLst>
                                    <p:set>
                                      <p:cBhvr>
                                        <p:cTn id="28" dur="1" fill="hold">
                                          <p:stCondLst>
                                            <p:cond delay="0"/>
                                          </p:stCondLst>
                                        </p:cTn>
                                        <p:tgtEl>
                                          <p:spTgt spid="109"/>
                                        </p:tgtEl>
                                        <p:attrNameLst>
                                          <p:attrName>style.visibility</p:attrName>
                                        </p:attrNameLst>
                                      </p:cBhvr>
                                      <p:to>
                                        <p:strVal val="visible"/>
                                      </p:to>
                                    </p:set>
                                    <p:animEffect transition="in" filter="barn(inVertical)">
                                      <p:cBhvr>
                                        <p:cTn id="29" dur="500"/>
                                        <p:tgtEl>
                                          <p:spTgt spid="109"/>
                                        </p:tgtEl>
                                      </p:cBhvr>
                                    </p:animEffect>
                                  </p:childTnLst>
                                </p:cTn>
                              </p:par>
                              <p:par>
                                <p:cTn id="30" presetID="16" presetClass="entr" presetSubtype="21" fill="hold" grpId="0" nodeType="withEffect">
                                  <p:stCondLst>
                                    <p:cond delay="450"/>
                                  </p:stCondLst>
                                  <p:childTnLst>
                                    <p:set>
                                      <p:cBhvr>
                                        <p:cTn id="31" dur="1" fill="hold">
                                          <p:stCondLst>
                                            <p:cond delay="0"/>
                                          </p:stCondLst>
                                        </p:cTn>
                                        <p:tgtEl>
                                          <p:spTgt spid="108"/>
                                        </p:tgtEl>
                                        <p:attrNameLst>
                                          <p:attrName>style.visibility</p:attrName>
                                        </p:attrNameLst>
                                      </p:cBhvr>
                                      <p:to>
                                        <p:strVal val="visible"/>
                                      </p:to>
                                    </p:set>
                                    <p:animEffect transition="in" filter="barn(inVertical)">
                                      <p:cBhvr>
                                        <p:cTn id="32" dur="500"/>
                                        <p:tgtEl>
                                          <p:spTgt spid="108"/>
                                        </p:tgtEl>
                                      </p:cBhvr>
                                    </p:animEffect>
                                  </p:childTnLst>
                                </p:cTn>
                              </p:par>
                              <p:par>
                                <p:cTn id="33" presetID="22" presetClass="entr" presetSubtype="8" fill="hold" grpId="0" nodeType="withEffect">
                                  <p:stCondLst>
                                    <p:cond delay="250"/>
                                  </p:stCondLst>
                                  <p:childTnLst>
                                    <p:set>
                                      <p:cBhvr>
                                        <p:cTn id="34" dur="1" fill="hold">
                                          <p:stCondLst>
                                            <p:cond delay="0"/>
                                          </p:stCondLst>
                                        </p:cTn>
                                        <p:tgtEl>
                                          <p:spTgt spid="77"/>
                                        </p:tgtEl>
                                        <p:attrNameLst>
                                          <p:attrName>style.visibility</p:attrName>
                                        </p:attrNameLst>
                                      </p:cBhvr>
                                      <p:to>
                                        <p:strVal val="visible"/>
                                      </p:to>
                                    </p:set>
                                    <p:animEffect transition="in" filter="wipe(left)">
                                      <p:cBhvr>
                                        <p:cTn id="35" dur="300"/>
                                        <p:tgtEl>
                                          <p:spTgt spid="77"/>
                                        </p:tgtEl>
                                      </p:cBhvr>
                                    </p:animEffect>
                                  </p:childTnLst>
                                </p:cTn>
                              </p:par>
                              <p:par>
                                <p:cTn id="36" presetID="22" presetClass="entr" presetSubtype="8" fill="hold" grpId="0" nodeType="withEffect">
                                  <p:stCondLst>
                                    <p:cond delay="250"/>
                                  </p:stCondLst>
                                  <p:childTnLst>
                                    <p:set>
                                      <p:cBhvr>
                                        <p:cTn id="37" dur="1" fill="hold">
                                          <p:stCondLst>
                                            <p:cond delay="0"/>
                                          </p:stCondLst>
                                        </p:cTn>
                                        <p:tgtEl>
                                          <p:spTgt spid="76"/>
                                        </p:tgtEl>
                                        <p:attrNameLst>
                                          <p:attrName>style.visibility</p:attrName>
                                        </p:attrNameLst>
                                      </p:cBhvr>
                                      <p:to>
                                        <p:strVal val="visible"/>
                                      </p:to>
                                    </p:set>
                                    <p:animEffect transition="in" filter="wipe(left)">
                                      <p:cBhvr>
                                        <p:cTn id="38" dur="750"/>
                                        <p:tgtEl>
                                          <p:spTgt spid="76"/>
                                        </p:tgtEl>
                                      </p:cBhvr>
                                    </p:animEffect>
                                  </p:childTnLst>
                                </p:cTn>
                              </p:par>
                              <p:par>
                                <p:cTn id="39" presetID="22" presetClass="entr" presetSubtype="8" fill="hold" grpId="0" nodeType="withEffect">
                                  <p:stCondLst>
                                    <p:cond delay="550"/>
                                  </p:stCondLst>
                                  <p:childTnLst>
                                    <p:set>
                                      <p:cBhvr>
                                        <p:cTn id="40" dur="1" fill="hold">
                                          <p:stCondLst>
                                            <p:cond delay="0"/>
                                          </p:stCondLst>
                                        </p:cTn>
                                        <p:tgtEl>
                                          <p:spTgt spid="75"/>
                                        </p:tgtEl>
                                        <p:attrNameLst>
                                          <p:attrName>style.visibility</p:attrName>
                                        </p:attrNameLst>
                                      </p:cBhvr>
                                      <p:to>
                                        <p:strVal val="visible"/>
                                      </p:to>
                                    </p:set>
                                    <p:animEffect transition="in" filter="wipe(left)">
                                      <p:cBhvr>
                                        <p:cTn id="41" dur="350"/>
                                        <p:tgtEl>
                                          <p:spTgt spid="75"/>
                                        </p:tgtEl>
                                      </p:cBhvr>
                                    </p:animEffect>
                                  </p:childTnLst>
                                </p:cTn>
                              </p:par>
                            </p:childTnLst>
                          </p:cTn>
                        </p:par>
                        <p:par>
                          <p:cTn id="42" fill="hold">
                            <p:stCondLst>
                              <p:cond delay="2500"/>
                            </p:stCondLst>
                            <p:childTnLst>
                              <p:par>
                                <p:cTn id="43" presetID="16" presetClass="entr" presetSubtype="26" fill="hold" nodeType="afterEffect">
                                  <p:stCondLst>
                                    <p:cond delay="250"/>
                                  </p:stCondLst>
                                  <p:childTnLst>
                                    <p:set>
                                      <p:cBhvr>
                                        <p:cTn id="44" dur="1" fill="hold">
                                          <p:stCondLst>
                                            <p:cond delay="0"/>
                                          </p:stCondLst>
                                        </p:cTn>
                                        <p:tgtEl>
                                          <p:spTgt spid="95"/>
                                        </p:tgtEl>
                                        <p:attrNameLst>
                                          <p:attrName>style.visibility</p:attrName>
                                        </p:attrNameLst>
                                      </p:cBhvr>
                                      <p:to>
                                        <p:strVal val="visible"/>
                                      </p:to>
                                    </p:set>
                                    <p:animEffect transition="in" filter="barn(inHorizontal)">
                                      <p:cBhvr>
                                        <p:cTn id="45" dur="600"/>
                                        <p:tgtEl>
                                          <p:spTgt spid="95"/>
                                        </p:tgtEl>
                                      </p:cBhvr>
                                    </p:animEffect>
                                  </p:childTnLst>
                                </p:cTn>
                              </p:par>
                              <p:par>
                                <p:cTn id="46" presetID="16" presetClass="entr" presetSubtype="26" fill="hold" grpId="0" nodeType="withEffect">
                                  <p:stCondLst>
                                    <p:cond delay="450"/>
                                  </p:stCondLst>
                                  <p:childTnLst>
                                    <p:set>
                                      <p:cBhvr>
                                        <p:cTn id="47" dur="1" fill="hold">
                                          <p:stCondLst>
                                            <p:cond delay="0"/>
                                          </p:stCondLst>
                                        </p:cTn>
                                        <p:tgtEl>
                                          <p:spTgt spid="107"/>
                                        </p:tgtEl>
                                        <p:attrNameLst>
                                          <p:attrName>style.visibility</p:attrName>
                                        </p:attrNameLst>
                                      </p:cBhvr>
                                      <p:to>
                                        <p:strVal val="visible"/>
                                      </p:to>
                                    </p:set>
                                    <p:animEffect transition="in" filter="barn(inHorizontal)">
                                      <p:cBhvr>
                                        <p:cTn id="48" dur="500"/>
                                        <p:tgtEl>
                                          <p:spTgt spid="107"/>
                                        </p:tgtEl>
                                      </p:cBhvr>
                                    </p:animEffect>
                                  </p:childTnLst>
                                </p:cTn>
                              </p:par>
                              <p:par>
                                <p:cTn id="49" presetID="22" presetClass="entr" presetSubtype="4" fill="hold" grpId="0" nodeType="withEffect">
                                  <p:stCondLst>
                                    <p:cond delay="750"/>
                                  </p:stCondLst>
                                  <p:childTnLst>
                                    <p:set>
                                      <p:cBhvr>
                                        <p:cTn id="50" dur="1" fill="hold">
                                          <p:stCondLst>
                                            <p:cond delay="0"/>
                                          </p:stCondLst>
                                        </p:cTn>
                                        <p:tgtEl>
                                          <p:spTgt spid="106"/>
                                        </p:tgtEl>
                                        <p:attrNameLst>
                                          <p:attrName>style.visibility</p:attrName>
                                        </p:attrNameLst>
                                      </p:cBhvr>
                                      <p:to>
                                        <p:strVal val="visible"/>
                                      </p:to>
                                    </p:set>
                                    <p:animEffect transition="in" filter="wipe(down)">
                                      <p:cBhvr>
                                        <p:cTn id="51" dur="250"/>
                                        <p:tgtEl>
                                          <p:spTgt spid="106"/>
                                        </p:tgtEl>
                                      </p:cBhvr>
                                    </p:animEffect>
                                  </p:childTnLst>
                                </p:cTn>
                              </p:par>
                              <p:par>
                                <p:cTn id="52" presetID="22" presetClass="entr" presetSubtype="8" fill="hold" grpId="0" nodeType="withEffect">
                                  <p:stCondLst>
                                    <p:cond delay="250"/>
                                  </p:stCondLst>
                                  <p:childTnLst>
                                    <p:set>
                                      <p:cBhvr>
                                        <p:cTn id="53" dur="1" fill="hold">
                                          <p:stCondLst>
                                            <p:cond delay="0"/>
                                          </p:stCondLst>
                                        </p:cTn>
                                        <p:tgtEl>
                                          <p:spTgt spid="74"/>
                                        </p:tgtEl>
                                        <p:attrNameLst>
                                          <p:attrName>style.visibility</p:attrName>
                                        </p:attrNameLst>
                                      </p:cBhvr>
                                      <p:to>
                                        <p:strVal val="visible"/>
                                      </p:to>
                                    </p:set>
                                    <p:animEffect transition="in" filter="wipe(left)">
                                      <p:cBhvr>
                                        <p:cTn id="54" dur="300"/>
                                        <p:tgtEl>
                                          <p:spTgt spid="74"/>
                                        </p:tgtEl>
                                      </p:cBhvr>
                                    </p:animEffect>
                                  </p:childTnLst>
                                </p:cTn>
                              </p:par>
                              <p:par>
                                <p:cTn id="55" presetID="22" presetClass="entr" presetSubtype="8" fill="hold" grpId="0" nodeType="withEffect">
                                  <p:stCondLst>
                                    <p:cond delay="250"/>
                                  </p:stCondLst>
                                  <p:childTnLst>
                                    <p:set>
                                      <p:cBhvr>
                                        <p:cTn id="56" dur="1" fill="hold">
                                          <p:stCondLst>
                                            <p:cond delay="0"/>
                                          </p:stCondLst>
                                        </p:cTn>
                                        <p:tgtEl>
                                          <p:spTgt spid="73"/>
                                        </p:tgtEl>
                                        <p:attrNameLst>
                                          <p:attrName>style.visibility</p:attrName>
                                        </p:attrNameLst>
                                      </p:cBhvr>
                                      <p:to>
                                        <p:strVal val="visible"/>
                                      </p:to>
                                    </p:set>
                                    <p:animEffect transition="in" filter="wipe(left)">
                                      <p:cBhvr>
                                        <p:cTn id="57" dur="750"/>
                                        <p:tgtEl>
                                          <p:spTgt spid="73"/>
                                        </p:tgtEl>
                                      </p:cBhvr>
                                    </p:animEffect>
                                  </p:childTnLst>
                                </p:cTn>
                              </p:par>
                              <p:par>
                                <p:cTn id="58" presetID="22" presetClass="entr" presetSubtype="8" fill="hold" grpId="0" nodeType="withEffect">
                                  <p:stCondLst>
                                    <p:cond delay="550"/>
                                  </p:stCondLst>
                                  <p:childTnLst>
                                    <p:set>
                                      <p:cBhvr>
                                        <p:cTn id="59" dur="1" fill="hold">
                                          <p:stCondLst>
                                            <p:cond delay="0"/>
                                          </p:stCondLst>
                                        </p:cTn>
                                        <p:tgtEl>
                                          <p:spTgt spid="72"/>
                                        </p:tgtEl>
                                        <p:attrNameLst>
                                          <p:attrName>style.visibility</p:attrName>
                                        </p:attrNameLst>
                                      </p:cBhvr>
                                      <p:to>
                                        <p:strVal val="visible"/>
                                      </p:to>
                                    </p:set>
                                    <p:animEffect transition="in" filter="wipe(left)">
                                      <p:cBhvr>
                                        <p:cTn id="60" dur="350"/>
                                        <p:tgtEl>
                                          <p:spTgt spid="72"/>
                                        </p:tgtEl>
                                      </p:cBhvr>
                                    </p:animEffect>
                                  </p:childTnLst>
                                </p:cTn>
                              </p:par>
                            </p:childTnLst>
                          </p:cTn>
                        </p:par>
                        <p:par>
                          <p:cTn id="61" fill="hold">
                            <p:stCondLst>
                              <p:cond delay="3750"/>
                            </p:stCondLst>
                            <p:childTnLst>
                              <p:par>
                                <p:cTn id="62" presetID="16" presetClass="entr" presetSubtype="21" fill="hold" nodeType="afterEffect">
                                  <p:stCondLst>
                                    <p:cond delay="250"/>
                                  </p:stCondLst>
                                  <p:childTnLst>
                                    <p:set>
                                      <p:cBhvr>
                                        <p:cTn id="63" dur="1" fill="hold">
                                          <p:stCondLst>
                                            <p:cond delay="0"/>
                                          </p:stCondLst>
                                        </p:cTn>
                                        <p:tgtEl>
                                          <p:spTgt spid="89"/>
                                        </p:tgtEl>
                                        <p:attrNameLst>
                                          <p:attrName>style.visibility</p:attrName>
                                        </p:attrNameLst>
                                      </p:cBhvr>
                                      <p:to>
                                        <p:strVal val="visible"/>
                                      </p:to>
                                    </p:set>
                                    <p:animEffect transition="in" filter="barn(inVertical)">
                                      <p:cBhvr>
                                        <p:cTn id="64" dur="600"/>
                                        <p:tgtEl>
                                          <p:spTgt spid="89"/>
                                        </p:tgtEl>
                                      </p:cBhvr>
                                    </p:animEffect>
                                  </p:childTnLst>
                                </p:cTn>
                              </p:par>
                              <p:par>
                                <p:cTn id="65" presetID="16" presetClass="entr" presetSubtype="21" fill="hold" grpId="0" nodeType="withEffect">
                                  <p:stCondLst>
                                    <p:cond delay="450"/>
                                  </p:stCondLst>
                                  <p:childTnLst>
                                    <p:set>
                                      <p:cBhvr>
                                        <p:cTn id="66" dur="1" fill="hold">
                                          <p:stCondLst>
                                            <p:cond delay="0"/>
                                          </p:stCondLst>
                                        </p:cTn>
                                        <p:tgtEl>
                                          <p:spTgt spid="111"/>
                                        </p:tgtEl>
                                        <p:attrNameLst>
                                          <p:attrName>style.visibility</p:attrName>
                                        </p:attrNameLst>
                                      </p:cBhvr>
                                      <p:to>
                                        <p:strVal val="visible"/>
                                      </p:to>
                                    </p:set>
                                    <p:animEffect transition="in" filter="barn(inVertical)">
                                      <p:cBhvr>
                                        <p:cTn id="67" dur="500"/>
                                        <p:tgtEl>
                                          <p:spTgt spid="111"/>
                                        </p:tgtEl>
                                      </p:cBhvr>
                                    </p:animEffect>
                                  </p:childTnLst>
                                </p:cTn>
                              </p:par>
                              <p:par>
                                <p:cTn id="68" presetID="16" presetClass="entr" presetSubtype="21" fill="hold" grpId="0" nodeType="withEffect">
                                  <p:stCondLst>
                                    <p:cond delay="450"/>
                                  </p:stCondLst>
                                  <p:childTnLst>
                                    <p:set>
                                      <p:cBhvr>
                                        <p:cTn id="69" dur="1" fill="hold">
                                          <p:stCondLst>
                                            <p:cond delay="0"/>
                                          </p:stCondLst>
                                        </p:cTn>
                                        <p:tgtEl>
                                          <p:spTgt spid="110"/>
                                        </p:tgtEl>
                                        <p:attrNameLst>
                                          <p:attrName>style.visibility</p:attrName>
                                        </p:attrNameLst>
                                      </p:cBhvr>
                                      <p:to>
                                        <p:strVal val="visible"/>
                                      </p:to>
                                    </p:set>
                                    <p:animEffect transition="in" filter="barn(inVertical)">
                                      <p:cBhvr>
                                        <p:cTn id="70" dur="500"/>
                                        <p:tgtEl>
                                          <p:spTgt spid="110"/>
                                        </p:tgtEl>
                                      </p:cBhvr>
                                    </p:animEffect>
                                  </p:childTnLst>
                                </p:cTn>
                              </p:par>
                              <p:par>
                                <p:cTn id="71" presetID="22" presetClass="entr" presetSubtype="2" fill="hold" grpId="0" nodeType="withEffect">
                                  <p:stCondLst>
                                    <p:cond delay="250"/>
                                  </p:stCondLst>
                                  <p:childTnLst>
                                    <p:set>
                                      <p:cBhvr>
                                        <p:cTn id="72" dur="1" fill="hold">
                                          <p:stCondLst>
                                            <p:cond delay="0"/>
                                          </p:stCondLst>
                                        </p:cTn>
                                        <p:tgtEl>
                                          <p:spTgt spid="80"/>
                                        </p:tgtEl>
                                        <p:attrNameLst>
                                          <p:attrName>style.visibility</p:attrName>
                                        </p:attrNameLst>
                                      </p:cBhvr>
                                      <p:to>
                                        <p:strVal val="visible"/>
                                      </p:to>
                                    </p:set>
                                    <p:animEffect transition="in" filter="wipe(right)">
                                      <p:cBhvr>
                                        <p:cTn id="73" dur="300"/>
                                        <p:tgtEl>
                                          <p:spTgt spid="80"/>
                                        </p:tgtEl>
                                      </p:cBhvr>
                                    </p:animEffect>
                                  </p:childTnLst>
                                </p:cTn>
                              </p:par>
                              <p:par>
                                <p:cTn id="74" presetID="22" presetClass="entr" presetSubtype="2" fill="hold" grpId="0" nodeType="withEffect">
                                  <p:stCondLst>
                                    <p:cond delay="250"/>
                                  </p:stCondLst>
                                  <p:childTnLst>
                                    <p:set>
                                      <p:cBhvr>
                                        <p:cTn id="75" dur="1" fill="hold">
                                          <p:stCondLst>
                                            <p:cond delay="0"/>
                                          </p:stCondLst>
                                        </p:cTn>
                                        <p:tgtEl>
                                          <p:spTgt spid="79"/>
                                        </p:tgtEl>
                                        <p:attrNameLst>
                                          <p:attrName>style.visibility</p:attrName>
                                        </p:attrNameLst>
                                      </p:cBhvr>
                                      <p:to>
                                        <p:strVal val="visible"/>
                                      </p:to>
                                    </p:set>
                                    <p:animEffect transition="in" filter="wipe(right)">
                                      <p:cBhvr>
                                        <p:cTn id="76" dur="750"/>
                                        <p:tgtEl>
                                          <p:spTgt spid="79"/>
                                        </p:tgtEl>
                                      </p:cBhvr>
                                    </p:animEffect>
                                  </p:childTnLst>
                                </p:cTn>
                              </p:par>
                              <p:par>
                                <p:cTn id="77" presetID="22" presetClass="entr" presetSubtype="2" fill="hold" grpId="0" nodeType="withEffect">
                                  <p:stCondLst>
                                    <p:cond delay="550"/>
                                  </p:stCondLst>
                                  <p:childTnLst>
                                    <p:set>
                                      <p:cBhvr>
                                        <p:cTn id="78" dur="1" fill="hold">
                                          <p:stCondLst>
                                            <p:cond delay="0"/>
                                          </p:stCondLst>
                                        </p:cTn>
                                        <p:tgtEl>
                                          <p:spTgt spid="78"/>
                                        </p:tgtEl>
                                        <p:attrNameLst>
                                          <p:attrName>style.visibility</p:attrName>
                                        </p:attrNameLst>
                                      </p:cBhvr>
                                      <p:to>
                                        <p:strVal val="visible"/>
                                      </p:to>
                                    </p:set>
                                    <p:animEffect transition="in" filter="wipe(right)">
                                      <p:cBhvr>
                                        <p:cTn id="79" dur="350"/>
                                        <p:tgtEl>
                                          <p:spTgt spid="78"/>
                                        </p:tgtEl>
                                      </p:cBhvr>
                                    </p:animEffect>
                                  </p:childTnLst>
                                </p:cTn>
                              </p:par>
                            </p:childTnLst>
                          </p:cTn>
                        </p:par>
                        <p:par>
                          <p:cTn id="80" fill="hold">
                            <p:stCondLst>
                              <p:cond delay="5000"/>
                            </p:stCondLst>
                            <p:childTnLst>
                              <p:par>
                                <p:cTn id="81" presetID="22" presetClass="entr" presetSubtype="4" fill="hold" grpId="0" nodeType="afterEffect">
                                  <p:stCondLst>
                                    <p:cond delay="0"/>
                                  </p:stCondLst>
                                  <p:childTnLst>
                                    <p:set>
                                      <p:cBhvr>
                                        <p:cTn id="82" dur="1" fill="hold">
                                          <p:stCondLst>
                                            <p:cond delay="0"/>
                                          </p:stCondLst>
                                        </p:cTn>
                                        <p:tgtEl>
                                          <p:spTgt spid="47"/>
                                        </p:tgtEl>
                                        <p:attrNameLst>
                                          <p:attrName>style.visibility</p:attrName>
                                        </p:attrNameLst>
                                      </p:cBhvr>
                                      <p:to>
                                        <p:strVal val="visible"/>
                                      </p:to>
                                    </p:set>
                                    <p:animEffect transition="in" filter="wipe(down)">
                                      <p:cBhvr>
                                        <p:cTn id="83" dur="12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p:bldP spid="74" grpId="0"/>
      <p:bldP spid="75" grpId="0"/>
      <p:bldP spid="76" grpId="0"/>
      <p:bldP spid="77" grpId="0"/>
      <p:bldP spid="78" grpId="0"/>
      <p:bldP spid="79" grpId="0"/>
      <p:bldP spid="80" grpId="0"/>
      <p:bldP spid="81" grpId="0"/>
      <p:bldP spid="82" grpId="0"/>
      <p:bldP spid="83" grpId="0"/>
      <p:bldP spid="104" grpId="0"/>
      <p:bldP spid="105" grpId="0"/>
      <p:bldP spid="106" grpId="0"/>
      <p:bldP spid="107" grpId="0"/>
      <p:bldP spid="108" grpId="0"/>
      <p:bldP spid="109" grpId="0"/>
      <p:bldP spid="110" grpId="0"/>
      <p:bldP spid="111" grpId="0"/>
      <p:bldP spid="47"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rotWithShape="1">
          <a:blip r:embed="rId1" cstate="print">
            <a:extLst>
              <a:ext uri="{28A0092B-C50C-407E-A947-70E740481C1C}">
                <a14:useLocalDpi xmlns:a14="http://schemas.microsoft.com/office/drawing/2010/main" val="0"/>
              </a:ext>
            </a:extLst>
          </a:blip>
          <a:srcRect l="733" r="733"/>
          <a:stretch>
            <a:fillRect/>
          </a:stretch>
        </p:blipFill>
        <p:spPr>
          <a:xfrm>
            <a:off x="5232470" y="1510037"/>
            <a:ext cx="2846464" cy="2134847"/>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图片 6"/>
          <p:cNvPicPr>
            <a:picLocks noChangeAspect="1"/>
          </p:cNvPicPr>
          <p:nvPr/>
        </p:nvPicPr>
        <p:blipFill rotWithShape="1">
          <a:blip r:embed="rId2" cstate="print">
            <a:extLst>
              <a:ext uri="{28A0092B-C50C-407E-A947-70E740481C1C}">
                <a14:useLocalDpi xmlns:a14="http://schemas.microsoft.com/office/drawing/2010/main" val="0"/>
              </a:ext>
            </a:extLst>
          </a:blip>
          <a:srcRect l="5533" r="5533"/>
          <a:stretch>
            <a:fillRect/>
          </a:stretch>
        </p:blipFill>
        <p:spPr>
          <a:xfrm>
            <a:off x="5232470" y="3908742"/>
            <a:ext cx="2846464" cy="2134847"/>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2" name="图片 11"/>
          <p:cNvPicPr>
            <a:picLocks noChangeAspect="1"/>
          </p:cNvPicPr>
          <p:nvPr/>
        </p:nvPicPr>
        <p:blipFill rotWithShape="1">
          <a:blip r:embed="rId3" cstate="print">
            <a:extLst>
              <a:ext uri="{28A0092B-C50C-407E-A947-70E740481C1C}">
                <a14:useLocalDpi xmlns:a14="http://schemas.microsoft.com/office/drawing/2010/main" val="0"/>
              </a:ext>
            </a:extLst>
          </a:blip>
          <a:srcRect l="10764" t="350" r="302" b="-350"/>
          <a:stretch>
            <a:fillRect/>
          </a:stretch>
        </p:blipFill>
        <p:spPr>
          <a:xfrm>
            <a:off x="8334791" y="3908742"/>
            <a:ext cx="2846464" cy="2134847"/>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3" name="图片 12"/>
          <p:cNvPicPr>
            <a:picLocks noChangeAspect="1"/>
          </p:cNvPicPr>
          <p:nvPr/>
        </p:nvPicPr>
        <p:blipFill rotWithShape="1">
          <a:blip r:embed="rId4" cstate="print">
            <a:extLst>
              <a:ext uri="{28A0092B-C50C-407E-A947-70E740481C1C}">
                <a14:useLocalDpi xmlns:a14="http://schemas.microsoft.com/office/drawing/2010/main" val="0"/>
              </a:ext>
            </a:extLst>
          </a:blip>
          <a:srcRect l="1067" r="1067"/>
          <a:stretch>
            <a:fillRect/>
          </a:stretch>
        </p:blipFill>
        <p:spPr>
          <a:xfrm>
            <a:off x="8334791" y="1510037"/>
            <a:ext cx="2846464" cy="2134847"/>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4" name="Rectangle 6"/>
          <p:cNvSpPr/>
          <p:nvPr/>
        </p:nvSpPr>
        <p:spPr bwMode="auto">
          <a:xfrm>
            <a:off x="1075573" y="1489858"/>
            <a:ext cx="4118667" cy="1607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l"/>
            <a:r>
              <a:rPr lang="zh-CN" altLang="en-US" sz="3200" dirty="0">
                <a:solidFill>
                  <a:schemeClr val="bg1">
                    <a:lumMod val="50000"/>
                  </a:schemeClr>
                </a:solidFill>
                <a:latin typeface="+mn-ea"/>
                <a:cs typeface="+mn-ea"/>
                <a:sym typeface="Lato Hairline" pitchFamily="34" charset="0"/>
              </a:rPr>
              <a:t>单击</a:t>
            </a:r>
            <a:r>
              <a:rPr lang="zh-CN" altLang="en-US" sz="3200" dirty="0">
                <a:solidFill>
                  <a:schemeClr val="bg1">
                    <a:lumMod val="50000"/>
                  </a:schemeClr>
                </a:solidFill>
                <a:latin typeface="+mn-ea"/>
                <a:cs typeface="+mn-ea"/>
                <a:sym typeface="Lato Light" pitchFamily="34" charset="0"/>
              </a:rPr>
              <a:t>此处</a:t>
            </a:r>
            <a:endParaRPr lang="en-US" altLang="zh-CN" sz="3200" dirty="0">
              <a:solidFill>
                <a:schemeClr val="bg1">
                  <a:lumMod val="50000"/>
                </a:schemeClr>
              </a:solidFill>
              <a:latin typeface="+mn-ea"/>
              <a:cs typeface="+mn-ea"/>
              <a:sym typeface="Lato Light" pitchFamily="34" charset="0"/>
            </a:endParaRPr>
          </a:p>
          <a:p>
            <a:pPr algn="l"/>
            <a:r>
              <a:rPr lang="zh-CN" altLang="en-US" sz="3730" b="1" dirty="0">
                <a:solidFill>
                  <a:schemeClr val="bg1">
                    <a:lumMod val="50000"/>
                  </a:schemeClr>
                </a:solidFill>
                <a:latin typeface="+mn-ea"/>
                <a:cs typeface="+mn-ea"/>
                <a:sym typeface="Lato Light" pitchFamily="34" charset="0"/>
              </a:rPr>
              <a:t>添加主标题</a:t>
            </a:r>
            <a:endParaRPr lang="en-US" sz="3730" b="1" dirty="0">
              <a:solidFill>
                <a:schemeClr val="bg1">
                  <a:lumMod val="50000"/>
                </a:schemeClr>
              </a:solidFill>
              <a:latin typeface="+mn-ea"/>
              <a:cs typeface="+mn-ea"/>
              <a:sym typeface="Lato Hairline" pitchFamily="34" charset="0"/>
            </a:endParaRPr>
          </a:p>
        </p:txBody>
      </p:sp>
      <p:sp>
        <p:nvSpPr>
          <p:cNvPr id="15" name="Rectangle 12"/>
          <p:cNvSpPr/>
          <p:nvPr/>
        </p:nvSpPr>
        <p:spPr>
          <a:xfrm>
            <a:off x="1142050" y="3049508"/>
            <a:ext cx="3592952" cy="47969"/>
          </a:xfrm>
          <a:prstGeom prst="rect">
            <a:avLst/>
          </a:prstGeom>
          <a:pattFill prst="ltDnDiag">
            <a:fgClr>
              <a:schemeClr val="bg1">
                <a:lumMod val="65000"/>
              </a:schemeClr>
            </a:fgClr>
            <a:bgClr>
              <a:schemeClr val="bg1">
                <a:lumMod val="9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ea"/>
              <a:cs typeface="+mn-ea"/>
            </a:endParaRPr>
          </a:p>
        </p:txBody>
      </p:sp>
      <p:sp>
        <p:nvSpPr>
          <p:cNvPr id="16" name="TextBox 15"/>
          <p:cNvSpPr txBox="1"/>
          <p:nvPr/>
        </p:nvSpPr>
        <p:spPr>
          <a:xfrm>
            <a:off x="1010747" y="3284120"/>
            <a:ext cx="3703998" cy="1246069"/>
          </a:xfrm>
          <a:prstGeom prst="rect">
            <a:avLst/>
          </a:prstGeom>
          <a:noFill/>
        </p:spPr>
        <p:txBody>
          <a:bodyPr wrap="square" rtlCol="0">
            <a:spAutoFit/>
          </a:bodyPr>
          <a:lstStyle/>
          <a:p>
            <a:pPr>
              <a:lnSpc>
                <a:spcPct val="150000"/>
              </a:lnSpc>
            </a:pPr>
            <a:r>
              <a:rPr lang="zh-CN" altLang="en-US" sz="1665" dirty="0">
                <a:solidFill>
                  <a:schemeClr val="tx1">
                    <a:lumMod val="75000"/>
                    <a:lumOff val="25000"/>
                  </a:schemeClr>
                </a:solidFill>
                <a:latin typeface="+mn-ea"/>
                <a:cs typeface="+mn-ea"/>
              </a:rPr>
              <a:t>单击此处添加文本单击此处添加文本</a:t>
            </a:r>
            <a:endParaRPr lang="en-US" altLang="zh-CN" sz="1665" dirty="0">
              <a:solidFill>
                <a:schemeClr val="tx1">
                  <a:lumMod val="75000"/>
                  <a:lumOff val="25000"/>
                </a:schemeClr>
              </a:solidFill>
              <a:latin typeface="+mn-ea"/>
              <a:cs typeface="+mn-ea"/>
            </a:endParaRPr>
          </a:p>
          <a:p>
            <a:pPr>
              <a:lnSpc>
                <a:spcPct val="150000"/>
              </a:lnSpc>
            </a:pPr>
            <a:r>
              <a:rPr lang="zh-CN" altLang="en-US" sz="1665" dirty="0">
                <a:solidFill>
                  <a:schemeClr val="tx1">
                    <a:lumMod val="75000"/>
                    <a:lumOff val="25000"/>
                  </a:schemeClr>
                </a:solidFill>
                <a:latin typeface="+mn-ea"/>
                <a:cs typeface="+mn-ea"/>
              </a:rPr>
              <a:t>单击此处添加文本单击此处添加文本</a:t>
            </a:r>
            <a:endParaRPr lang="en-US" altLang="zh-CN" sz="1665" dirty="0">
              <a:solidFill>
                <a:schemeClr val="tx1">
                  <a:lumMod val="75000"/>
                  <a:lumOff val="25000"/>
                </a:schemeClr>
              </a:solidFill>
              <a:latin typeface="+mn-ea"/>
              <a:cs typeface="+mn-ea"/>
            </a:endParaRPr>
          </a:p>
          <a:p>
            <a:pPr>
              <a:lnSpc>
                <a:spcPct val="150000"/>
              </a:lnSpc>
            </a:pPr>
            <a:r>
              <a:rPr lang="zh-CN" altLang="en-US" sz="1665" dirty="0">
                <a:solidFill>
                  <a:schemeClr val="tx1">
                    <a:lumMod val="75000"/>
                    <a:lumOff val="25000"/>
                  </a:schemeClr>
                </a:solidFill>
                <a:latin typeface="+mn-ea"/>
                <a:cs typeface="+mn-ea"/>
              </a:rPr>
              <a:t>单击此处添加文本单击此处添加文本</a:t>
            </a:r>
            <a:endParaRPr lang="en-US" altLang="zh-CN" sz="1665" dirty="0">
              <a:solidFill>
                <a:schemeClr val="tx1">
                  <a:lumMod val="75000"/>
                  <a:lumOff val="25000"/>
                </a:schemeClr>
              </a:solidFill>
              <a:latin typeface="+mn-ea"/>
              <a:cs typeface="+mn-ea"/>
            </a:endParaRPr>
          </a:p>
        </p:txBody>
      </p:sp>
      <p:sp>
        <p:nvSpPr>
          <p:cNvPr id="17" name="TextBox 16"/>
          <p:cNvSpPr txBox="1"/>
          <p:nvPr/>
        </p:nvSpPr>
        <p:spPr>
          <a:xfrm>
            <a:off x="1010747" y="4724307"/>
            <a:ext cx="3703998" cy="816121"/>
          </a:xfrm>
          <a:prstGeom prst="rect">
            <a:avLst/>
          </a:prstGeom>
          <a:noFill/>
        </p:spPr>
        <p:txBody>
          <a:bodyPr wrap="square" rtlCol="0">
            <a:spAutoFit/>
          </a:bodyPr>
          <a:lstStyle/>
          <a:p>
            <a:pPr>
              <a:lnSpc>
                <a:spcPct val="150000"/>
              </a:lnSpc>
            </a:pPr>
            <a:r>
              <a:rPr lang="zh-CN" altLang="en-US" sz="1665" dirty="0">
                <a:solidFill>
                  <a:schemeClr val="tx1">
                    <a:lumMod val="75000"/>
                    <a:lumOff val="25000"/>
                  </a:schemeClr>
                </a:solidFill>
                <a:latin typeface="+mn-ea"/>
                <a:cs typeface="+mn-ea"/>
              </a:rPr>
              <a:t>单击此处添加文本单击此处添加文本</a:t>
            </a:r>
            <a:endParaRPr lang="en-US" altLang="zh-CN" sz="1665" dirty="0">
              <a:solidFill>
                <a:schemeClr val="tx1">
                  <a:lumMod val="75000"/>
                  <a:lumOff val="25000"/>
                </a:schemeClr>
              </a:solidFill>
              <a:latin typeface="+mn-ea"/>
              <a:cs typeface="+mn-ea"/>
            </a:endParaRPr>
          </a:p>
          <a:p>
            <a:pPr>
              <a:lnSpc>
                <a:spcPct val="150000"/>
              </a:lnSpc>
            </a:pPr>
            <a:r>
              <a:rPr lang="zh-CN" altLang="en-US" sz="1665" dirty="0">
                <a:solidFill>
                  <a:schemeClr val="tx1">
                    <a:lumMod val="75000"/>
                    <a:lumOff val="25000"/>
                  </a:schemeClr>
                </a:solidFill>
                <a:latin typeface="+mn-ea"/>
                <a:cs typeface="+mn-ea"/>
              </a:rPr>
              <a:t>单击此处添加文本单击此处添加文本</a:t>
            </a:r>
            <a:endParaRPr lang="en-US" altLang="zh-CN" sz="1665" dirty="0">
              <a:solidFill>
                <a:schemeClr val="tx1">
                  <a:lumMod val="75000"/>
                  <a:lumOff val="25000"/>
                </a:schemeClr>
              </a:solidFill>
              <a:latin typeface="+mn-ea"/>
              <a:cs typeface="+mn-ea"/>
            </a:endParaRPr>
          </a:p>
        </p:txBody>
      </p:sp>
      <p:sp>
        <p:nvSpPr>
          <p:cNvPr id="18" name="Rectangle 12"/>
          <p:cNvSpPr/>
          <p:nvPr/>
        </p:nvSpPr>
        <p:spPr>
          <a:xfrm>
            <a:off x="1142050" y="5779736"/>
            <a:ext cx="3592952" cy="47969"/>
          </a:xfrm>
          <a:prstGeom prst="rect">
            <a:avLst/>
          </a:prstGeom>
          <a:pattFill prst="ltDnDiag">
            <a:fgClr>
              <a:schemeClr val="bg1">
                <a:lumMod val="65000"/>
              </a:schemeClr>
            </a:fgClr>
            <a:bgClr>
              <a:schemeClr val="bg1">
                <a:lumMod val="9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ea"/>
              <a:cs typeface="+mn-ea"/>
            </a:endParaRPr>
          </a:p>
        </p:txBody>
      </p:sp>
      <p:sp>
        <p:nvSpPr>
          <p:cNvPr id="19"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0" name="文本框 19"/>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wipe(left)">
                                      <p:cBhvr>
                                        <p:cTn id="11" dur="500"/>
                                        <p:tgtEl>
                                          <p:spTgt spid="1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wipe(left)">
                                      <p:cBhvr>
                                        <p:cTn id="23" dur="500"/>
                                        <p:tgtEl>
                                          <p:spTgt spid="18"/>
                                        </p:tgtEl>
                                      </p:cBhvr>
                                    </p:animEffect>
                                  </p:childTnLst>
                                </p:cTn>
                              </p:par>
                            </p:childTnLst>
                          </p:cTn>
                        </p:par>
                        <p:par>
                          <p:cTn id="24" fill="hold">
                            <p:stCondLst>
                              <p:cond delay="2500"/>
                            </p:stCondLst>
                            <p:childTnLst>
                              <p:par>
                                <p:cTn id="25" presetID="53" presetClass="entr" presetSubtype="16" fill="hold" nodeType="after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p:cTn id="27" dur="500" fill="hold"/>
                                        <p:tgtEl>
                                          <p:spTgt spid="6"/>
                                        </p:tgtEl>
                                        <p:attrNameLst>
                                          <p:attrName>ppt_w</p:attrName>
                                        </p:attrNameLst>
                                      </p:cBhvr>
                                      <p:tavLst>
                                        <p:tav tm="0">
                                          <p:val>
                                            <p:fltVal val="0"/>
                                          </p:val>
                                        </p:tav>
                                        <p:tav tm="100000">
                                          <p:val>
                                            <p:strVal val="#ppt_w"/>
                                          </p:val>
                                        </p:tav>
                                      </p:tavLst>
                                    </p:anim>
                                    <p:anim calcmode="lin" valueType="num">
                                      <p:cBhvr>
                                        <p:cTn id="28" dur="500" fill="hold"/>
                                        <p:tgtEl>
                                          <p:spTgt spid="6"/>
                                        </p:tgtEl>
                                        <p:attrNameLst>
                                          <p:attrName>ppt_h</p:attrName>
                                        </p:attrNameLst>
                                      </p:cBhvr>
                                      <p:tavLst>
                                        <p:tav tm="0">
                                          <p:val>
                                            <p:fltVal val="0"/>
                                          </p:val>
                                        </p:tav>
                                        <p:tav tm="100000">
                                          <p:val>
                                            <p:strVal val="#ppt_h"/>
                                          </p:val>
                                        </p:tav>
                                      </p:tavLst>
                                    </p:anim>
                                    <p:animEffect transition="in" filter="fade">
                                      <p:cBhvr>
                                        <p:cTn id="29" dur="500"/>
                                        <p:tgtEl>
                                          <p:spTgt spid="6"/>
                                        </p:tgtEl>
                                      </p:cBhvr>
                                    </p:animEffect>
                                  </p:childTnLst>
                                </p:cTn>
                              </p:par>
                              <p:par>
                                <p:cTn id="30" presetID="53" presetClass="entr" presetSubtype="16" fill="hold" nodeType="withEffect">
                                  <p:stCondLst>
                                    <p:cond delay="250"/>
                                  </p:stCondLst>
                                  <p:childTnLst>
                                    <p:set>
                                      <p:cBhvr>
                                        <p:cTn id="31" dur="1" fill="hold">
                                          <p:stCondLst>
                                            <p:cond delay="0"/>
                                          </p:stCondLst>
                                        </p:cTn>
                                        <p:tgtEl>
                                          <p:spTgt spid="13"/>
                                        </p:tgtEl>
                                        <p:attrNameLst>
                                          <p:attrName>style.visibility</p:attrName>
                                        </p:attrNameLst>
                                      </p:cBhvr>
                                      <p:to>
                                        <p:strVal val="visible"/>
                                      </p:to>
                                    </p:set>
                                    <p:anim calcmode="lin" valueType="num">
                                      <p:cBhvr>
                                        <p:cTn id="32" dur="500" fill="hold"/>
                                        <p:tgtEl>
                                          <p:spTgt spid="13"/>
                                        </p:tgtEl>
                                        <p:attrNameLst>
                                          <p:attrName>ppt_w</p:attrName>
                                        </p:attrNameLst>
                                      </p:cBhvr>
                                      <p:tavLst>
                                        <p:tav tm="0">
                                          <p:val>
                                            <p:fltVal val="0"/>
                                          </p:val>
                                        </p:tav>
                                        <p:tav tm="100000">
                                          <p:val>
                                            <p:strVal val="#ppt_w"/>
                                          </p:val>
                                        </p:tav>
                                      </p:tavLst>
                                    </p:anim>
                                    <p:anim calcmode="lin" valueType="num">
                                      <p:cBhvr>
                                        <p:cTn id="33" dur="500" fill="hold"/>
                                        <p:tgtEl>
                                          <p:spTgt spid="13"/>
                                        </p:tgtEl>
                                        <p:attrNameLst>
                                          <p:attrName>ppt_h</p:attrName>
                                        </p:attrNameLst>
                                      </p:cBhvr>
                                      <p:tavLst>
                                        <p:tav tm="0">
                                          <p:val>
                                            <p:fltVal val="0"/>
                                          </p:val>
                                        </p:tav>
                                        <p:tav tm="100000">
                                          <p:val>
                                            <p:strVal val="#ppt_h"/>
                                          </p:val>
                                        </p:tav>
                                      </p:tavLst>
                                    </p:anim>
                                    <p:animEffect transition="in" filter="fade">
                                      <p:cBhvr>
                                        <p:cTn id="34" dur="500"/>
                                        <p:tgtEl>
                                          <p:spTgt spid="13"/>
                                        </p:tgtEl>
                                      </p:cBhvr>
                                    </p:animEffect>
                                  </p:childTnLst>
                                </p:cTn>
                              </p:par>
                              <p:par>
                                <p:cTn id="35" presetID="53" presetClass="entr" presetSubtype="16" fill="hold" nodeType="withEffect">
                                  <p:stCondLst>
                                    <p:cond delay="500"/>
                                  </p:stCondLst>
                                  <p:childTnLst>
                                    <p:set>
                                      <p:cBhvr>
                                        <p:cTn id="36" dur="1" fill="hold">
                                          <p:stCondLst>
                                            <p:cond delay="0"/>
                                          </p:stCondLst>
                                        </p:cTn>
                                        <p:tgtEl>
                                          <p:spTgt spid="7"/>
                                        </p:tgtEl>
                                        <p:attrNameLst>
                                          <p:attrName>style.visibility</p:attrName>
                                        </p:attrNameLst>
                                      </p:cBhvr>
                                      <p:to>
                                        <p:strVal val="visible"/>
                                      </p:to>
                                    </p:set>
                                    <p:anim calcmode="lin" valueType="num">
                                      <p:cBhvr>
                                        <p:cTn id="37" dur="500" fill="hold"/>
                                        <p:tgtEl>
                                          <p:spTgt spid="7"/>
                                        </p:tgtEl>
                                        <p:attrNameLst>
                                          <p:attrName>ppt_w</p:attrName>
                                        </p:attrNameLst>
                                      </p:cBhvr>
                                      <p:tavLst>
                                        <p:tav tm="0">
                                          <p:val>
                                            <p:fltVal val="0"/>
                                          </p:val>
                                        </p:tav>
                                        <p:tav tm="100000">
                                          <p:val>
                                            <p:strVal val="#ppt_w"/>
                                          </p:val>
                                        </p:tav>
                                      </p:tavLst>
                                    </p:anim>
                                    <p:anim calcmode="lin" valueType="num">
                                      <p:cBhvr>
                                        <p:cTn id="38" dur="500" fill="hold"/>
                                        <p:tgtEl>
                                          <p:spTgt spid="7"/>
                                        </p:tgtEl>
                                        <p:attrNameLst>
                                          <p:attrName>ppt_h</p:attrName>
                                        </p:attrNameLst>
                                      </p:cBhvr>
                                      <p:tavLst>
                                        <p:tav tm="0">
                                          <p:val>
                                            <p:fltVal val="0"/>
                                          </p:val>
                                        </p:tav>
                                        <p:tav tm="100000">
                                          <p:val>
                                            <p:strVal val="#ppt_h"/>
                                          </p:val>
                                        </p:tav>
                                      </p:tavLst>
                                    </p:anim>
                                    <p:animEffect transition="in" filter="fade">
                                      <p:cBhvr>
                                        <p:cTn id="39" dur="500"/>
                                        <p:tgtEl>
                                          <p:spTgt spid="7"/>
                                        </p:tgtEl>
                                      </p:cBhvr>
                                    </p:animEffect>
                                  </p:childTnLst>
                                </p:cTn>
                              </p:par>
                              <p:par>
                                <p:cTn id="40" presetID="53" presetClass="entr" presetSubtype="16" fill="hold" nodeType="withEffect">
                                  <p:stCondLst>
                                    <p:cond delay="750"/>
                                  </p:stCondLst>
                                  <p:childTnLst>
                                    <p:set>
                                      <p:cBhvr>
                                        <p:cTn id="41" dur="1" fill="hold">
                                          <p:stCondLst>
                                            <p:cond delay="0"/>
                                          </p:stCondLst>
                                        </p:cTn>
                                        <p:tgtEl>
                                          <p:spTgt spid="12"/>
                                        </p:tgtEl>
                                        <p:attrNameLst>
                                          <p:attrName>style.visibility</p:attrName>
                                        </p:attrNameLst>
                                      </p:cBhvr>
                                      <p:to>
                                        <p:strVal val="visible"/>
                                      </p:to>
                                    </p:set>
                                    <p:anim calcmode="lin" valueType="num">
                                      <p:cBhvr>
                                        <p:cTn id="42" dur="500" fill="hold"/>
                                        <p:tgtEl>
                                          <p:spTgt spid="12"/>
                                        </p:tgtEl>
                                        <p:attrNameLst>
                                          <p:attrName>ppt_w</p:attrName>
                                        </p:attrNameLst>
                                      </p:cBhvr>
                                      <p:tavLst>
                                        <p:tav tm="0">
                                          <p:val>
                                            <p:fltVal val="0"/>
                                          </p:val>
                                        </p:tav>
                                        <p:tav tm="100000">
                                          <p:val>
                                            <p:strVal val="#ppt_w"/>
                                          </p:val>
                                        </p:tav>
                                      </p:tavLst>
                                    </p:anim>
                                    <p:anim calcmode="lin" valueType="num">
                                      <p:cBhvr>
                                        <p:cTn id="43" dur="500" fill="hold"/>
                                        <p:tgtEl>
                                          <p:spTgt spid="12"/>
                                        </p:tgtEl>
                                        <p:attrNameLst>
                                          <p:attrName>ppt_h</p:attrName>
                                        </p:attrNameLst>
                                      </p:cBhvr>
                                      <p:tavLst>
                                        <p:tav tm="0">
                                          <p:val>
                                            <p:fltVal val="0"/>
                                          </p:val>
                                        </p:tav>
                                        <p:tav tm="100000">
                                          <p:val>
                                            <p:strVal val="#ppt_h"/>
                                          </p:val>
                                        </p:tav>
                                      </p:tavLst>
                                    </p:anim>
                                    <p:animEffect transition="in" filter="fade">
                                      <p:cBhvr>
                                        <p:cTn id="44" dur="500"/>
                                        <p:tgtEl>
                                          <p:spTgt spid="12"/>
                                        </p:tgtEl>
                                      </p:cBhvr>
                                    </p:animEffect>
                                  </p:childTnLst>
                                </p:cTn>
                              </p:par>
                            </p:childTnLst>
                          </p:cTn>
                        </p:par>
                        <p:par>
                          <p:cTn id="45" fill="hold">
                            <p:stCondLst>
                              <p:cond delay="3000"/>
                            </p:stCondLst>
                            <p:childTnLst>
                              <p:par>
                                <p:cTn id="46" presetID="22" presetClass="entr" presetSubtype="4" fill="hold" grpId="0"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wipe(down)">
                                      <p:cBhvr>
                                        <p:cTn id="48" dur="12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animBg="1"/>
      <p:bldP spid="16" grpId="0"/>
      <p:bldP spid="17" grpId="0"/>
      <p:bldP spid="18" grpId="0" animBg="1"/>
      <p:bldP spid="20"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descr="C:\Users\shangdongying\Desktop\Flinders_Street_Station_Melbourne_City_Victoria_Australia.jpg"/>
          <p:cNvPicPr>
            <a:picLocks noChangeAspect="1" noChangeArrowheads="1"/>
          </p:cNvPicPr>
          <p:nvPr/>
        </p:nvPicPr>
        <p:blipFill>
          <a:blip r:embed="rId1" cstate="print"/>
          <a:srcRect/>
          <a:stretch>
            <a:fillRect/>
          </a:stretch>
        </p:blipFill>
        <p:spPr bwMode="auto">
          <a:xfrm>
            <a:off x="0" y="0"/>
            <a:ext cx="12199528" cy="6858000"/>
          </a:xfrm>
          <a:prstGeom prst="rect">
            <a:avLst/>
          </a:prstGeom>
          <a:noFill/>
        </p:spPr>
      </p:pic>
      <p:sp>
        <p:nvSpPr>
          <p:cNvPr id="6" name="矩形 5"/>
          <p:cNvSpPr/>
          <p:nvPr/>
        </p:nvSpPr>
        <p:spPr>
          <a:xfrm>
            <a:off x="0" y="5637245"/>
            <a:ext cx="12192000" cy="12207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7" name="等腰三角形 6"/>
          <p:cNvSpPr/>
          <p:nvPr/>
        </p:nvSpPr>
        <p:spPr>
          <a:xfrm rot="5400000" flipV="1">
            <a:off x="4187078" y="-1146923"/>
            <a:ext cx="3817845" cy="12192000"/>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8" name="直角三角形 7"/>
          <p:cNvSpPr/>
          <p:nvPr/>
        </p:nvSpPr>
        <p:spPr>
          <a:xfrm>
            <a:off x="0" y="3621021"/>
            <a:ext cx="12192000" cy="3236979"/>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9" name="直角三角形 8"/>
          <p:cNvSpPr/>
          <p:nvPr/>
        </p:nvSpPr>
        <p:spPr>
          <a:xfrm flipH="1">
            <a:off x="0" y="3044957"/>
            <a:ext cx="12192000" cy="381304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1" name="TextBox 10"/>
          <p:cNvSpPr txBox="1"/>
          <p:nvPr/>
        </p:nvSpPr>
        <p:spPr>
          <a:xfrm>
            <a:off x="8880309" y="5309649"/>
            <a:ext cx="2112235" cy="666786"/>
          </a:xfrm>
          <a:prstGeom prst="rect">
            <a:avLst/>
          </a:prstGeom>
          <a:noFill/>
        </p:spPr>
        <p:txBody>
          <a:bodyPr wrap="square" rtlCol="0">
            <a:spAutoFit/>
          </a:bodyPr>
          <a:lstStyle/>
          <a:p>
            <a:r>
              <a:rPr lang="en-US" altLang="zh-CN" sz="3735" dirty="0">
                <a:solidFill>
                  <a:srgbClr val="969696"/>
                </a:solidFill>
                <a:latin typeface="+mn-ea"/>
                <a:cs typeface="+mn-ea"/>
              </a:rPr>
              <a:t>hanks</a:t>
            </a:r>
            <a:endParaRPr lang="zh-CN" altLang="en-US" sz="3735" dirty="0">
              <a:solidFill>
                <a:srgbClr val="969696"/>
              </a:solidFill>
              <a:latin typeface="+mn-ea"/>
              <a:cs typeface="+mn-ea"/>
            </a:endParaRPr>
          </a:p>
        </p:txBody>
      </p:sp>
      <p:sp>
        <p:nvSpPr>
          <p:cNvPr id="12" name="TextBox 11"/>
          <p:cNvSpPr txBox="1"/>
          <p:nvPr/>
        </p:nvSpPr>
        <p:spPr>
          <a:xfrm>
            <a:off x="8219525" y="4485118"/>
            <a:ext cx="1044828" cy="1733680"/>
          </a:xfrm>
          <a:prstGeom prst="rect">
            <a:avLst/>
          </a:prstGeom>
          <a:noFill/>
        </p:spPr>
        <p:txBody>
          <a:bodyPr wrap="square" rtlCol="0">
            <a:spAutoFit/>
          </a:bodyPr>
          <a:lstStyle/>
          <a:p>
            <a:r>
              <a:rPr lang="en-US" altLang="zh-CN" sz="10665" dirty="0">
                <a:solidFill>
                  <a:srgbClr val="969696"/>
                </a:solidFill>
                <a:latin typeface="+mn-ea"/>
                <a:cs typeface="+mn-ea"/>
              </a:rPr>
              <a:t>T</a:t>
            </a:r>
            <a:endParaRPr lang="zh-CN" altLang="en-US" sz="10665" dirty="0">
              <a:solidFill>
                <a:srgbClr val="969696"/>
              </a:solidFill>
              <a:latin typeface="+mn-ea"/>
              <a:cs typeface="+mn-ea"/>
            </a:endParaRPr>
          </a:p>
        </p:txBody>
      </p:sp>
      <p:sp>
        <p:nvSpPr>
          <p:cNvPr id="13" name="TextBox 51"/>
          <p:cNvSpPr txBox="1"/>
          <p:nvPr/>
        </p:nvSpPr>
        <p:spPr>
          <a:xfrm>
            <a:off x="431371" y="4767587"/>
            <a:ext cx="2592288" cy="913007"/>
          </a:xfrm>
          <a:prstGeom prst="rect">
            <a:avLst/>
          </a:prstGeom>
          <a:noFill/>
        </p:spPr>
        <p:txBody>
          <a:bodyPr wrap="square" rtlCol="0">
            <a:spAutoFit/>
          </a:bodyPr>
          <a:lstStyle/>
          <a:p>
            <a:r>
              <a:rPr lang="en-US" altLang="zh-CN" sz="5335" b="1" dirty="0">
                <a:solidFill>
                  <a:schemeClr val="bg1"/>
                </a:solidFill>
                <a:latin typeface="+mn-ea"/>
                <a:cs typeface="+mn-ea"/>
              </a:rPr>
              <a:t>LOGO</a:t>
            </a:r>
            <a:endParaRPr lang="zh-CN" altLang="en-US" sz="5335" b="1" dirty="0">
              <a:solidFill>
                <a:schemeClr val="bg1"/>
              </a:solidFill>
              <a:latin typeface="+mn-ea"/>
              <a:cs typeface="+mn-ea"/>
            </a:endParaRPr>
          </a:p>
        </p:txBody>
      </p:sp>
      <p:sp>
        <p:nvSpPr>
          <p:cNvPr id="10" name="文本框 9"/>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12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矩形 2"/>
          <p:cNvSpPr/>
          <p:nvPr/>
        </p:nvSpPr>
        <p:spPr>
          <a:xfrm>
            <a:off x="10457" y="-35665"/>
            <a:ext cx="12180611" cy="68931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400"/>
          </a:p>
        </p:txBody>
      </p:sp>
      <p:sp>
        <p:nvSpPr>
          <p:cNvPr id="7" name="矩形 6"/>
          <p:cNvSpPr/>
          <p:nvPr/>
        </p:nvSpPr>
        <p:spPr>
          <a:xfrm>
            <a:off x="1568" y="2587120"/>
            <a:ext cx="12189499" cy="123742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zh-CN" altLang="en-US" sz="280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10000+套</a:t>
            </a:r>
            <a:r>
              <a:rPr kumimoji="0" lang="zh-CN" altLang="en-US" sz="2775"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精品</a:t>
            </a:r>
            <a:r>
              <a:rPr kumimoji="0" lang="en-US" altLang="zh-CN" sz="2775"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PPT</a:t>
            </a:r>
            <a:r>
              <a:rPr kumimoji="0" lang="zh-CN" altLang="en-US" sz="2775"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模板</a:t>
            </a:r>
            <a:r>
              <a:rPr kumimoji="0" lang="zh-CN" altLang="en-US" sz="2780" b="1" i="0" u="none" strike="noStrike" kern="1200" cap="none" spc="200" normalizeH="0" baseline="0" noProof="1" dirty="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全部免费</a:t>
            </a:r>
            <a:r>
              <a:rPr kumimoji="0" lang="zh-CN" altLang="en-US" sz="2775"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下载</a:t>
            </a:r>
            <a:endParaRPr kumimoji="0" lang="en-US" altLang="zh-CN" sz="2775"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endParaRPr>
          </a:p>
        </p:txBody>
      </p:sp>
      <p:pic>
        <p:nvPicPr>
          <p:cNvPr id="4" name="图片 3" descr="logo"/>
          <p:cNvPicPr>
            <a:picLocks noChangeAspect="1"/>
          </p:cNvPicPr>
          <p:nvPr/>
        </p:nvPicPr>
        <p:blipFill>
          <a:blip r:embed="rId1"/>
          <a:stretch>
            <a:fillRect/>
          </a:stretch>
        </p:blipFill>
        <p:spPr>
          <a:xfrm>
            <a:off x="4843337" y="1400487"/>
            <a:ext cx="2504692" cy="761883"/>
          </a:xfrm>
          <a:prstGeom prst="rect">
            <a:avLst/>
          </a:prstGeom>
        </p:spPr>
      </p:pic>
      <p:sp>
        <p:nvSpPr>
          <p:cNvPr id="5" name="文本框 4"/>
          <p:cNvSpPr txBox="1"/>
          <p:nvPr/>
        </p:nvSpPr>
        <p:spPr>
          <a:xfrm>
            <a:off x="4200815" y="4134379"/>
            <a:ext cx="3799893" cy="1076325"/>
          </a:xfrm>
          <a:prstGeom prst="rect">
            <a:avLst/>
          </a:prstGeom>
          <a:noFill/>
        </p:spPr>
        <p:txBody>
          <a:bodyPr wrap="square" rtlCol="0">
            <a:spAutoFit/>
          </a:bodyPr>
          <a:p>
            <a:pPr algn="ctr"/>
            <a:r>
              <a:rPr lang="en-US" altLang="zh-CN" sz="32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rPr>
              <a:t>PPT</a:t>
            </a:r>
            <a:r>
              <a:rPr lang="zh-CN" altLang="en-US" sz="32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rPr>
              <a:t>营</a:t>
            </a:r>
            <a:endParaRPr lang="zh-CN" altLang="en-US" sz="32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endParaRPr>
          </a:p>
          <a:p>
            <a:pPr algn="ctr"/>
            <a:r>
              <a:rPr lang="en-US" altLang="zh-CN" sz="32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rPr>
              <a:t>www.pptying.com</a:t>
            </a:r>
            <a:endParaRPr lang="en-US" altLang="zh-CN" sz="32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endParaRPr>
          </a:p>
        </p:txBody>
      </p:sp>
    </p:spTree>
  </p:cSld>
  <p:clrMapOvr>
    <a:masterClrMapping/>
  </p:clrMapOvr>
  <p:transition spd="med" advClick="0" advTm="0">
    <p:push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17"/>
          <p:cNvSpPr/>
          <p:nvPr/>
        </p:nvSpPr>
        <p:spPr>
          <a:xfrm>
            <a:off x="7343328" y="1731026"/>
            <a:ext cx="3613730" cy="847853"/>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mn-ea"/>
              <a:cs typeface="+mn-ea"/>
            </a:endParaRPr>
          </a:p>
        </p:txBody>
      </p:sp>
      <p:sp>
        <p:nvSpPr>
          <p:cNvPr id="48" name="TextBox 47"/>
          <p:cNvSpPr txBox="1"/>
          <p:nvPr/>
        </p:nvSpPr>
        <p:spPr>
          <a:xfrm>
            <a:off x="7343328" y="1731026"/>
            <a:ext cx="4604171" cy="3372830"/>
          </a:xfrm>
          <a:prstGeom prst="rect">
            <a:avLst/>
          </a:prstGeom>
          <a:noFill/>
        </p:spPr>
        <p:txBody>
          <a:bodyPr wrap="square" rtlCol="0">
            <a:spAutoFit/>
          </a:bodyPr>
          <a:lstStyle/>
          <a:p>
            <a:r>
              <a:rPr lang="zh-CN" altLang="en-US" sz="5330" b="1" dirty="0">
                <a:solidFill>
                  <a:srgbClr val="F7F7F0"/>
                </a:solidFill>
                <a:latin typeface="+mn-ea"/>
                <a:cs typeface="+mn-ea"/>
              </a:rPr>
              <a:t>赢在起点</a:t>
            </a:r>
            <a:endParaRPr lang="en-US" sz="5330" b="1" dirty="0">
              <a:solidFill>
                <a:srgbClr val="F7F7F0"/>
              </a:solidFill>
              <a:latin typeface="+mn-ea"/>
              <a:cs typeface="+mn-ea"/>
            </a:endParaRPr>
          </a:p>
          <a:p>
            <a:r>
              <a:rPr lang="zh-CN" altLang="en-US" sz="5330" b="1" dirty="0">
                <a:solidFill>
                  <a:schemeClr val="bg1">
                    <a:lumMod val="65000"/>
                  </a:schemeClr>
                </a:solidFill>
                <a:latin typeface="+mn-ea"/>
                <a:cs typeface="+mn-ea"/>
              </a:rPr>
              <a:t>一切以</a:t>
            </a:r>
            <a:endParaRPr lang="en-US" sz="5330" b="1" dirty="0">
              <a:solidFill>
                <a:schemeClr val="bg1">
                  <a:lumMod val="65000"/>
                </a:schemeClr>
              </a:solidFill>
              <a:latin typeface="+mn-ea"/>
              <a:cs typeface="+mn-ea"/>
            </a:endParaRPr>
          </a:p>
          <a:p>
            <a:r>
              <a:rPr lang="zh-CN" altLang="en-US" sz="5330" b="1" dirty="0">
                <a:solidFill>
                  <a:schemeClr val="bg1">
                    <a:lumMod val="65000"/>
                  </a:schemeClr>
                </a:solidFill>
                <a:latin typeface="+mn-ea"/>
                <a:cs typeface="+mn-ea"/>
              </a:rPr>
              <a:t>客户需求</a:t>
            </a:r>
            <a:endParaRPr lang="en-US" sz="5330" b="1" dirty="0">
              <a:solidFill>
                <a:schemeClr val="bg1">
                  <a:lumMod val="65000"/>
                </a:schemeClr>
              </a:solidFill>
              <a:latin typeface="+mn-ea"/>
              <a:cs typeface="+mn-ea"/>
            </a:endParaRPr>
          </a:p>
          <a:p>
            <a:r>
              <a:rPr lang="zh-CN" altLang="en-US" sz="5330" b="1" dirty="0">
                <a:solidFill>
                  <a:schemeClr val="bg1">
                    <a:lumMod val="65000"/>
                  </a:schemeClr>
                </a:solidFill>
                <a:latin typeface="+mn-ea"/>
                <a:cs typeface="+mn-ea"/>
              </a:rPr>
              <a:t>为</a:t>
            </a:r>
            <a:r>
              <a:rPr lang="zh-CN" altLang="en-US" sz="5330" b="1" dirty="0">
                <a:solidFill>
                  <a:srgbClr val="254061"/>
                </a:solidFill>
                <a:latin typeface="+mn-ea"/>
                <a:cs typeface="+mn-ea"/>
              </a:rPr>
              <a:t>核心价值</a:t>
            </a:r>
            <a:endParaRPr lang="en-US" sz="5330" b="1" dirty="0">
              <a:solidFill>
                <a:srgbClr val="254061"/>
              </a:solidFill>
              <a:latin typeface="+mn-ea"/>
              <a:cs typeface="+mn-ea"/>
            </a:endParaRPr>
          </a:p>
        </p:txBody>
      </p:sp>
      <p:pic>
        <p:nvPicPr>
          <p:cNvPr id="49" name="Picture 2"/>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1379033" y="1938533"/>
            <a:ext cx="5580502" cy="3146614"/>
          </a:xfrm>
          <a:prstGeom prst="rect">
            <a:avLst/>
          </a:prstGeom>
          <a:solidFill>
            <a:schemeClr val="accent3"/>
          </a:solidFill>
          <a:ln w="57150">
            <a:gradFill>
              <a:gsLst>
                <a:gs pos="0">
                  <a:schemeClr val="bg1"/>
                </a:gs>
                <a:gs pos="100000">
                  <a:schemeClr val="bg1">
                    <a:lumMod val="85000"/>
                  </a:schemeClr>
                </a:gs>
              </a:gsLst>
              <a:lin ang="5400000" scaled="0"/>
            </a:gradFill>
          </a:ln>
          <a:effectLst>
            <a:outerShdw blurRad="228600" dist="114300" dir="6840000" sx="99000" sy="99000" algn="tl" rotWithShape="0">
              <a:prstClr val="black">
                <a:alpha val="40000"/>
              </a:prstClr>
            </a:outerShdw>
          </a:effectLst>
        </p:spPr>
      </p:pic>
      <p:cxnSp>
        <p:nvCxnSpPr>
          <p:cNvPr id="51" name="Straight Connector 21"/>
          <p:cNvCxnSpPr/>
          <p:nvPr/>
        </p:nvCxnSpPr>
        <p:spPr>
          <a:xfrm>
            <a:off x="7479946" y="5252016"/>
            <a:ext cx="3708261" cy="0"/>
          </a:xfrm>
          <a:prstGeom prst="line">
            <a:avLst/>
          </a:prstGeom>
          <a:ln w="38100">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8" name="文本框 7"/>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1000"/>
                                        <p:tgtEl>
                                          <p:spTgt spid="4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1000"/>
                                        <p:tgtEl>
                                          <p:spTgt spid="47"/>
                                        </p:tgtEl>
                                      </p:cBhvr>
                                    </p:animEffect>
                                    <p:anim calcmode="lin" valueType="num">
                                      <p:cBhvr>
                                        <p:cTn id="13" dur="1000" fill="hold"/>
                                        <p:tgtEl>
                                          <p:spTgt spid="47"/>
                                        </p:tgtEl>
                                        <p:attrNameLst>
                                          <p:attrName>ppt_x</p:attrName>
                                        </p:attrNameLst>
                                      </p:cBhvr>
                                      <p:tavLst>
                                        <p:tav tm="0">
                                          <p:val>
                                            <p:strVal val="#ppt_x"/>
                                          </p:val>
                                        </p:tav>
                                        <p:tav tm="100000">
                                          <p:val>
                                            <p:strVal val="#ppt_x"/>
                                          </p:val>
                                        </p:tav>
                                      </p:tavLst>
                                    </p:anim>
                                    <p:anim calcmode="lin" valueType="num">
                                      <p:cBhvr>
                                        <p:cTn id="14" dur="1000" fill="hold"/>
                                        <p:tgtEl>
                                          <p:spTgt spid="4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1000"/>
                                        <p:tgtEl>
                                          <p:spTgt spid="48"/>
                                        </p:tgtEl>
                                      </p:cBhvr>
                                    </p:animEffect>
                                    <p:anim calcmode="lin" valueType="num">
                                      <p:cBhvr>
                                        <p:cTn id="18" dur="1000" fill="hold"/>
                                        <p:tgtEl>
                                          <p:spTgt spid="48"/>
                                        </p:tgtEl>
                                        <p:attrNameLst>
                                          <p:attrName>ppt_x</p:attrName>
                                        </p:attrNameLst>
                                      </p:cBhvr>
                                      <p:tavLst>
                                        <p:tav tm="0">
                                          <p:val>
                                            <p:strVal val="#ppt_x"/>
                                          </p:val>
                                        </p:tav>
                                        <p:tav tm="100000">
                                          <p:val>
                                            <p:strVal val="#ppt_x"/>
                                          </p:val>
                                        </p:tav>
                                      </p:tavLst>
                                    </p:anim>
                                    <p:anim calcmode="lin" valueType="num">
                                      <p:cBhvr>
                                        <p:cTn id="19" dur="1000" fill="hold"/>
                                        <p:tgtEl>
                                          <p:spTgt spid="48"/>
                                        </p:tgtEl>
                                        <p:attrNameLst>
                                          <p:attrName>ppt_y</p:attrName>
                                        </p:attrNameLst>
                                      </p:cBhvr>
                                      <p:tavLst>
                                        <p:tav tm="0">
                                          <p:val>
                                            <p:strVal val="#ppt_y+.1"/>
                                          </p:val>
                                        </p:tav>
                                        <p:tav tm="100000">
                                          <p:val>
                                            <p:strVal val="#ppt_y"/>
                                          </p:val>
                                        </p:tav>
                                      </p:tavLst>
                                    </p:anim>
                                  </p:childTnLst>
                                </p:cTn>
                              </p:par>
                              <p:par>
                                <p:cTn id="20" presetID="10" presetClass="entr" presetSubtype="0" fill="hold" nodeType="withEffect">
                                  <p:stCondLst>
                                    <p:cond delay="0"/>
                                  </p:stCondLst>
                                  <p:childTnLst>
                                    <p:set>
                                      <p:cBhvr>
                                        <p:cTn id="21" dur="1" fill="hold">
                                          <p:stCondLst>
                                            <p:cond delay="0"/>
                                          </p:stCondLst>
                                        </p:cTn>
                                        <p:tgtEl>
                                          <p:spTgt spid="51"/>
                                        </p:tgtEl>
                                        <p:attrNameLst>
                                          <p:attrName>style.visibility</p:attrName>
                                        </p:attrNameLst>
                                      </p:cBhvr>
                                      <p:to>
                                        <p:strVal val="visible"/>
                                      </p:to>
                                    </p:set>
                                    <p:animEffect transition="in" filter="fade">
                                      <p:cBhvr>
                                        <p:cTn id="22" dur="1000"/>
                                        <p:tgtEl>
                                          <p:spTgt spid="51"/>
                                        </p:tgtEl>
                                      </p:cBhvr>
                                    </p:animEffect>
                                  </p:childTnLst>
                                </p:cTn>
                              </p:par>
                            </p:childTnLst>
                          </p:cTn>
                        </p:par>
                        <p:par>
                          <p:cTn id="23" fill="hold">
                            <p:stCondLst>
                              <p:cond delay="1000"/>
                            </p:stCondLst>
                            <p:childTnLst>
                              <p:par>
                                <p:cTn id="24" presetID="22" presetClass="entr" presetSubtype="4" fill="hold" grpId="0" nodeType="after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wipe(down)">
                                      <p:cBhvr>
                                        <p:cTn id="26" dur="1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4"/>
          <p:cNvSpPr/>
          <p:nvPr/>
        </p:nvSpPr>
        <p:spPr>
          <a:xfrm>
            <a:off x="7932" y="1252732"/>
            <a:ext cx="12184068" cy="973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254061"/>
              </a:solidFill>
              <a:latin typeface="+mn-ea"/>
              <a:cs typeface="+mn-ea"/>
            </a:endParaRPr>
          </a:p>
        </p:txBody>
      </p:sp>
      <p:pic>
        <p:nvPicPr>
          <p:cNvPr id="3075" name="Picture 3"/>
          <p:cNvPicPr>
            <a:picLocks noChangeAspect="1" noChangeArrowheads="1"/>
          </p:cNvPicPr>
          <p:nvPr/>
        </p:nvPicPr>
        <p:blipFill rotWithShape="1">
          <a:blip r:embed="rId1">
            <a:extLst>
              <a:ext uri="{28A0092B-C50C-407E-A947-70E740481C1C}">
                <a14:useLocalDpi xmlns:a14="http://schemas.microsoft.com/office/drawing/2010/main" val="0"/>
              </a:ext>
            </a:extLst>
          </a:blip>
          <a:srcRect r="3828" b="8743"/>
          <a:stretch>
            <a:fillRect/>
          </a:stretch>
        </p:blipFill>
        <p:spPr bwMode="auto">
          <a:xfrm>
            <a:off x="397425" y="486578"/>
            <a:ext cx="6706687" cy="5434427"/>
          </a:xfrm>
          <a:prstGeom prst="flowChartManualInput">
            <a:avLst/>
          </a:prstGeom>
          <a:solidFill>
            <a:schemeClr val="accent3"/>
          </a:solidFill>
          <a:ln w="57150">
            <a:gradFill>
              <a:gsLst>
                <a:gs pos="0">
                  <a:schemeClr val="bg1"/>
                </a:gs>
                <a:gs pos="100000">
                  <a:schemeClr val="bg1">
                    <a:lumMod val="85000"/>
                  </a:schemeClr>
                </a:gs>
              </a:gsLst>
              <a:lin ang="5400000" scaled="0"/>
            </a:gradFill>
          </a:ln>
          <a:effectLst>
            <a:outerShdw blurRad="228600" dist="114300" dir="6840000" sx="99000" sy="99000" algn="tl" rotWithShape="0">
              <a:prstClr val="black">
                <a:alpha val="40000"/>
              </a:prstClr>
            </a:outerShdw>
          </a:effectLst>
        </p:spPr>
      </p:pic>
      <p:sp>
        <p:nvSpPr>
          <p:cNvPr id="10" name="TextBox 9"/>
          <p:cNvSpPr txBox="1"/>
          <p:nvPr/>
        </p:nvSpPr>
        <p:spPr>
          <a:xfrm>
            <a:off x="7955222" y="742822"/>
            <a:ext cx="3421647" cy="4891660"/>
          </a:xfrm>
          <a:prstGeom prst="rect">
            <a:avLst/>
          </a:prstGeom>
          <a:noFill/>
        </p:spPr>
        <p:txBody>
          <a:bodyPr wrap="square" lIns="0" tIns="0" rIns="0" bIns="0" rtlCol="0">
            <a:spAutoFit/>
          </a:bodyPr>
          <a:lstStyle/>
          <a:p>
            <a:pPr algn="just">
              <a:lnSpc>
                <a:spcPct val="150000"/>
              </a:lnSpc>
            </a:pPr>
            <a:r>
              <a:rPr lang="zh-CN" altLang="en-US" sz="1865" dirty="0">
                <a:solidFill>
                  <a:schemeClr val="tx1">
                    <a:lumMod val="50000"/>
                    <a:lumOff val="50000"/>
                  </a:schemeClr>
                </a:solidFill>
                <a:latin typeface="+mn-ea"/>
                <a:cs typeface="+mn-ea"/>
              </a:rPr>
              <a:t>       某某科技有限公司是全球领先的综合通信解决方案提供商。公司将为全球160多个国家和地区的电信运营商和企业网客户提供创新技术与产品解决方案。公司成立于</a:t>
            </a:r>
            <a:r>
              <a:rPr lang="en-US" altLang="zh-CN" sz="1865" dirty="0">
                <a:solidFill>
                  <a:schemeClr val="tx1">
                    <a:lumMod val="50000"/>
                    <a:lumOff val="50000"/>
                  </a:schemeClr>
                </a:solidFill>
                <a:latin typeface="+mn-ea"/>
                <a:cs typeface="+mn-ea"/>
              </a:rPr>
              <a:t>2013</a:t>
            </a:r>
            <a:r>
              <a:rPr lang="zh-CN" altLang="en-US" sz="1865" dirty="0">
                <a:solidFill>
                  <a:schemeClr val="tx1">
                    <a:lumMod val="50000"/>
                    <a:lumOff val="50000"/>
                  </a:schemeClr>
                </a:solidFill>
                <a:latin typeface="+mn-ea"/>
                <a:cs typeface="+mn-ea"/>
              </a:rPr>
              <a:t>年，未来将在香港和深圳两地上市，是中国最大的通信设备上市公司。</a:t>
            </a:r>
            <a:endParaRPr lang="en-US" altLang="zh-CN" sz="1865" dirty="0">
              <a:solidFill>
                <a:schemeClr val="tx1">
                  <a:lumMod val="50000"/>
                  <a:lumOff val="50000"/>
                </a:schemeClr>
              </a:solidFill>
              <a:latin typeface="+mn-ea"/>
              <a:cs typeface="+mn-ea"/>
            </a:endParaRPr>
          </a:p>
          <a:p>
            <a:pPr algn="just">
              <a:lnSpc>
                <a:spcPct val="150000"/>
              </a:lnSpc>
            </a:pPr>
            <a:endParaRPr lang="zh-CN" altLang="en-US" sz="665" dirty="0">
              <a:solidFill>
                <a:schemeClr val="tx1">
                  <a:lumMod val="50000"/>
                  <a:lumOff val="50000"/>
                </a:schemeClr>
              </a:solidFill>
              <a:latin typeface="+mn-ea"/>
              <a:cs typeface="+mn-ea"/>
            </a:endParaRPr>
          </a:p>
          <a:p>
            <a:pPr algn="just">
              <a:lnSpc>
                <a:spcPct val="150000"/>
              </a:lnSpc>
            </a:pPr>
            <a:r>
              <a:rPr lang="zh-CN" altLang="en-US" sz="1865" dirty="0">
                <a:solidFill>
                  <a:schemeClr val="tx1">
                    <a:lumMod val="50000"/>
                    <a:lumOff val="50000"/>
                  </a:schemeClr>
                </a:solidFill>
                <a:latin typeface="+mn-ea"/>
                <a:cs typeface="+mn-ea"/>
              </a:rPr>
              <a:t>       某某公司是全球领先的综合通信解决方案提供商，提供创新技术与产品解决方案。</a:t>
            </a:r>
            <a:endParaRPr lang="zh-CN" altLang="en-US" sz="1865" dirty="0">
              <a:solidFill>
                <a:schemeClr val="tx1">
                  <a:lumMod val="50000"/>
                  <a:lumOff val="50000"/>
                </a:schemeClr>
              </a:solidFill>
              <a:latin typeface="+mn-ea"/>
              <a:cs typeface="+mn-ea"/>
            </a:endParaRPr>
          </a:p>
        </p:txBody>
      </p:sp>
      <p:sp>
        <p:nvSpPr>
          <p:cNvPr id="6"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7" name="文本框 6"/>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nodePh="1">
                                  <p:stCondLst>
                                    <p:cond delay="0"/>
                                  </p:stCondLst>
                                  <p:endCondLst>
                                    <p:cond evt="begin" delay="0">
                                      <p:tn val="5"/>
                                    </p:cond>
                                  </p:endCondLst>
                                  <p:childTnLst>
                                    <p:set>
                                      <p:cBhvr>
                                        <p:cTn id="6" dur="1" fill="hold">
                                          <p:stCondLst>
                                            <p:cond delay="0"/>
                                          </p:stCondLst>
                                        </p:cTn>
                                        <p:tgtEl>
                                          <p:spTgt spid="73"/>
                                        </p:tgtEl>
                                        <p:attrNameLst>
                                          <p:attrName>style.visibility</p:attrName>
                                        </p:attrNameLst>
                                      </p:cBhvr>
                                      <p:to>
                                        <p:strVal val="visible"/>
                                      </p:to>
                                    </p:set>
                                    <p:anim calcmode="lin" valueType="num">
                                      <p:cBhvr additive="base">
                                        <p:cTn id="7" dur="250" fill="hold"/>
                                        <p:tgtEl>
                                          <p:spTgt spid="73"/>
                                        </p:tgtEl>
                                        <p:attrNameLst>
                                          <p:attrName>ppt_x</p:attrName>
                                        </p:attrNameLst>
                                      </p:cBhvr>
                                      <p:tavLst>
                                        <p:tav tm="0">
                                          <p:val>
                                            <p:strVal val="#ppt_x"/>
                                          </p:val>
                                        </p:tav>
                                        <p:tav tm="100000">
                                          <p:val>
                                            <p:strVal val="#ppt_x"/>
                                          </p:val>
                                        </p:tav>
                                      </p:tavLst>
                                    </p:anim>
                                    <p:anim calcmode="lin" valueType="num">
                                      <p:cBhvr additive="base">
                                        <p:cTn id="8" dur="250" fill="hold"/>
                                        <p:tgtEl>
                                          <p:spTgt spid="7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3075"/>
                                        </p:tgtEl>
                                        <p:attrNameLst>
                                          <p:attrName>style.visibility</p:attrName>
                                        </p:attrNameLst>
                                      </p:cBhvr>
                                      <p:to>
                                        <p:strVal val="visible"/>
                                      </p:to>
                                    </p:set>
                                    <p:animEffect transition="in" filter="fade">
                                      <p:cBhvr>
                                        <p:cTn id="13" dur="1000"/>
                                        <p:tgtEl>
                                          <p:spTgt spid="3075"/>
                                        </p:tgtEl>
                                      </p:cBhvr>
                                    </p:animEffect>
                                    <p:anim calcmode="lin" valueType="num">
                                      <p:cBhvr>
                                        <p:cTn id="14" dur="1000" fill="hold"/>
                                        <p:tgtEl>
                                          <p:spTgt spid="3075"/>
                                        </p:tgtEl>
                                        <p:attrNameLst>
                                          <p:attrName>ppt_x</p:attrName>
                                        </p:attrNameLst>
                                      </p:cBhvr>
                                      <p:tavLst>
                                        <p:tav tm="0">
                                          <p:val>
                                            <p:strVal val="#ppt_x"/>
                                          </p:val>
                                        </p:tav>
                                        <p:tav tm="100000">
                                          <p:val>
                                            <p:strVal val="#ppt_x"/>
                                          </p:val>
                                        </p:tav>
                                      </p:tavLst>
                                    </p:anim>
                                    <p:anim calcmode="lin" valueType="num">
                                      <p:cBhvr>
                                        <p:cTn id="15" dur="1000" fill="hold"/>
                                        <p:tgtEl>
                                          <p:spTgt spid="3075"/>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22" presetClass="entr" presetSubtype="8" fill="hold" grpId="0" nodeType="afterEffect">
                                  <p:stCondLst>
                                    <p:cond delay="0"/>
                                  </p:stCondLst>
                                  <p:iterate type="lt">
                                    <p:tmPct val="30000"/>
                                  </p:iterate>
                                  <p:childTnLst>
                                    <p:set>
                                      <p:cBhvr>
                                        <p:cTn id="18" dur="1" fill="hold">
                                          <p:stCondLst>
                                            <p:cond delay="0"/>
                                          </p:stCondLst>
                                        </p:cTn>
                                        <p:tgtEl>
                                          <p:spTgt spid="10"/>
                                        </p:tgtEl>
                                        <p:attrNameLst>
                                          <p:attrName>style.visibility</p:attrName>
                                        </p:attrNameLst>
                                      </p:cBhvr>
                                      <p:to>
                                        <p:strVal val="visible"/>
                                      </p:to>
                                    </p:set>
                                    <p:animEffect transition="in" filter="wipe(left)">
                                      <p:cBhvr>
                                        <p:cTn id="19" dur="100"/>
                                        <p:tgtEl>
                                          <p:spTgt spid="10"/>
                                        </p:tgtEl>
                                      </p:cBhvr>
                                    </p:animEffect>
                                  </p:childTnLst>
                                </p:cTn>
                              </p:par>
                              <p:par>
                                <p:cTn id="20" presetID="36" presetClass="emph" presetSubtype="0" fill="hold" grpId="1" nodeType="withEffect">
                                  <p:stCondLst>
                                    <p:cond delay="0"/>
                                  </p:stCondLst>
                                  <p:iterate type="lt">
                                    <p:tmPct val="30000"/>
                                  </p:iterate>
                                  <p:childTnLst>
                                    <p:animScale>
                                      <p:cBhvr>
                                        <p:cTn id="21" dur="50" autoRev="1" fill="hold">
                                          <p:stCondLst>
                                            <p:cond delay="0"/>
                                          </p:stCondLst>
                                        </p:cTn>
                                        <p:tgtEl>
                                          <p:spTgt spid="10"/>
                                        </p:tgtEl>
                                      </p:cBhvr>
                                      <p:to x="80000" y="100000"/>
                                    </p:animScale>
                                    <p:anim by="(#ppt_w*0.10)" calcmode="lin" valueType="num">
                                      <p:cBhvr>
                                        <p:cTn id="22" dur="50" autoRev="1" fill="hold">
                                          <p:stCondLst>
                                            <p:cond delay="0"/>
                                          </p:stCondLst>
                                        </p:cTn>
                                        <p:tgtEl>
                                          <p:spTgt spid="10"/>
                                        </p:tgtEl>
                                        <p:attrNameLst>
                                          <p:attrName>ppt_x</p:attrName>
                                        </p:attrNameLst>
                                      </p:cBhvr>
                                    </p:anim>
                                    <p:anim by="(-#ppt_w*0.10)" calcmode="lin" valueType="num">
                                      <p:cBhvr>
                                        <p:cTn id="23" dur="50" autoRev="1" fill="hold">
                                          <p:stCondLst>
                                            <p:cond delay="0"/>
                                          </p:stCondLst>
                                        </p:cTn>
                                        <p:tgtEl>
                                          <p:spTgt spid="10"/>
                                        </p:tgtEl>
                                        <p:attrNameLst>
                                          <p:attrName>ppt_y</p:attrName>
                                        </p:attrNameLst>
                                      </p:cBhvr>
                                    </p:anim>
                                    <p:animRot by="-480000">
                                      <p:cBhvr>
                                        <p:cTn id="24" dur="50" autoRev="1" fill="hold">
                                          <p:stCondLst>
                                            <p:cond delay="0"/>
                                          </p:stCondLst>
                                        </p:cTn>
                                        <p:tgtEl>
                                          <p:spTgt spid="10"/>
                                        </p:tgtEl>
                                        <p:attrNameLst>
                                          <p:attrName>r</p:attrName>
                                        </p:attrNameLst>
                                      </p:cBhvr>
                                    </p:animRot>
                                  </p:childTnLst>
                                </p:cTn>
                              </p:par>
                            </p:childTnLst>
                          </p:cTn>
                        </p:par>
                        <p:par>
                          <p:cTn id="25" fill="hold">
                            <p:stCondLst>
                              <p:cond delay="5809"/>
                            </p:stCondLst>
                            <p:childTnLst>
                              <p:par>
                                <p:cTn id="26" presetID="22" presetClass="entr" presetSubtype="4" fill="hold" grpId="0" nodeType="after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wipe(down)">
                                      <p:cBhvr>
                                        <p:cTn id="28" dur="1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P spid="10" grpId="0"/>
      <p:bldP spid="10" grpId="1"/>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3"/>
          <p:cNvSpPr txBox="1"/>
          <p:nvPr/>
        </p:nvSpPr>
        <p:spPr>
          <a:xfrm>
            <a:off x="1298590" y="4964172"/>
            <a:ext cx="3836550" cy="1322554"/>
          </a:xfrm>
          <a:prstGeom prst="rect">
            <a:avLst/>
          </a:prstGeom>
          <a:noFill/>
        </p:spPr>
        <p:txBody>
          <a:bodyPr wrap="square" lIns="91357" tIns="45678" rIns="91357" bIns="45678" rtlCol="0">
            <a:spAutoFit/>
          </a:bodyPr>
          <a:lstStyle/>
          <a:p>
            <a:pPr algn="r"/>
            <a:r>
              <a:rPr lang="zh-CN" altLang="en-US" sz="7995" b="1" dirty="0">
                <a:solidFill>
                  <a:srgbClr val="E46C0A"/>
                </a:solidFill>
                <a:latin typeface="+mn-ea"/>
                <a:cs typeface="+mn-ea"/>
              </a:rPr>
              <a:t>团队</a:t>
            </a:r>
            <a:endParaRPr lang="en-US" sz="8795" b="1" dirty="0">
              <a:solidFill>
                <a:srgbClr val="E46C0A"/>
              </a:solidFill>
              <a:latin typeface="+mn-ea"/>
              <a:cs typeface="+mn-ea"/>
            </a:endParaRPr>
          </a:p>
        </p:txBody>
      </p:sp>
      <p:sp>
        <p:nvSpPr>
          <p:cNvPr id="35" name="TextBox 34"/>
          <p:cNvSpPr txBox="1"/>
          <p:nvPr/>
        </p:nvSpPr>
        <p:spPr>
          <a:xfrm>
            <a:off x="1466405" y="4004690"/>
            <a:ext cx="3836550" cy="1199523"/>
          </a:xfrm>
          <a:prstGeom prst="rect">
            <a:avLst/>
          </a:prstGeom>
          <a:noFill/>
        </p:spPr>
        <p:txBody>
          <a:bodyPr wrap="square" lIns="91357" tIns="45678" rIns="91357" bIns="45678" rtlCol="0">
            <a:spAutoFit/>
          </a:bodyPr>
          <a:lstStyle/>
          <a:p>
            <a:r>
              <a:rPr lang="zh-CN" altLang="en-US" sz="7195" b="1" dirty="0">
                <a:solidFill>
                  <a:schemeClr val="tx1">
                    <a:lumMod val="50000"/>
                    <a:lumOff val="50000"/>
                  </a:schemeClr>
                </a:solidFill>
                <a:latin typeface="+mn-ea"/>
                <a:cs typeface="+mn-ea"/>
              </a:rPr>
              <a:t>我们的</a:t>
            </a:r>
            <a:endParaRPr lang="en-US" sz="7195" b="1" dirty="0">
              <a:solidFill>
                <a:schemeClr val="tx1">
                  <a:lumMod val="50000"/>
                  <a:lumOff val="50000"/>
                </a:schemeClr>
              </a:solidFill>
              <a:latin typeface="+mn-ea"/>
              <a:cs typeface="+mn-ea"/>
            </a:endParaRPr>
          </a:p>
        </p:txBody>
      </p:sp>
      <p:sp>
        <p:nvSpPr>
          <p:cNvPr id="36" name="Rectangle 25"/>
          <p:cNvSpPr/>
          <p:nvPr/>
        </p:nvSpPr>
        <p:spPr>
          <a:xfrm>
            <a:off x="5476445" y="5645722"/>
            <a:ext cx="4023006" cy="461341"/>
          </a:xfrm>
          <a:prstGeom prst="rect">
            <a:avLst/>
          </a:prstGeom>
        </p:spPr>
        <p:txBody>
          <a:bodyPr wrap="square" lIns="91357" tIns="45678" rIns="91357" bIns="45678">
            <a:spAutoFit/>
          </a:bodyPr>
          <a:lstStyle/>
          <a:p>
            <a:r>
              <a:rPr lang="zh-CN" altLang="en-US" sz="1200" dirty="0">
                <a:solidFill>
                  <a:schemeClr val="tx1">
                    <a:lumMod val="85000"/>
                    <a:lumOff val="15000"/>
                  </a:schemeClr>
                </a:solidFill>
                <a:latin typeface="+mn-ea"/>
                <a:cs typeface="+mn-ea"/>
              </a:rPr>
              <a:t>“此处添加详细文本描述，建议与标题相关并符合整体语言风格，语言描述尽量简洁生动。</a:t>
            </a:r>
            <a:endParaRPr lang="zh-CN" altLang="en-US" sz="1200" dirty="0">
              <a:solidFill>
                <a:schemeClr val="tx1">
                  <a:lumMod val="85000"/>
                  <a:lumOff val="15000"/>
                </a:schemeClr>
              </a:solidFill>
              <a:latin typeface="+mn-ea"/>
              <a:cs typeface="+mn-ea"/>
            </a:endParaRPr>
          </a:p>
        </p:txBody>
      </p:sp>
      <p:sp>
        <p:nvSpPr>
          <p:cNvPr id="37" name="Flowchart: Data 26"/>
          <p:cNvSpPr/>
          <p:nvPr/>
        </p:nvSpPr>
        <p:spPr>
          <a:xfrm>
            <a:off x="8951498" y="2978150"/>
            <a:ext cx="1828442" cy="1494220"/>
          </a:xfrm>
          <a:prstGeom prst="flowChartInputOutput">
            <a:avLst/>
          </a:prstGeom>
          <a:blipFill>
            <a:blip r:embed="rId1" cstate="print">
              <a:grayscl/>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800">
              <a:latin typeface="+mn-ea"/>
              <a:cs typeface="+mn-ea"/>
            </a:endParaRPr>
          </a:p>
        </p:txBody>
      </p:sp>
      <p:sp>
        <p:nvSpPr>
          <p:cNvPr id="38" name="Flowchart: Data 27"/>
          <p:cNvSpPr/>
          <p:nvPr/>
        </p:nvSpPr>
        <p:spPr>
          <a:xfrm>
            <a:off x="6118944" y="2231041"/>
            <a:ext cx="1828442" cy="1494220"/>
          </a:xfrm>
          <a:prstGeom prst="flowChartInputOutput">
            <a:avLst/>
          </a:prstGeom>
          <a:blipFill>
            <a:blip r:embed="rId2" cstate="print">
              <a:grayscl/>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800">
              <a:latin typeface="+mn-ea"/>
              <a:cs typeface="+mn-ea"/>
            </a:endParaRPr>
          </a:p>
        </p:txBody>
      </p:sp>
      <p:sp>
        <p:nvSpPr>
          <p:cNvPr id="41" name="Flowchart: Data 29"/>
          <p:cNvSpPr/>
          <p:nvPr/>
        </p:nvSpPr>
        <p:spPr>
          <a:xfrm>
            <a:off x="6494565" y="705742"/>
            <a:ext cx="1828442" cy="1494220"/>
          </a:xfrm>
          <a:prstGeom prst="flowChartInputOutput">
            <a:avLst/>
          </a:prstGeom>
          <a:blipFill>
            <a:blip r:embed="rId3" cstate="print">
              <a:grayscl/>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800">
              <a:latin typeface="+mn-ea"/>
              <a:cs typeface="+mn-ea"/>
            </a:endParaRPr>
          </a:p>
        </p:txBody>
      </p:sp>
      <p:sp>
        <p:nvSpPr>
          <p:cNvPr id="45" name="Flowchart: Data 30"/>
          <p:cNvSpPr/>
          <p:nvPr/>
        </p:nvSpPr>
        <p:spPr>
          <a:xfrm>
            <a:off x="5756778" y="3769624"/>
            <a:ext cx="1828442" cy="1494220"/>
          </a:xfrm>
          <a:prstGeom prst="flowChartInputOutput">
            <a:avLst/>
          </a:prstGeom>
          <a:blipFill>
            <a:blip r:embed="rId4" cstate="print">
              <a:grayscl/>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800">
              <a:latin typeface="+mn-ea"/>
              <a:cs typeface="+mn-ea"/>
            </a:endParaRPr>
          </a:p>
        </p:txBody>
      </p:sp>
      <p:sp>
        <p:nvSpPr>
          <p:cNvPr id="46" name="Flowchart: Data 31"/>
          <p:cNvSpPr/>
          <p:nvPr/>
        </p:nvSpPr>
        <p:spPr>
          <a:xfrm>
            <a:off x="7994625" y="705742"/>
            <a:ext cx="1828442" cy="1494220"/>
          </a:xfrm>
          <a:prstGeom prst="flowChartInputOutput">
            <a:avLst/>
          </a:prstGeom>
          <a:blipFill>
            <a:blip r:embed="rId5" cstate="print">
              <a:grayscl/>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800">
              <a:latin typeface="+mn-ea"/>
              <a:cs typeface="+mn-ea"/>
            </a:endParaRPr>
          </a:p>
        </p:txBody>
      </p:sp>
      <p:sp>
        <p:nvSpPr>
          <p:cNvPr id="47" name="Flowchart: Data 32"/>
          <p:cNvSpPr/>
          <p:nvPr/>
        </p:nvSpPr>
        <p:spPr>
          <a:xfrm>
            <a:off x="7629734" y="2231041"/>
            <a:ext cx="1828442" cy="1494220"/>
          </a:xfrm>
          <a:prstGeom prst="flowChartInputOutput">
            <a:avLst/>
          </a:prstGeom>
          <a:blipFill>
            <a:blip r:embed="rId6" cstate="print">
              <a:grayscl/>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800">
              <a:latin typeface="+mn-ea"/>
              <a:cs typeface="+mn-ea"/>
            </a:endParaRPr>
          </a:p>
        </p:txBody>
      </p:sp>
      <p:sp>
        <p:nvSpPr>
          <p:cNvPr id="48" name="Flowchart: Data 33"/>
          <p:cNvSpPr/>
          <p:nvPr/>
        </p:nvSpPr>
        <p:spPr>
          <a:xfrm>
            <a:off x="4608153" y="2231041"/>
            <a:ext cx="1828442" cy="1494220"/>
          </a:xfrm>
          <a:prstGeom prst="flowChartInputOutput">
            <a:avLst/>
          </a:prstGeom>
          <a:blipFill>
            <a:blip r:embed="rId7" cstate="print">
              <a:grayscl/>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800">
              <a:latin typeface="+mn-ea"/>
              <a:cs typeface="+mn-ea"/>
            </a:endParaRPr>
          </a:p>
        </p:txBody>
      </p:sp>
      <p:sp>
        <p:nvSpPr>
          <p:cNvPr id="49" name="Flowchart: Data 34"/>
          <p:cNvSpPr/>
          <p:nvPr/>
        </p:nvSpPr>
        <p:spPr>
          <a:xfrm>
            <a:off x="1613371" y="1035627"/>
            <a:ext cx="3603638" cy="2944927"/>
          </a:xfrm>
          <a:prstGeom prst="flowChartInputOutput">
            <a:avLst/>
          </a:prstGeom>
          <a:blipFill>
            <a:blip r:embed="rId8" cstate="print">
              <a:grayscl/>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800">
              <a:latin typeface="+mn-ea"/>
              <a:cs typeface="+mn-ea"/>
            </a:endParaRPr>
          </a:p>
        </p:txBody>
      </p:sp>
      <p:sp>
        <p:nvSpPr>
          <p:cNvPr id="13"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14" name="文本框 13"/>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750" fill="hold"/>
                                        <p:tgtEl>
                                          <p:spTgt spid="49"/>
                                        </p:tgtEl>
                                        <p:attrNameLst>
                                          <p:attrName>ppt_x</p:attrName>
                                        </p:attrNameLst>
                                      </p:cBhvr>
                                      <p:tavLst>
                                        <p:tav tm="0">
                                          <p:val>
                                            <p:strVal val="#ppt_x"/>
                                          </p:val>
                                        </p:tav>
                                        <p:tav tm="100000">
                                          <p:val>
                                            <p:strVal val="#ppt_x"/>
                                          </p:val>
                                        </p:tav>
                                      </p:tavLst>
                                    </p:anim>
                                    <p:anim calcmode="lin" valueType="num">
                                      <p:cBhvr additive="base">
                                        <p:cTn id="8" dur="750" fill="hold"/>
                                        <p:tgtEl>
                                          <p:spTgt spid="49"/>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48"/>
                                        </p:tgtEl>
                                        <p:attrNameLst>
                                          <p:attrName>style.visibility</p:attrName>
                                        </p:attrNameLst>
                                      </p:cBhvr>
                                      <p:to>
                                        <p:strVal val="visible"/>
                                      </p:to>
                                    </p:set>
                                    <p:anim calcmode="lin" valueType="num">
                                      <p:cBhvr additive="base">
                                        <p:cTn id="11" dur="750" fill="hold"/>
                                        <p:tgtEl>
                                          <p:spTgt spid="48"/>
                                        </p:tgtEl>
                                        <p:attrNameLst>
                                          <p:attrName>ppt_x</p:attrName>
                                        </p:attrNameLst>
                                      </p:cBhvr>
                                      <p:tavLst>
                                        <p:tav tm="0">
                                          <p:val>
                                            <p:strVal val="#ppt_x"/>
                                          </p:val>
                                        </p:tav>
                                        <p:tav tm="100000">
                                          <p:val>
                                            <p:strVal val="#ppt_x"/>
                                          </p:val>
                                        </p:tav>
                                      </p:tavLst>
                                    </p:anim>
                                    <p:anim calcmode="lin" valueType="num">
                                      <p:cBhvr additive="base">
                                        <p:cTn id="12" dur="750" fill="hold"/>
                                        <p:tgtEl>
                                          <p:spTgt spid="48"/>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41"/>
                                        </p:tgtEl>
                                        <p:attrNameLst>
                                          <p:attrName>style.visibility</p:attrName>
                                        </p:attrNameLst>
                                      </p:cBhvr>
                                      <p:to>
                                        <p:strVal val="visible"/>
                                      </p:to>
                                    </p:set>
                                    <p:anim calcmode="lin" valueType="num">
                                      <p:cBhvr additive="base">
                                        <p:cTn id="15" dur="750" fill="hold"/>
                                        <p:tgtEl>
                                          <p:spTgt spid="41"/>
                                        </p:tgtEl>
                                        <p:attrNameLst>
                                          <p:attrName>ppt_x</p:attrName>
                                        </p:attrNameLst>
                                      </p:cBhvr>
                                      <p:tavLst>
                                        <p:tav tm="0">
                                          <p:val>
                                            <p:strVal val="#ppt_x"/>
                                          </p:val>
                                        </p:tav>
                                        <p:tav tm="100000">
                                          <p:val>
                                            <p:strVal val="#ppt_x"/>
                                          </p:val>
                                        </p:tav>
                                      </p:tavLst>
                                    </p:anim>
                                    <p:anim calcmode="lin" valueType="num">
                                      <p:cBhvr additive="base">
                                        <p:cTn id="16" dur="750" fill="hold"/>
                                        <p:tgtEl>
                                          <p:spTgt spid="41"/>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750"/>
                                  </p:stCondLst>
                                  <p:childTnLst>
                                    <p:set>
                                      <p:cBhvr>
                                        <p:cTn id="18" dur="1" fill="hold">
                                          <p:stCondLst>
                                            <p:cond delay="0"/>
                                          </p:stCondLst>
                                        </p:cTn>
                                        <p:tgtEl>
                                          <p:spTgt spid="46"/>
                                        </p:tgtEl>
                                        <p:attrNameLst>
                                          <p:attrName>style.visibility</p:attrName>
                                        </p:attrNameLst>
                                      </p:cBhvr>
                                      <p:to>
                                        <p:strVal val="visible"/>
                                      </p:to>
                                    </p:set>
                                    <p:anim calcmode="lin" valueType="num">
                                      <p:cBhvr additive="base">
                                        <p:cTn id="19" dur="750" fill="hold"/>
                                        <p:tgtEl>
                                          <p:spTgt spid="46"/>
                                        </p:tgtEl>
                                        <p:attrNameLst>
                                          <p:attrName>ppt_x</p:attrName>
                                        </p:attrNameLst>
                                      </p:cBhvr>
                                      <p:tavLst>
                                        <p:tav tm="0">
                                          <p:val>
                                            <p:strVal val="#ppt_x"/>
                                          </p:val>
                                        </p:tav>
                                        <p:tav tm="100000">
                                          <p:val>
                                            <p:strVal val="#ppt_x"/>
                                          </p:val>
                                        </p:tav>
                                      </p:tavLst>
                                    </p:anim>
                                    <p:anim calcmode="lin" valueType="num">
                                      <p:cBhvr additive="base">
                                        <p:cTn id="20" dur="750" fill="hold"/>
                                        <p:tgtEl>
                                          <p:spTgt spid="46"/>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250"/>
                                  </p:stCondLst>
                                  <p:childTnLst>
                                    <p:set>
                                      <p:cBhvr>
                                        <p:cTn id="22" dur="1" fill="hold">
                                          <p:stCondLst>
                                            <p:cond delay="0"/>
                                          </p:stCondLst>
                                        </p:cTn>
                                        <p:tgtEl>
                                          <p:spTgt spid="37"/>
                                        </p:tgtEl>
                                        <p:attrNameLst>
                                          <p:attrName>style.visibility</p:attrName>
                                        </p:attrNameLst>
                                      </p:cBhvr>
                                      <p:to>
                                        <p:strVal val="visible"/>
                                      </p:to>
                                    </p:set>
                                    <p:anim calcmode="lin" valueType="num">
                                      <p:cBhvr additive="base">
                                        <p:cTn id="23" dur="750" fill="hold"/>
                                        <p:tgtEl>
                                          <p:spTgt spid="37"/>
                                        </p:tgtEl>
                                        <p:attrNameLst>
                                          <p:attrName>ppt_x</p:attrName>
                                        </p:attrNameLst>
                                      </p:cBhvr>
                                      <p:tavLst>
                                        <p:tav tm="0">
                                          <p:val>
                                            <p:strVal val="#ppt_x"/>
                                          </p:val>
                                        </p:tav>
                                        <p:tav tm="100000">
                                          <p:val>
                                            <p:strVal val="#ppt_x"/>
                                          </p:val>
                                        </p:tav>
                                      </p:tavLst>
                                    </p:anim>
                                    <p:anim calcmode="lin" valueType="num">
                                      <p:cBhvr additive="base">
                                        <p:cTn id="24" dur="750" fill="hold"/>
                                        <p:tgtEl>
                                          <p:spTgt spid="37"/>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500"/>
                                  </p:stCondLst>
                                  <p:childTnLst>
                                    <p:set>
                                      <p:cBhvr>
                                        <p:cTn id="26" dur="1" fill="hold">
                                          <p:stCondLst>
                                            <p:cond delay="0"/>
                                          </p:stCondLst>
                                        </p:cTn>
                                        <p:tgtEl>
                                          <p:spTgt spid="47"/>
                                        </p:tgtEl>
                                        <p:attrNameLst>
                                          <p:attrName>style.visibility</p:attrName>
                                        </p:attrNameLst>
                                      </p:cBhvr>
                                      <p:to>
                                        <p:strVal val="visible"/>
                                      </p:to>
                                    </p:set>
                                    <p:anim calcmode="lin" valueType="num">
                                      <p:cBhvr additive="base">
                                        <p:cTn id="27" dur="750" fill="hold"/>
                                        <p:tgtEl>
                                          <p:spTgt spid="47"/>
                                        </p:tgtEl>
                                        <p:attrNameLst>
                                          <p:attrName>ppt_x</p:attrName>
                                        </p:attrNameLst>
                                      </p:cBhvr>
                                      <p:tavLst>
                                        <p:tav tm="0">
                                          <p:val>
                                            <p:strVal val="#ppt_x"/>
                                          </p:val>
                                        </p:tav>
                                        <p:tav tm="100000">
                                          <p:val>
                                            <p:strVal val="#ppt_x"/>
                                          </p:val>
                                        </p:tav>
                                      </p:tavLst>
                                    </p:anim>
                                    <p:anim calcmode="lin" valueType="num">
                                      <p:cBhvr additive="base">
                                        <p:cTn id="28" dur="750" fill="hold"/>
                                        <p:tgtEl>
                                          <p:spTgt spid="47"/>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750"/>
                                  </p:stCondLst>
                                  <p:childTnLst>
                                    <p:set>
                                      <p:cBhvr>
                                        <p:cTn id="30" dur="1" fill="hold">
                                          <p:stCondLst>
                                            <p:cond delay="0"/>
                                          </p:stCondLst>
                                        </p:cTn>
                                        <p:tgtEl>
                                          <p:spTgt spid="38"/>
                                        </p:tgtEl>
                                        <p:attrNameLst>
                                          <p:attrName>style.visibility</p:attrName>
                                        </p:attrNameLst>
                                      </p:cBhvr>
                                      <p:to>
                                        <p:strVal val="visible"/>
                                      </p:to>
                                    </p:set>
                                    <p:anim calcmode="lin" valueType="num">
                                      <p:cBhvr additive="base">
                                        <p:cTn id="31" dur="750" fill="hold"/>
                                        <p:tgtEl>
                                          <p:spTgt spid="38"/>
                                        </p:tgtEl>
                                        <p:attrNameLst>
                                          <p:attrName>ppt_x</p:attrName>
                                        </p:attrNameLst>
                                      </p:cBhvr>
                                      <p:tavLst>
                                        <p:tav tm="0">
                                          <p:val>
                                            <p:strVal val="#ppt_x"/>
                                          </p:val>
                                        </p:tav>
                                        <p:tav tm="100000">
                                          <p:val>
                                            <p:strVal val="#ppt_x"/>
                                          </p:val>
                                        </p:tav>
                                      </p:tavLst>
                                    </p:anim>
                                    <p:anim calcmode="lin" valueType="num">
                                      <p:cBhvr additive="base">
                                        <p:cTn id="32" dur="750" fill="hold"/>
                                        <p:tgtEl>
                                          <p:spTgt spid="38"/>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2000"/>
                                  </p:stCondLst>
                                  <p:childTnLst>
                                    <p:set>
                                      <p:cBhvr>
                                        <p:cTn id="34" dur="1" fill="hold">
                                          <p:stCondLst>
                                            <p:cond delay="0"/>
                                          </p:stCondLst>
                                        </p:cTn>
                                        <p:tgtEl>
                                          <p:spTgt spid="45"/>
                                        </p:tgtEl>
                                        <p:attrNameLst>
                                          <p:attrName>style.visibility</p:attrName>
                                        </p:attrNameLst>
                                      </p:cBhvr>
                                      <p:to>
                                        <p:strVal val="visible"/>
                                      </p:to>
                                    </p:set>
                                    <p:anim calcmode="lin" valueType="num">
                                      <p:cBhvr additive="base">
                                        <p:cTn id="35" dur="750" fill="hold"/>
                                        <p:tgtEl>
                                          <p:spTgt spid="45"/>
                                        </p:tgtEl>
                                        <p:attrNameLst>
                                          <p:attrName>ppt_x</p:attrName>
                                        </p:attrNameLst>
                                      </p:cBhvr>
                                      <p:tavLst>
                                        <p:tav tm="0">
                                          <p:val>
                                            <p:strVal val="#ppt_x"/>
                                          </p:val>
                                        </p:tav>
                                        <p:tav tm="100000">
                                          <p:val>
                                            <p:strVal val="#ppt_x"/>
                                          </p:val>
                                        </p:tav>
                                      </p:tavLst>
                                    </p:anim>
                                    <p:anim calcmode="lin" valueType="num">
                                      <p:cBhvr additive="base">
                                        <p:cTn id="36" dur="750" fill="hold"/>
                                        <p:tgtEl>
                                          <p:spTgt spid="45"/>
                                        </p:tgtEl>
                                        <p:attrNameLst>
                                          <p:attrName>ppt_y</p:attrName>
                                        </p:attrNameLst>
                                      </p:cBhvr>
                                      <p:tavLst>
                                        <p:tav tm="0">
                                          <p:val>
                                            <p:strVal val="1+#ppt_h/2"/>
                                          </p:val>
                                        </p:tav>
                                        <p:tav tm="100000">
                                          <p:val>
                                            <p:strVal val="#ppt_y"/>
                                          </p:val>
                                        </p:tav>
                                      </p:tavLst>
                                    </p:anim>
                                  </p:childTnLst>
                                </p:cTn>
                              </p:par>
                            </p:childTnLst>
                          </p:cTn>
                        </p:par>
                        <p:par>
                          <p:cTn id="37" fill="hold">
                            <p:stCondLst>
                              <p:cond delay="1000"/>
                            </p:stCondLst>
                            <p:childTnLst>
                              <p:par>
                                <p:cTn id="38" presetID="2" presetClass="entr" presetSubtype="8" decel="100000" fill="hold" grpId="0" nodeType="afterEffect">
                                  <p:stCondLst>
                                    <p:cond delay="0"/>
                                  </p:stCondLst>
                                  <p:childTnLst>
                                    <p:set>
                                      <p:cBhvr>
                                        <p:cTn id="39" dur="1" fill="hold">
                                          <p:stCondLst>
                                            <p:cond delay="0"/>
                                          </p:stCondLst>
                                        </p:cTn>
                                        <p:tgtEl>
                                          <p:spTgt spid="35"/>
                                        </p:tgtEl>
                                        <p:attrNameLst>
                                          <p:attrName>style.visibility</p:attrName>
                                        </p:attrNameLst>
                                      </p:cBhvr>
                                      <p:to>
                                        <p:strVal val="visible"/>
                                      </p:to>
                                    </p:set>
                                    <p:anim calcmode="lin" valueType="num">
                                      <p:cBhvr additive="base">
                                        <p:cTn id="40" dur="750" fill="hold"/>
                                        <p:tgtEl>
                                          <p:spTgt spid="35"/>
                                        </p:tgtEl>
                                        <p:attrNameLst>
                                          <p:attrName>ppt_x</p:attrName>
                                        </p:attrNameLst>
                                      </p:cBhvr>
                                      <p:tavLst>
                                        <p:tav tm="0">
                                          <p:val>
                                            <p:strVal val="0-#ppt_w/2"/>
                                          </p:val>
                                        </p:tav>
                                        <p:tav tm="100000">
                                          <p:val>
                                            <p:strVal val="#ppt_x"/>
                                          </p:val>
                                        </p:tav>
                                      </p:tavLst>
                                    </p:anim>
                                    <p:anim calcmode="lin" valueType="num">
                                      <p:cBhvr additive="base">
                                        <p:cTn id="41" dur="750" fill="hold"/>
                                        <p:tgtEl>
                                          <p:spTgt spid="35"/>
                                        </p:tgtEl>
                                        <p:attrNameLst>
                                          <p:attrName>ppt_y</p:attrName>
                                        </p:attrNameLst>
                                      </p:cBhvr>
                                      <p:tavLst>
                                        <p:tav tm="0">
                                          <p:val>
                                            <p:strVal val="#ppt_y"/>
                                          </p:val>
                                        </p:tav>
                                        <p:tav tm="100000">
                                          <p:val>
                                            <p:strVal val="#ppt_y"/>
                                          </p:val>
                                        </p:tav>
                                      </p:tavLst>
                                    </p:anim>
                                  </p:childTnLst>
                                </p:cTn>
                              </p:par>
                              <p:par>
                                <p:cTn id="42" presetID="2" presetClass="entr" presetSubtype="8" decel="100000" fill="hold" grpId="0" nodeType="withEffect">
                                  <p:stCondLst>
                                    <p:cond delay="250"/>
                                  </p:stCondLst>
                                  <p:childTnLst>
                                    <p:set>
                                      <p:cBhvr>
                                        <p:cTn id="43" dur="1" fill="hold">
                                          <p:stCondLst>
                                            <p:cond delay="0"/>
                                          </p:stCondLst>
                                        </p:cTn>
                                        <p:tgtEl>
                                          <p:spTgt spid="34"/>
                                        </p:tgtEl>
                                        <p:attrNameLst>
                                          <p:attrName>style.visibility</p:attrName>
                                        </p:attrNameLst>
                                      </p:cBhvr>
                                      <p:to>
                                        <p:strVal val="visible"/>
                                      </p:to>
                                    </p:set>
                                    <p:anim calcmode="lin" valueType="num">
                                      <p:cBhvr additive="base">
                                        <p:cTn id="44" dur="750" fill="hold"/>
                                        <p:tgtEl>
                                          <p:spTgt spid="34"/>
                                        </p:tgtEl>
                                        <p:attrNameLst>
                                          <p:attrName>ppt_x</p:attrName>
                                        </p:attrNameLst>
                                      </p:cBhvr>
                                      <p:tavLst>
                                        <p:tav tm="0">
                                          <p:val>
                                            <p:strVal val="0-#ppt_w/2"/>
                                          </p:val>
                                        </p:tav>
                                        <p:tav tm="100000">
                                          <p:val>
                                            <p:strVal val="#ppt_x"/>
                                          </p:val>
                                        </p:tav>
                                      </p:tavLst>
                                    </p:anim>
                                    <p:anim calcmode="lin" valueType="num">
                                      <p:cBhvr additive="base">
                                        <p:cTn id="45" dur="750" fill="hold"/>
                                        <p:tgtEl>
                                          <p:spTgt spid="34"/>
                                        </p:tgtEl>
                                        <p:attrNameLst>
                                          <p:attrName>ppt_y</p:attrName>
                                        </p:attrNameLst>
                                      </p:cBhvr>
                                      <p:tavLst>
                                        <p:tav tm="0">
                                          <p:val>
                                            <p:strVal val="#ppt_y"/>
                                          </p:val>
                                        </p:tav>
                                        <p:tav tm="100000">
                                          <p:val>
                                            <p:strVal val="#ppt_y"/>
                                          </p:val>
                                        </p:tav>
                                      </p:tavLst>
                                    </p:anim>
                                  </p:childTnLst>
                                </p:cTn>
                              </p:par>
                              <p:par>
                                <p:cTn id="46" presetID="2" presetClass="entr" presetSubtype="4" decel="100000" fill="hold" grpId="0" nodeType="withEffect">
                                  <p:stCondLst>
                                    <p:cond delay="500"/>
                                  </p:stCondLst>
                                  <p:childTnLst>
                                    <p:set>
                                      <p:cBhvr>
                                        <p:cTn id="47" dur="1" fill="hold">
                                          <p:stCondLst>
                                            <p:cond delay="0"/>
                                          </p:stCondLst>
                                        </p:cTn>
                                        <p:tgtEl>
                                          <p:spTgt spid="36"/>
                                        </p:tgtEl>
                                        <p:attrNameLst>
                                          <p:attrName>style.visibility</p:attrName>
                                        </p:attrNameLst>
                                      </p:cBhvr>
                                      <p:to>
                                        <p:strVal val="visible"/>
                                      </p:to>
                                    </p:set>
                                    <p:anim calcmode="lin" valueType="num">
                                      <p:cBhvr additive="base">
                                        <p:cTn id="48" dur="750" fill="hold"/>
                                        <p:tgtEl>
                                          <p:spTgt spid="36"/>
                                        </p:tgtEl>
                                        <p:attrNameLst>
                                          <p:attrName>ppt_x</p:attrName>
                                        </p:attrNameLst>
                                      </p:cBhvr>
                                      <p:tavLst>
                                        <p:tav tm="0">
                                          <p:val>
                                            <p:strVal val="#ppt_x"/>
                                          </p:val>
                                        </p:tav>
                                        <p:tav tm="100000">
                                          <p:val>
                                            <p:strVal val="#ppt_x"/>
                                          </p:val>
                                        </p:tav>
                                      </p:tavLst>
                                    </p:anim>
                                    <p:anim calcmode="lin" valueType="num">
                                      <p:cBhvr additive="base">
                                        <p:cTn id="49" dur="750" fill="hold"/>
                                        <p:tgtEl>
                                          <p:spTgt spid="36"/>
                                        </p:tgtEl>
                                        <p:attrNameLst>
                                          <p:attrName>ppt_y</p:attrName>
                                        </p:attrNameLst>
                                      </p:cBhvr>
                                      <p:tavLst>
                                        <p:tav tm="0">
                                          <p:val>
                                            <p:strVal val="1+#ppt_h/2"/>
                                          </p:val>
                                        </p:tav>
                                        <p:tav tm="100000">
                                          <p:val>
                                            <p:strVal val="#ppt_y"/>
                                          </p:val>
                                        </p:tav>
                                      </p:tavLst>
                                    </p:anim>
                                  </p:childTnLst>
                                </p:cTn>
                              </p:par>
                            </p:childTnLst>
                          </p:cTn>
                        </p:par>
                        <p:par>
                          <p:cTn id="50" fill="hold">
                            <p:stCondLst>
                              <p:cond delay="2000"/>
                            </p:stCondLst>
                            <p:childTnLst>
                              <p:par>
                                <p:cTn id="51" presetID="22" presetClass="entr" presetSubtype="4" fill="hold" grpId="0" nodeType="after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wipe(down)">
                                      <p:cBhvr>
                                        <p:cTn id="53"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36" grpId="0"/>
      <p:bldP spid="37" grpId="0" animBg="1"/>
      <p:bldP spid="38" grpId="0" animBg="1"/>
      <p:bldP spid="41" grpId="0" animBg="1"/>
      <p:bldP spid="45" grpId="0" animBg="1"/>
      <p:bldP spid="46" grpId="0" animBg="1"/>
      <p:bldP spid="47" grpId="0" animBg="1"/>
      <p:bldP spid="48" grpId="0" animBg="1"/>
      <p:bldP spid="49" grpId="0" animBg="1"/>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p:cNvGrpSpPr/>
          <p:nvPr/>
        </p:nvGrpSpPr>
        <p:grpSpPr>
          <a:xfrm>
            <a:off x="3185111" y="1739535"/>
            <a:ext cx="710015" cy="771343"/>
            <a:chOff x="3185939" y="1739094"/>
            <a:chExt cx="710200" cy="771543"/>
          </a:xfrm>
        </p:grpSpPr>
        <p:sp>
          <p:nvSpPr>
            <p:cNvPr id="73" name="任意多边形 72"/>
            <p:cNvSpPr/>
            <p:nvPr/>
          </p:nvSpPr>
          <p:spPr>
            <a:xfrm rot="18875383">
              <a:off x="3153448" y="2140008"/>
              <a:ext cx="403120" cy="338138"/>
            </a:xfrm>
            <a:custGeom>
              <a:avLst/>
              <a:gdLst>
                <a:gd name="connsiteX0" fmla="*/ 0 w 284318"/>
                <a:gd name="connsiteY0" fmla="*/ 0 h 164768"/>
                <a:gd name="connsiteX1" fmla="*/ 7916 w 284318"/>
                <a:gd name="connsiteY1" fmla="*/ 0 h 164768"/>
                <a:gd name="connsiteX2" fmla="*/ 36481 w 284318"/>
                <a:gd name="connsiteY2" fmla="*/ 19259 h 164768"/>
                <a:gd name="connsiteX3" fmla="*/ 142159 w 284318"/>
                <a:gd name="connsiteY3" fmla="*/ 40594 h 164768"/>
                <a:gd name="connsiteX4" fmla="*/ 247838 w 284318"/>
                <a:gd name="connsiteY4" fmla="*/ 19259 h 164768"/>
                <a:gd name="connsiteX5" fmla="*/ 276402 w 284318"/>
                <a:gd name="connsiteY5" fmla="*/ 0 h 164768"/>
                <a:gd name="connsiteX6" fmla="*/ 284318 w 284318"/>
                <a:gd name="connsiteY6" fmla="*/ 0 h 164768"/>
                <a:gd name="connsiteX7" fmla="*/ 284318 w 284318"/>
                <a:gd name="connsiteY7" fmla="*/ 164768 h 164768"/>
                <a:gd name="connsiteX8" fmla="*/ 271691 w 284318"/>
                <a:gd name="connsiteY8" fmla="*/ 164768 h 164768"/>
                <a:gd name="connsiteX9" fmla="*/ 247838 w 284318"/>
                <a:gd name="connsiteY9" fmla="*/ 148686 h 164768"/>
                <a:gd name="connsiteX10" fmla="*/ 142159 w 284318"/>
                <a:gd name="connsiteY10" fmla="*/ 127350 h 164768"/>
                <a:gd name="connsiteX11" fmla="*/ 36481 w 284318"/>
                <a:gd name="connsiteY11" fmla="*/ 148686 h 164768"/>
                <a:gd name="connsiteX12" fmla="*/ 12627 w 284318"/>
                <a:gd name="connsiteY12" fmla="*/ 164768 h 164768"/>
                <a:gd name="connsiteX13" fmla="*/ 0 w 284318"/>
                <a:gd name="connsiteY13" fmla="*/ 164768 h 164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4318" h="164768">
                  <a:moveTo>
                    <a:pt x="0" y="0"/>
                  </a:moveTo>
                  <a:lnTo>
                    <a:pt x="7916" y="0"/>
                  </a:lnTo>
                  <a:lnTo>
                    <a:pt x="36481" y="19259"/>
                  </a:lnTo>
                  <a:cubicBezTo>
                    <a:pt x="68962" y="32997"/>
                    <a:pt x="104673" y="40594"/>
                    <a:pt x="142159" y="40594"/>
                  </a:cubicBezTo>
                  <a:cubicBezTo>
                    <a:pt x="179645" y="40594"/>
                    <a:pt x="215356" y="32997"/>
                    <a:pt x="247838" y="19259"/>
                  </a:cubicBezTo>
                  <a:lnTo>
                    <a:pt x="276402" y="0"/>
                  </a:lnTo>
                  <a:lnTo>
                    <a:pt x="284318" y="0"/>
                  </a:lnTo>
                  <a:lnTo>
                    <a:pt x="284318" y="164768"/>
                  </a:lnTo>
                  <a:lnTo>
                    <a:pt x="271691" y="164768"/>
                  </a:lnTo>
                  <a:lnTo>
                    <a:pt x="247838" y="148686"/>
                  </a:lnTo>
                  <a:cubicBezTo>
                    <a:pt x="215356" y="134947"/>
                    <a:pt x="179645" y="127350"/>
                    <a:pt x="142159" y="127350"/>
                  </a:cubicBezTo>
                  <a:cubicBezTo>
                    <a:pt x="104673" y="127350"/>
                    <a:pt x="68962" y="134947"/>
                    <a:pt x="36481" y="148686"/>
                  </a:cubicBezTo>
                  <a:lnTo>
                    <a:pt x="12627" y="164768"/>
                  </a:lnTo>
                  <a:lnTo>
                    <a:pt x="0" y="164768"/>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sz="1350" b="1" dirty="0">
                <a:solidFill>
                  <a:schemeClr val="tx1">
                    <a:lumMod val="65000"/>
                    <a:lumOff val="35000"/>
                  </a:schemeClr>
                </a:solidFill>
                <a:latin typeface="DIN-BoldItalic" pitchFamily="50" charset="0"/>
                <a:cs typeface="+mn-ea"/>
              </a:endParaRPr>
            </a:p>
          </p:txBody>
        </p:sp>
        <p:sp>
          <p:nvSpPr>
            <p:cNvPr id="74" name="椭圆 73"/>
            <p:cNvSpPr/>
            <p:nvPr/>
          </p:nvSpPr>
          <p:spPr>
            <a:xfrm>
              <a:off x="3343511" y="1739094"/>
              <a:ext cx="552628" cy="552628"/>
            </a:xfrm>
            <a:prstGeom prst="ellipse">
              <a:avLst/>
            </a:prstGeom>
            <a:solidFill>
              <a:srgbClr val="E46C0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cs typeface="+mn-ea"/>
              </a:endParaRPr>
            </a:p>
          </p:txBody>
        </p:sp>
        <p:grpSp>
          <p:nvGrpSpPr>
            <p:cNvPr id="75" name="组合 74"/>
            <p:cNvGrpSpPr/>
            <p:nvPr/>
          </p:nvGrpSpPr>
          <p:grpSpPr>
            <a:xfrm>
              <a:off x="3495077" y="1855520"/>
              <a:ext cx="277225" cy="313328"/>
              <a:chOff x="5753100" y="3041650"/>
              <a:chExt cx="682626" cy="771526"/>
            </a:xfrm>
            <a:solidFill>
              <a:srgbClr val="DF53DF"/>
            </a:solidFill>
          </p:grpSpPr>
          <p:sp>
            <p:nvSpPr>
              <p:cNvPr id="76" name="Oval 202"/>
              <p:cNvSpPr>
                <a:spLocks noChangeArrowheads="1"/>
              </p:cNvSpPr>
              <p:nvPr/>
            </p:nvSpPr>
            <p:spPr bwMode="auto">
              <a:xfrm>
                <a:off x="5908674" y="3041650"/>
                <a:ext cx="119062" cy="147638"/>
              </a:xfrm>
              <a:prstGeom prst="ellipse">
                <a:avLst/>
              </a:pr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77" name="Freeform 203"/>
              <p:cNvSpPr/>
              <p:nvPr/>
            </p:nvSpPr>
            <p:spPr bwMode="auto">
              <a:xfrm>
                <a:off x="6103938" y="3413125"/>
                <a:ext cx="46038" cy="84138"/>
              </a:xfrm>
              <a:custGeom>
                <a:avLst/>
                <a:gdLst>
                  <a:gd name="T0" fmla="*/ 2 w 12"/>
                  <a:gd name="T1" fmla="*/ 22 h 22"/>
                  <a:gd name="T2" fmla="*/ 10 w 12"/>
                  <a:gd name="T3" fmla="*/ 22 h 22"/>
                  <a:gd name="T4" fmla="*/ 12 w 12"/>
                  <a:gd name="T5" fmla="*/ 20 h 22"/>
                  <a:gd name="T6" fmla="*/ 12 w 12"/>
                  <a:gd name="T7" fmla="*/ 2 h 22"/>
                  <a:gd name="T8" fmla="*/ 10 w 12"/>
                  <a:gd name="T9" fmla="*/ 0 h 22"/>
                  <a:gd name="T10" fmla="*/ 2 w 12"/>
                  <a:gd name="T11" fmla="*/ 0 h 22"/>
                  <a:gd name="T12" fmla="*/ 0 w 12"/>
                  <a:gd name="T13" fmla="*/ 2 h 22"/>
                  <a:gd name="T14" fmla="*/ 0 w 12"/>
                  <a:gd name="T15" fmla="*/ 20 h 22"/>
                  <a:gd name="T16" fmla="*/ 2 w 1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2">
                    <a:moveTo>
                      <a:pt x="2" y="22"/>
                    </a:moveTo>
                    <a:cubicBezTo>
                      <a:pt x="10" y="22"/>
                      <a:pt x="10" y="22"/>
                      <a:pt x="10" y="22"/>
                    </a:cubicBezTo>
                    <a:cubicBezTo>
                      <a:pt x="11" y="22"/>
                      <a:pt x="12" y="21"/>
                      <a:pt x="12" y="20"/>
                    </a:cubicBezTo>
                    <a:cubicBezTo>
                      <a:pt x="12" y="2"/>
                      <a:pt x="12" y="2"/>
                      <a:pt x="12" y="2"/>
                    </a:cubicBezTo>
                    <a:cubicBezTo>
                      <a:pt x="12" y="1"/>
                      <a:pt x="11" y="0"/>
                      <a:pt x="10" y="0"/>
                    </a:cubicBezTo>
                    <a:cubicBezTo>
                      <a:pt x="2" y="0"/>
                      <a:pt x="2" y="0"/>
                      <a:pt x="2" y="0"/>
                    </a:cubicBezTo>
                    <a:cubicBezTo>
                      <a:pt x="1" y="0"/>
                      <a:pt x="0" y="1"/>
                      <a:pt x="0" y="2"/>
                    </a:cubicBezTo>
                    <a:cubicBezTo>
                      <a:pt x="0" y="20"/>
                      <a:pt x="0" y="20"/>
                      <a:pt x="0" y="20"/>
                    </a:cubicBezTo>
                    <a:cubicBezTo>
                      <a:pt x="0" y="21"/>
                      <a:pt x="1" y="22"/>
                      <a:pt x="2" y="22"/>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78" name="Freeform 204"/>
              <p:cNvSpPr/>
              <p:nvPr/>
            </p:nvSpPr>
            <p:spPr bwMode="auto">
              <a:xfrm>
                <a:off x="6313488" y="3413125"/>
                <a:ext cx="46038" cy="84138"/>
              </a:xfrm>
              <a:custGeom>
                <a:avLst/>
                <a:gdLst>
                  <a:gd name="T0" fmla="*/ 3 w 12"/>
                  <a:gd name="T1" fmla="*/ 22 h 22"/>
                  <a:gd name="T2" fmla="*/ 10 w 12"/>
                  <a:gd name="T3" fmla="*/ 22 h 22"/>
                  <a:gd name="T4" fmla="*/ 12 w 12"/>
                  <a:gd name="T5" fmla="*/ 20 h 22"/>
                  <a:gd name="T6" fmla="*/ 12 w 12"/>
                  <a:gd name="T7" fmla="*/ 2 h 22"/>
                  <a:gd name="T8" fmla="*/ 10 w 12"/>
                  <a:gd name="T9" fmla="*/ 0 h 22"/>
                  <a:gd name="T10" fmla="*/ 3 w 12"/>
                  <a:gd name="T11" fmla="*/ 0 h 22"/>
                  <a:gd name="T12" fmla="*/ 0 w 12"/>
                  <a:gd name="T13" fmla="*/ 2 h 22"/>
                  <a:gd name="T14" fmla="*/ 0 w 12"/>
                  <a:gd name="T15" fmla="*/ 20 h 22"/>
                  <a:gd name="T16" fmla="*/ 3 w 1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2">
                    <a:moveTo>
                      <a:pt x="3" y="22"/>
                    </a:moveTo>
                    <a:cubicBezTo>
                      <a:pt x="10" y="22"/>
                      <a:pt x="10" y="22"/>
                      <a:pt x="10" y="22"/>
                    </a:cubicBezTo>
                    <a:cubicBezTo>
                      <a:pt x="12" y="22"/>
                      <a:pt x="12" y="21"/>
                      <a:pt x="12" y="20"/>
                    </a:cubicBezTo>
                    <a:cubicBezTo>
                      <a:pt x="12" y="2"/>
                      <a:pt x="12" y="2"/>
                      <a:pt x="12" y="2"/>
                    </a:cubicBezTo>
                    <a:cubicBezTo>
                      <a:pt x="12" y="1"/>
                      <a:pt x="12" y="0"/>
                      <a:pt x="10" y="0"/>
                    </a:cubicBezTo>
                    <a:cubicBezTo>
                      <a:pt x="3" y="0"/>
                      <a:pt x="3" y="0"/>
                      <a:pt x="3" y="0"/>
                    </a:cubicBezTo>
                    <a:cubicBezTo>
                      <a:pt x="1" y="0"/>
                      <a:pt x="0" y="1"/>
                      <a:pt x="0" y="2"/>
                    </a:cubicBezTo>
                    <a:cubicBezTo>
                      <a:pt x="0" y="20"/>
                      <a:pt x="0" y="20"/>
                      <a:pt x="0" y="20"/>
                    </a:cubicBezTo>
                    <a:cubicBezTo>
                      <a:pt x="0" y="21"/>
                      <a:pt x="1" y="22"/>
                      <a:pt x="3" y="22"/>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79" name="Freeform 205"/>
              <p:cNvSpPr>
                <a:spLocks noEditPoints="1"/>
              </p:cNvSpPr>
              <p:nvPr/>
            </p:nvSpPr>
            <p:spPr bwMode="auto">
              <a:xfrm>
                <a:off x="6030913" y="3444875"/>
                <a:ext cx="404813" cy="360363"/>
              </a:xfrm>
              <a:custGeom>
                <a:avLst/>
                <a:gdLst>
                  <a:gd name="T0" fmla="*/ 94 w 106"/>
                  <a:gd name="T1" fmla="*/ 0 h 95"/>
                  <a:gd name="T2" fmla="*/ 91 w 106"/>
                  <a:gd name="T3" fmla="*/ 0 h 95"/>
                  <a:gd name="T4" fmla="*/ 91 w 106"/>
                  <a:gd name="T5" fmla="*/ 12 h 95"/>
                  <a:gd name="T6" fmla="*/ 84 w 106"/>
                  <a:gd name="T7" fmla="*/ 18 h 95"/>
                  <a:gd name="T8" fmla="*/ 77 w 106"/>
                  <a:gd name="T9" fmla="*/ 18 h 95"/>
                  <a:gd name="T10" fmla="*/ 70 w 106"/>
                  <a:gd name="T11" fmla="*/ 12 h 95"/>
                  <a:gd name="T12" fmla="*/ 70 w 106"/>
                  <a:gd name="T13" fmla="*/ 0 h 95"/>
                  <a:gd name="T14" fmla="*/ 36 w 106"/>
                  <a:gd name="T15" fmla="*/ 0 h 95"/>
                  <a:gd name="T16" fmla="*/ 36 w 106"/>
                  <a:gd name="T17" fmla="*/ 12 h 95"/>
                  <a:gd name="T18" fmla="*/ 29 w 106"/>
                  <a:gd name="T19" fmla="*/ 18 h 95"/>
                  <a:gd name="T20" fmla="*/ 21 w 106"/>
                  <a:gd name="T21" fmla="*/ 18 h 95"/>
                  <a:gd name="T22" fmla="*/ 15 w 106"/>
                  <a:gd name="T23" fmla="*/ 12 h 95"/>
                  <a:gd name="T24" fmla="*/ 15 w 106"/>
                  <a:gd name="T25" fmla="*/ 0 h 95"/>
                  <a:gd name="T26" fmla="*/ 12 w 106"/>
                  <a:gd name="T27" fmla="*/ 0 h 95"/>
                  <a:gd name="T28" fmla="*/ 0 w 106"/>
                  <a:gd name="T29" fmla="*/ 13 h 95"/>
                  <a:gd name="T30" fmla="*/ 0 w 106"/>
                  <a:gd name="T31" fmla="*/ 36 h 95"/>
                  <a:gd name="T32" fmla="*/ 0 w 106"/>
                  <a:gd name="T33" fmla="*/ 83 h 95"/>
                  <a:gd name="T34" fmla="*/ 12 w 106"/>
                  <a:gd name="T35" fmla="*/ 95 h 95"/>
                  <a:gd name="T36" fmla="*/ 94 w 106"/>
                  <a:gd name="T37" fmla="*/ 95 h 95"/>
                  <a:gd name="T38" fmla="*/ 106 w 106"/>
                  <a:gd name="T39" fmla="*/ 83 h 95"/>
                  <a:gd name="T40" fmla="*/ 106 w 106"/>
                  <a:gd name="T41" fmla="*/ 36 h 95"/>
                  <a:gd name="T42" fmla="*/ 106 w 106"/>
                  <a:gd name="T43" fmla="*/ 13 h 95"/>
                  <a:gd name="T44" fmla="*/ 94 w 106"/>
                  <a:gd name="T45" fmla="*/ 0 h 95"/>
                  <a:gd name="T46" fmla="*/ 98 w 106"/>
                  <a:gd name="T47" fmla="*/ 83 h 95"/>
                  <a:gd name="T48" fmla="*/ 94 w 106"/>
                  <a:gd name="T49" fmla="*/ 88 h 95"/>
                  <a:gd name="T50" fmla="*/ 12 w 106"/>
                  <a:gd name="T51" fmla="*/ 88 h 95"/>
                  <a:gd name="T52" fmla="*/ 8 w 106"/>
                  <a:gd name="T53" fmla="*/ 83 h 95"/>
                  <a:gd name="T54" fmla="*/ 8 w 106"/>
                  <a:gd name="T55" fmla="*/ 36 h 95"/>
                  <a:gd name="T56" fmla="*/ 98 w 106"/>
                  <a:gd name="T57" fmla="*/ 36 h 95"/>
                  <a:gd name="T58" fmla="*/ 98 w 106"/>
                  <a:gd name="T59" fmla="*/ 8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6" h="95">
                    <a:moveTo>
                      <a:pt x="94" y="0"/>
                    </a:moveTo>
                    <a:cubicBezTo>
                      <a:pt x="91" y="0"/>
                      <a:pt x="91" y="0"/>
                      <a:pt x="91" y="0"/>
                    </a:cubicBezTo>
                    <a:cubicBezTo>
                      <a:pt x="91" y="12"/>
                      <a:pt x="91" y="12"/>
                      <a:pt x="91" y="12"/>
                    </a:cubicBezTo>
                    <a:cubicBezTo>
                      <a:pt x="91" y="15"/>
                      <a:pt x="88" y="18"/>
                      <a:pt x="84" y="18"/>
                    </a:cubicBezTo>
                    <a:cubicBezTo>
                      <a:pt x="77" y="18"/>
                      <a:pt x="77" y="18"/>
                      <a:pt x="77" y="18"/>
                    </a:cubicBezTo>
                    <a:cubicBezTo>
                      <a:pt x="73" y="18"/>
                      <a:pt x="70" y="15"/>
                      <a:pt x="70" y="12"/>
                    </a:cubicBezTo>
                    <a:cubicBezTo>
                      <a:pt x="70" y="0"/>
                      <a:pt x="70" y="0"/>
                      <a:pt x="70" y="0"/>
                    </a:cubicBezTo>
                    <a:cubicBezTo>
                      <a:pt x="36" y="0"/>
                      <a:pt x="36" y="0"/>
                      <a:pt x="36" y="0"/>
                    </a:cubicBezTo>
                    <a:cubicBezTo>
                      <a:pt x="36" y="12"/>
                      <a:pt x="36" y="12"/>
                      <a:pt x="36" y="12"/>
                    </a:cubicBezTo>
                    <a:cubicBezTo>
                      <a:pt x="36" y="15"/>
                      <a:pt x="33" y="18"/>
                      <a:pt x="29" y="18"/>
                    </a:cubicBezTo>
                    <a:cubicBezTo>
                      <a:pt x="21" y="18"/>
                      <a:pt x="21" y="18"/>
                      <a:pt x="21" y="18"/>
                    </a:cubicBezTo>
                    <a:cubicBezTo>
                      <a:pt x="18" y="18"/>
                      <a:pt x="15" y="15"/>
                      <a:pt x="15" y="12"/>
                    </a:cubicBezTo>
                    <a:cubicBezTo>
                      <a:pt x="15" y="0"/>
                      <a:pt x="15" y="0"/>
                      <a:pt x="15" y="0"/>
                    </a:cubicBezTo>
                    <a:cubicBezTo>
                      <a:pt x="12" y="0"/>
                      <a:pt x="12" y="0"/>
                      <a:pt x="12" y="0"/>
                    </a:cubicBezTo>
                    <a:cubicBezTo>
                      <a:pt x="5" y="0"/>
                      <a:pt x="0" y="6"/>
                      <a:pt x="0" y="13"/>
                    </a:cubicBezTo>
                    <a:cubicBezTo>
                      <a:pt x="0" y="36"/>
                      <a:pt x="0" y="36"/>
                      <a:pt x="0" y="36"/>
                    </a:cubicBezTo>
                    <a:cubicBezTo>
                      <a:pt x="0" y="83"/>
                      <a:pt x="0" y="83"/>
                      <a:pt x="0" y="83"/>
                    </a:cubicBezTo>
                    <a:cubicBezTo>
                      <a:pt x="0" y="90"/>
                      <a:pt x="5" y="95"/>
                      <a:pt x="12" y="95"/>
                    </a:cubicBezTo>
                    <a:cubicBezTo>
                      <a:pt x="94" y="95"/>
                      <a:pt x="94" y="95"/>
                      <a:pt x="94" y="95"/>
                    </a:cubicBezTo>
                    <a:cubicBezTo>
                      <a:pt x="100" y="95"/>
                      <a:pt x="106" y="90"/>
                      <a:pt x="106" y="83"/>
                    </a:cubicBezTo>
                    <a:cubicBezTo>
                      <a:pt x="106" y="36"/>
                      <a:pt x="106" y="36"/>
                      <a:pt x="106" y="36"/>
                    </a:cubicBezTo>
                    <a:cubicBezTo>
                      <a:pt x="106" y="13"/>
                      <a:pt x="106" y="13"/>
                      <a:pt x="106" y="13"/>
                    </a:cubicBezTo>
                    <a:cubicBezTo>
                      <a:pt x="106" y="6"/>
                      <a:pt x="100" y="0"/>
                      <a:pt x="94" y="0"/>
                    </a:cubicBezTo>
                    <a:close/>
                    <a:moveTo>
                      <a:pt x="98" y="83"/>
                    </a:moveTo>
                    <a:cubicBezTo>
                      <a:pt x="98" y="86"/>
                      <a:pt x="96" y="88"/>
                      <a:pt x="94" y="88"/>
                    </a:cubicBezTo>
                    <a:cubicBezTo>
                      <a:pt x="12" y="88"/>
                      <a:pt x="12" y="88"/>
                      <a:pt x="12" y="88"/>
                    </a:cubicBezTo>
                    <a:cubicBezTo>
                      <a:pt x="10" y="88"/>
                      <a:pt x="8" y="86"/>
                      <a:pt x="8" y="83"/>
                    </a:cubicBezTo>
                    <a:cubicBezTo>
                      <a:pt x="8" y="36"/>
                      <a:pt x="8" y="36"/>
                      <a:pt x="8" y="36"/>
                    </a:cubicBezTo>
                    <a:cubicBezTo>
                      <a:pt x="98" y="36"/>
                      <a:pt x="98" y="36"/>
                      <a:pt x="98" y="36"/>
                    </a:cubicBezTo>
                    <a:lnTo>
                      <a:pt x="98" y="83"/>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4" name="Rectangle 206"/>
              <p:cNvSpPr>
                <a:spLocks noChangeArrowheads="1"/>
              </p:cNvSpPr>
              <p:nvPr/>
            </p:nvSpPr>
            <p:spPr bwMode="auto">
              <a:xfrm>
                <a:off x="6084888"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5" name="Rectangle 207"/>
              <p:cNvSpPr>
                <a:spLocks noChangeArrowheads="1"/>
              </p:cNvSpPr>
              <p:nvPr/>
            </p:nvSpPr>
            <p:spPr bwMode="auto">
              <a:xfrm>
                <a:off x="6191250"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6" name="Rectangle 208"/>
              <p:cNvSpPr>
                <a:spLocks noChangeArrowheads="1"/>
              </p:cNvSpPr>
              <p:nvPr/>
            </p:nvSpPr>
            <p:spPr bwMode="auto">
              <a:xfrm>
                <a:off x="6294438"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7" name="Rectangle 209"/>
              <p:cNvSpPr>
                <a:spLocks noChangeArrowheads="1"/>
              </p:cNvSpPr>
              <p:nvPr/>
            </p:nvSpPr>
            <p:spPr bwMode="auto">
              <a:xfrm>
                <a:off x="6084888"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8" name="Rectangle 210"/>
              <p:cNvSpPr>
                <a:spLocks noChangeArrowheads="1"/>
              </p:cNvSpPr>
              <p:nvPr/>
            </p:nvSpPr>
            <p:spPr bwMode="auto">
              <a:xfrm>
                <a:off x="6191250"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9" name="Rectangle 211"/>
              <p:cNvSpPr>
                <a:spLocks noChangeArrowheads="1"/>
              </p:cNvSpPr>
              <p:nvPr/>
            </p:nvSpPr>
            <p:spPr bwMode="auto">
              <a:xfrm>
                <a:off x="6294438"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0" name="Rectangle 212"/>
              <p:cNvSpPr>
                <a:spLocks noChangeArrowheads="1"/>
              </p:cNvSpPr>
              <p:nvPr/>
            </p:nvSpPr>
            <p:spPr bwMode="auto">
              <a:xfrm>
                <a:off x="6084888"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1" name="Rectangle 213"/>
              <p:cNvSpPr>
                <a:spLocks noChangeArrowheads="1"/>
              </p:cNvSpPr>
              <p:nvPr/>
            </p:nvSpPr>
            <p:spPr bwMode="auto">
              <a:xfrm>
                <a:off x="6191250"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2" name="Rectangle 214"/>
              <p:cNvSpPr>
                <a:spLocks noChangeArrowheads="1"/>
              </p:cNvSpPr>
              <p:nvPr/>
            </p:nvSpPr>
            <p:spPr bwMode="auto">
              <a:xfrm>
                <a:off x="6294438"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3" name="Rectangle 215"/>
              <p:cNvSpPr>
                <a:spLocks noChangeArrowheads="1"/>
              </p:cNvSpPr>
              <p:nvPr/>
            </p:nvSpPr>
            <p:spPr bwMode="auto">
              <a:xfrm>
                <a:off x="5965825" y="3398838"/>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4" name="Freeform 216"/>
              <p:cNvSpPr>
                <a:spLocks noEditPoints="1"/>
              </p:cNvSpPr>
              <p:nvPr/>
            </p:nvSpPr>
            <p:spPr bwMode="auto">
              <a:xfrm>
                <a:off x="5753100" y="3208338"/>
                <a:ext cx="427038" cy="604838"/>
              </a:xfrm>
              <a:custGeom>
                <a:avLst/>
                <a:gdLst>
                  <a:gd name="T0" fmla="*/ 111 w 112"/>
                  <a:gd name="T1" fmla="*/ 23 h 159"/>
                  <a:gd name="T2" fmla="*/ 106 w 112"/>
                  <a:gd name="T3" fmla="*/ 19 h 159"/>
                  <a:gd name="T4" fmla="*/ 83 w 112"/>
                  <a:gd name="T5" fmla="*/ 2 h 159"/>
                  <a:gd name="T6" fmla="*/ 77 w 112"/>
                  <a:gd name="T7" fmla="*/ 0 h 159"/>
                  <a:gd name="T8" fmla="*/ 70 w 112"/>
                  <a:gd name="T9" fmla="*/ 0 h 159"/>
                  <a:gd name="T10" fmla="*/ 68 w 112"/>
                  <a:gd name="T11" fmla="*/ 10 h 159"/>
                  <a:gd name="T12" fmla="*/ 56 w 112"/>
                  <a:gd name="T13" fmla="*/ 50 h 159"/>
                  <a:gd name="T14" fmla="*/ 56 w 112"/>
                  <a:gd name="T15" fmla="*/ 51 h 159"/>
                  <a:gd name="T16" fmla="*/ 56 w 112"/>
                  <a:gd name="T17" fmla="*/ 50 h 159"/>
                  <a:gd name="T18" fmla="*/ 45 w 112"/>
                  <a:gd name="T19" fmla="*/ 10 h 159"/>
                  <a:gd name="T20" fmla="*/ 43 w 112"/>
                  <a:gd name="T21" fmla="*/ 0 h 159"/>
                  <a:gd name="T22" fmla="*/ 35 w 112"/>
                  <a:gd name="T23" fmla="*/ 0 h 159"/>
                  <a:gd name="T24" fmla="*/ 28 w 112"/>
                  <a:gd name="T25" fmla="*/ 4 h 159"/>
                  <a:gd name="T26" fmla="*/ 0 w 112"/>
                  <a:gd name="T27" fmla="*/ 44 h 159"/>
                  <a:gd name="T28" fmla="*/ 0 w 112"/>
                  <a:gd name="T29" fmla="*/ 44 h 159"/>
                  <a:gd name="T30" fmla="*/ 0 w 112"/>
                  <a:gd name="T31" fmla="*/ 45 h 159"/>
                  <a:gd name="T32" fmla="*/ 2 w 112"/>
                  <a:gd name="T33" fmla="*/ 48 h 159"/>
                  <a:gd name="T34" fmla="*/ 9 w 112"/>
                  <a:gd name="T35" fmla="*/ 61 h 159"/>
                  <a:gd name="T36" fmla="*/ 29 w 112"/>
                  <a:gd name="T37" fmla="*/ 72 h 159"/>
                  <a:gd name="T38" fmla="*/ 29 w 112"/>
                  <a:gd name="T39" fmla="*/ 84 h 159"/>
                  <a:gd name="T40" fmla="*/ 34 w 112"/>
                  <a:gd name="T41" fmla="*/ 159 h 159"/>
                  <a:gd name="T42" fmla="*/ 55 w 112"/>
                  <a:gd name="T43" fmla="*/ 84 h 159"/>
                  <a:gd name="T44" fmla="*/ 60 w 112"/>
                  <a:gd name="T45" fmla="*/ 159 h 159"/>
                  <a:gd name="T46" fmla="*/ 67 w 112"/>
                  <a:gd name="T47" fmla="*/ 145 h 159"/>
                  <a:gd name="T48" fmla="*/ 76 w 112"/>
                  <a:gd name="T49" fmla="*/ 59 h 159"/>
                  <a:gd name="T50" fmla="*/ 110 w 112"/>
                  <a:gd name="T51" fmla="*/ 41 h 159"/>
                  <a:gd name="T52" fmla="*/ 112 w 112"/>
                  <a:gd name="T53" fmla="*/ 24 h 159"/>
                  <a:gd name="T54" fmla="*/ 27 w 112"/>
                  <a:gd name="T55" fmla="*/ 51 h 159"/>
                  <a:gd name="T56" fmla="*/ 21 w 112"/>
                  <a:gd name="T57" fmla="*/ 40 h 159"/>
                  <a:gd name="T58" fmla="*/ 30 w 112"/>
                  <a:gd name="T59" fmla="*/ 55 h 159"/>
                  <a:gd name="T60" fmla="*/ 68 w 112"/>
                  <a:gd name="T61" fmla="*/ 39 h 159"/>
                  <a:gd name="T62" fmla="*/ 82 w 112"/>
                  <a:gd name="T63" fmla="*/ 25 h 159"/>
                  <a:gd name="T64" fmla="*/ 88 w 112"/>
                  <a:gd name="T65" fmla="*/ 3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159">
                    <a:moveTo>
                      <a:pt x="112" y="24"/>
                    </a:moveTo>
                    <a:cubicBezTo>
                      <a:pt x="111" y="23"/>
                      <a:pt x="111" y="23"/>
                      <a:pt x="111" y="23"/>
                    </a:cubicBezTo>
                    <a:cubicBezTo>
                      <a:pt x="110" y="22"/>
                      <a:pt x="110" y="22"/>
                      <a:pt x="110" y="22"/>
                    </a:cubicBezTo>
                    <a:cubicBezTo>
                      <a:pt x="106" y="19"/>
                      <a:pt x="106" y="19"/>
                      <a:pt x="106" y="19"/>
                    </a:cubicBezTo>
                    <a:cubicBezTo>
                      <a:pt x="98" y="13"/>
                      <a:pt x="98" y="13"/>
                      <a:pt x="98" y="13"/>
                    </a:cubicBezTo>
                    <a:cubicBezTo>
                      <a:pt x="83" y="2"/>
                      <a:pt x="83" y="2"/>
                      <a:pt x="83" y="2"/>
                    </a:cubicBezTo>
                    <a:cubicBezTo>
                      <a:pt x="81" y="1"/>
                      <a:pt x="80" y="0"/>
                      <a:pt x="78" y="0"/>
                    </a:cubicBezTo>
                    <a:cubicBezTo>
                      <a:pt x="78" y="0"/>
                      <a:pt x="78" y="0"/>
                      <a:pt x="77" y="0"/>
                    </a:cubicBezTo>
                    <a:cubicBezTo>
                      <a:pt x="75" y="0"/>
                      <a:pt x="72" y="0"/>
                      <a:pt x="70" y="0"/>
                    </a:cubicBezTo>
                    <a:cubicBezTo>
                      <a:pt x="70" y="0"/>
                      <a:pt x="70" y="0"/>
                      <a:pt x="70" y="0"/>
                    </a:cubicBezTo>
                    <a:cubicBezTo>
                      <a:pt x="76" y="5"/>
                      <a:pt x="76" y="5"/>
                      <a:pt x="76" y="5"/>
                    </a:cubicBezTo>
                    <a:cubicBezTo>
                      <a:pt x="68" y="10"/>
                      <a:pt x="68" y="10"/>
                      <a:pt x="68" y="10"/>
                    </a:cubicBezTo>
                    <a:cubicBezTo>
                      <a:pt x="72" y="16"/>
                      <a:pt x="72" y="16"/>
                      <a:pt x="72" y="16"/>
                    </a:cubicBezTo>
                    <a:cubicBezTo>
                      <a:pt x="56" y="50"/>
                      <a:pt x="56" y="50"/>
                      <a:pt x="56" y="50"/>
                    </a:cubicBezTo>
                    <a:cubicBezTo>
                      <a:pt x="57" y="51"/>
                      <a:pt x="57" y="51"/>
                      <a:pt x="57" y="51"/>
                    </a:cubicBezTo>
                    <a:cubicBezTo>
                      <a:pt x="56" y="51"/>
                      <a:pt x="56" y="51"/>
                      <a:pt x="56" y="51"/>
                    </a:cubicBezTo>
                    <a:cubicBezTo>
                      <a:pt x="56" y="51"/>
                      <a:pt x="56" y="51"/>
                      <a:pt x="56" y="51"/>
                    </a:cubicBezTo>
                    <a:cubicBezTo>
                      <a:pt x="56" y="50"/>
                      <a:pt x="56" y="50"/>
                      <a:pt x="56" y="50"/>
                    </a:cubicBezTo>
                    <a:cubicBezTo>
                      <a:pt x="41" y="16"/>
                      <a:pt x="41" y="16"/>
                      <a:pt x="41" y="16"/>
                    </a:cubicBezTo>
                    <a:cubicBezTo>
                      <a:pt x="45" y="10"/>
                      <a:pt x="45" y="10"/>
                      <a:pt x="45" y="10"/>
                    </a:cubicBezTo>
                    <a:cubicBezTo>
                      <a:pt x="36" y="5"/>
                      <a:pt x="36" y="5"/>
                      <a:pt x="36" y="5"/>
                    </a:cubicBezTo>
                    <a:cubicBezTo>
                      <a:pt x="43" y="0"/>
                      <a:pt x="43" y="0"/>
                      <a:pt x="43" y="0"/>
                    </a:cubicBezTo>
                    <a:cubicBezTo>
                      <a:pt x="43" y="0"/>
                      <a:pt x="43" y="0"/>
                      <a:pt x="43" y="0"/>
                    </a:cubicBezTo>
                    <a:cubicBezTo>
                      <a:pt x="41" y="0"/>
                      <a:pt x="38" y="0"/>
                      <a:pt x="35" y="0"/>
                    </a:cubicBezTo>
                    <a:cubicBezTo>
                      <a:pt x="35" y="0"/>
                      <a:pt x="35" y="0"/>
                      <a:pt x="35" y="0"/>
                    </a:cubicBezTo>
                    <a:cubicBezTo>
                      <a:pt x="32" y="1"/>
                      <a:pt x="30" y="2"/>
                      <a:pt x="28" y="4"/>
                    </a:cubicBezTo>
                    <a:cubicBezTo>
                      <a:pt x="1" y="32"/>
                      <a:pt x="1" y="32"/>
                      <a:pt x="1" y="32"/>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1" y="46"/>
                      <a:pt x="1" y="46"/>
                      <a:pt x="1" y="46"/>
                    </a:cubicBezTo>
                    <a:cubicBezTo>
                      <a:pt x="2" y="48"/>
                      <a:pt x="2" y="48"/>
                      <a:pt x="2" y="48"/>
                    </a:cubicBezTo>
                    <a:cubicBezTo>
                      <a:pt x="4" y="52"/>
                      <a:pt x="4" y="52"/>
                      <a:pt x="4" y="52"/>
                    </a:cubicBezTo>
                    <a:cubicBezTo>
                      <a:pt x="9" y="61"/>
                      <a:pt x="9" y="61"/>
                      <a:pt x="9" y="61"/>
                    </a:cubicBezTo>
                    <a:cubicBezTo>
                      <a:pt x="18" y="78"/>
                      <a:pt x="18" y="78"/>
                      <a:pt x="18" y="78"/>
                    </a:cubicBezTo>
                    <a:cubicBezTo>
                      <a:pt x="22" y="76"/>
                      <a:pt x="26" y="74"/>
                      <a:pt x="29" y="72"/>
                    </a:cubicBezTo>
                    <a:cubicBezTo>
                      <a:pt x="29" y="76"/>
                      <a:pt x="29" y="80"/>
                      <a:pt x="29" y="83"/>
                    </a:cubicBezTo>
                    <a:cubicBezTo>
                      <a:pt x="29" y="83"/>
                      <a:pt x="29" y="84"/>
                      <a:pt x="29" y="84"/>
                    </a:cubicBezTo>
                    <a:cubicBezTo>
                      <a:pt x="30" y="84"/>
                      <a:pt x="31" y="84"/>
                      <a:pt x="31" y="84"/>
                    </a:cubicBezTo>
                    <a:cubicBezTo>
                      <a:pt x="34" y="159"/>
                      <a:pt x="34" y="159"/>
                      <a:pt x="34" y="159"/>
                    </a:cubicBezTo>
                    <a:cubicBezTo>
                      <a:pt x="55" y="159"/>
                      <a:pt x="55" y="159"/>
                      <a:pt x="55" y="159"/>
                    </a:cubicBezTo>
                    <a:cubicBezTo>
                      <a:pt x="56" y="137"/>
                      <a:pt x="56" y="99"/>
                      <a:pt x="55" y="84"/>
                    </a:cubicBezTo>
                    <a:cubicBezTo>
                      <a:pt x="56" y="84"/>
                      <a:pt x="57" y="84"/>
                      <a:pt x="58" y="84"/>
                    </a:cubicBezTo>
                    <a:cubicBezTo>
                      <a:pt x="60" y="159"/>
                      <a:pt x="60" y="159"/>
                      <a:pt x="60" y="159"/>
                    </a:cubicBezTo>
                    <a:cubicBezTo>
                      <a:pt x="74" y="159"/>
                      <a:pt x="74" y="159"/>
                      <a:pt x="74" y="159"/>
                    </a:cubicBezTo>
                    <a:cubicBezTo>
                      <a:pt x="70" y="156"/>
                      <a:pt x="67" y="151"/>
                      <a:pt x="67" y="145"/>
                    </a:cubicBezTo>
                    <a:cubicBezTo>
                      <a:pt x="67" y="75"/>
                      <a:pt x="67" y="75"/>
                      <a:pt x="67" y="75"/>
                    </a:cubicBezTo>
                    <a:cubicBezTo>
                      <a:pt x="67" y="68"/>
                      <a:pt x="71" y="62"/>
                      <a:pt x="76" y="59"/>
                    </a:cubicBezTo>
                    <a:cubicBezTo>
                      <a:pt x="77" y="60"/>
                      <a:pt x="78" y="61"/>
                      <a:pt x="78" y="62"/>
                    </a:cubicBezTo>
                    <a:cubicBezTo>
                      <a:pt x="110" y="41"/>
                      <a:pt x="110" y="41"/>
                      <a:pt x="110" y="41"/>
                    </a:cubicBezTo>
                    <a:cubicBezTo>
                      <a:pt x="111" y="40"/>
                      <a:pt x="111" y="40"/>
                      <a:pt x="111" y="40"/>
                    </a:cubicBezTo>
                    <a:lnTo>
                      <a:pt x="112" y="24"/>
                    </a:lnTo>
                    <a:close/>
                    <a:moveTo>
                      <a:pt x="30" y="55"/>
                    </a:moveTo>
                    <a:cubicBezTo>
                      <a:pt x="27" y="51"/>
                      <a:pt x="27" y="51"/>
                      <a:pt x="27" y="51"/>
                    </a:cubicBezTo>
                    <a:cubicBezTo>
                      <a:pt x="22" y="43"/>
                      <a:pt x="22" y="43"/>
                      <a:pt x="22" y="43"/>
                    </a:cubicBezTo>
                    <a:cubicBezTo>
                      <a:pt x="21" y="40"/>
                      <a:pt x="21" y="40"/>
                      <a:pt x="21" y="40"/>
                    </a:cubicBezTo>
                    <a:cubicBezTo>
                      <a:pt x="31" y="28"/>
                      <a:pt x="31" y="28"/>
                      <a:pt x="31" y="28"/>
                    </a:cubicBezTo>
                    <a:cubicBezTo>
                      <a:pt x="30" y="37"/>
                      <a:pt x="30" y="46"/>
                      <a:pt x="30" y="55"/>
                    </a:cubicBezTo>
                    <a:close/>
                    <a:moveTo>
                      <a:pt x="70" y="41"/>
                    </a:moveTo>
                    <a:cubicBezTo>
                      <a:pt x="68" y="39"/>
                      <a:pt x="68" y="39"/>
                      <a:pt x="68" y="39"/>
                    </a:cubicBezTo>
                    <a:cubicBezTo>
                      <a:pt x="82" y="30"/>
                      <a:pt x="82" y="30"/>
                      <a:pt x="82" y="30"/>
                    </a:cubicBezTo>
                    <a:cubicBezTo>
                      <a:pt x="82" y="28"/>
                      <a:pt x="82" y="27"/>
                      <a:pt x="82" y="25"/>
                    </a:cubicBezTo>
                    <a:cubicBezTo>
                      <a:pt x="86" y="28"/>
                      <a:pt x="86" y="28"/>
                      <a:pt x="86" y="28"/>
                    </a:cubicBezTo>
                    <a:cubicBezTo>
                      <a:pt x="88" y="30"/>
                      <a:pt x="88" y="30"/>
                      <a:pt x="88" y="30"/>
                    </a:cubicBezTo>
                    <a:lnTo>
                      <a:pt x="70" y="41"/>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5" name="Freeform 217"/>
              <p:cNvSpPr/>
              <p:nvPr/>
            </p:nvSpPr>
            <p:spPr bwMode="auto">
              <a:xfrm>
                <a:off x="5946775" y="3201988"/>
                <a:ext cx="42863" cy="44450"/>
              </a:xfrm>
              <a:custGeom>
                <a:avLst/>
                <a:gdLst>
                  <a:gd name="T0" fmla="*/ 22 w 27"/>
                  <a:gd name="T1" fmla="*/ 0 h 28"/>
                  <a:gd name="T2" fmla="*/ 27 w 27"/>
                  <a:gd name="T3" fmla="*/ 16 h 28"/>
                  <a:gd name="T4" fmla="*/ 12 w 27"/>
                  <a:gd name="T5" fmla="*/ 28 h 28"/>
                  <a:gd name="T6" fmla="*/ 0 w 27"/>
                  <a:gd name="T7" fmla="*/ 16 h 28"/>
                  <a:gd name="T8" fmla="*/ 5 w 27"/>
                  <a:gd name="T9" fmla="*/ 0 h 28"/>
                  <a:gd name="T10" fmla="*/ 22 w 27"/>
                  <a:gd name="T11" fmla="*/ 0 h 28"/>
                </a:gdLst>
                <a:ahLst/>
                <a:cxnLst>
                  <a:cxn ang="0">
                    <a:pos x="T0" y="T1"/>
                  </a:cxn>
                  <a:cxn ang="0">
                    <a:pos x="T2" y="T3"/>
                  </a:cxn>
                  <a:cxn ang="0">
                    <a:pos x="T4" y="T5"/>
                  </a:cxn>
                  <a:cxn ang="0">
                    <a:pos x="T6" y="T7"/>
                  </a:cxn>
                  <a:cxn ang="0">
                    <a:pos x="T8" y="T9"/>
                  </a:cxn>
                  <a:cxn ang="0">
                    <a:pos x="T10" y="T11"/>
                  </a:cxn>
                </a:cxnLst>
                <a:rect l="0" t="0" r="r" b="b"/>
                <a:pathLst>
                  <a:path w="27" h="28">
                    <a:moveTo>
                      <a:pt x="22" y="0"/>
                    </a:moveTo>
                    <a:lnTo>
                      <a:pt x="27" y="16"/>
                    </a:lnTo>
                    <a:lnTo>
                      <a:pt x="12" y="28"/>
                    </a:lnTo>
                    <a:lnTo>
                      <a:pt x="0" y="16"/>
                    </a:lnTo>
                    <a:lnTo>
                      <a:pt x="5" y="0"/>
                    </a:ln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6" name="Freeform 218"/>
              <p:cNvSpPr/>
              <p:nvPr/>
            </p:nvSpPr>
            <p:spPr bwMode="auto">
              <a:xfrm>
                <a:off x="5946775" y="3232150"/>
                <a:ext cx="42863" cy="185738"/>
              </a:xfrm>
              <a:custGeom>
                <a:avLst/>
                <a:gdLst>
                  <a:gd name="T0" fmla="*/ 22 w 27"/>
                  <a:gd name="T1" fmla="*/ 0 h 117"/>
                  <a:gd name="T2" fmla="*/ 27 w 27"/>
                  <a:gd name="T3" fmla="*/ 105 h 117"/>
                  <a:gd name="T4" fmla="*/ 12 w 27"/>
                  <a:gd name="T5" fmla="*/ 117 h 117"/>
                  <a:gd name="T6" fmla="*/ 0 w 27"/>
                  <a:gd name="T7" fmla="*/ 105 h 117"/>
                  <a:gd name="T8" fmla="*/ 5 w 27"/>
                  <a:gd name="T9" fmla="*/ 0 h 117"/>
                  <a:gd name="T10" fmla="*/ 22 w 27"/>
                  <a:gd name="T11" fmla="*/ 0 h 117"/>
                </a:gdLst>
                <a:ahLst/>
                <a:cxnLst>
                  <a:cxn ang="0">
                    <a:pos x="T0" y="T1"/>
                  </a:cxn>
                  <a:cxn ang="0">
                    <a:pos x="T2" y="T3"/>
                  </a:cxn>
                  <a:cxn ang="0">
                    <a:pos x="T4" y="T5"/>
                  </a:cxn>
                  <a:cxn ang="0">
                    <a:pos x="T6" y="T7"/>
                  </a:cxn>
                  <a:cxn ang="0">
                    <a:pos x="T8" y="T9"/>
                  </a:cxn>
                  <a:cxn ang="0">
                    <a:pos x="T10" y="T11"/>
                  </a:cxn>
                </a:cxnLst>
                <a:rect l="0" t="0" r="r" b="b"/>
                <a:pathLst>
                  <a:path w="27" h="117">
                    <a:moveTo>
                      <a:pt x="22" y="0"/>
                    </a:moveTo>
                    <a:lnTo>
                      <a:pt x="27" y="105"/>
                    </a:lnTo>
                    <a:lnTo>
                      <a:pt x="12" y="117"/>
                    </a:lnTo>
                    <a:lnTo>
                      <a:pt x="0" y="105"/>
                    </a:lnTo>
                    <a:lnTo>
                      <a:pt x="5" y="0"/>
                    </a:ln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grpSp>
      </p:grpSp>
      <p:sp>
        <p:nvSpPr>
          <p:cNvPr id="97" name="Oval 21"/>
          <p:cNvSpPr/>
          <p:nvPr/>
        </p:nvSpPr>
        <p:spPr>
          <a:xfrm>
            <a:off x="1673230" y="2194645"/>
            <a:ext cx="1932111" cy="1932111"/>
          </a:xfrm>
          <a:prstGeom prst="ellipse">
            <a:avLst/>
          </a:prstGeom>
          <a:solidFill>
            <a:srgbClr val="E46C0A"/>
          </a:solidFill>
          <a:ln>
            <a:noFill/>
          </a:ln>
          <a:effectLst/>
          <a:scene3d>
            <a:camera prst="orthographicFront"/>
            <a:lightRig rig="threePt" dir="t"/>
          </a:scene3d>
          <a:sp3d prstMaterial="softEdge">
            <a:bevelT w="38100" h="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rgbClr val="F16D63"/>
              </a:solidFill>
              <a:latin typeface="DIN-BoldItalic" pitchFamily="50" charset="0"/>
              <a:cs typeface="+mn-ea"/>
            </a:endParaRPr>
          </a:p>
        </p:txBody>
      </p:sp>
      <p:sp>
        <p:nvSpPr>
          <p:cNvPr id="98" name="椭圆 97"/>
          <p:cNvSpPr/>
          <p:nvPr/>
        </p:nvSpPr>
        <p:spPr>
          <a:xfrm>
            <a:off x="1831426" y="2352293"/>
            <a:ext cx="1615717" cy="1616816"/>
          </a:xfrm>
          <a:prstGeom prst="ellipse">
            <a:avLst/>
          </a:prstGeom>
          <a:blipFill dpi="0" rotWithShape="1">
            <a:blip r:embed="rId1" cstate="screen"/>
            <a:srcRect/>
            <a:stretch>
              <a:fillRect l="-114835" t="-37928" r="-92564" b="-113612"/>
            </a:stretch>
          </a:blipFill>
          <a:ln w="9525">
            <a:noFill/>
          </a:ln>
        </p:spPr>
        <p:style>
          <a:lnRef idx="2">
            <a:scrgbClr r="0" g="0" b="0"/>
          </a:lnRef>
          <a:fillRef idx="1">
            <a:scrgbClr r="0" g="0" b="0"/>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a:lstStyle/>
          <a:p>
            <a:endParaRPr lang="zh-CN" altLang="en-US" sz="2400">
              <a:cs typeface="+mn-ea"/>
            </a:endParaRPr>
          </a:p>
        </p:txBody>
      </p:sp>
      <p:sp>
        <p:nvSpPr>
          <p:cNvPr id="99" name="矩形 98"/>
          <p:cNvSpPr/>
          <p:nvPr/>
        </p:nvSpPr>
        <p:spPr>
          <a:xfrm>
            <a:off x="6209188" y="2483247"/>
            <a:ext cx="3774233" cy="323916"/>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团队协作</a:t>
            </a:r>
            <a:endParaRPr lang="zh-CN" altLang="en-US" sz="1400" dirty="0">
              <a:latin typeface="+mn-ea"/>
              <a:cs typeface="+mn-ea"/>
            </a:endParaRPr>
          </a:p>
        </p:txBody>
      </p:sp>
      <p:sp>
        <p:nvSpPr>
          <p:cNvPr id="100" name="矩形 99"/>
          <p:cNvSpPr/>
          <p:nvPr/>
        </p:nvSpPr>
        <p:spPr>
          <a:xfrm>
            <a:off x="6209187" y="2861053"/>
            <a:ext cx="3198319" cy="323916"/>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沟通交流</a:t>
            </a:r>
            <a:endParaRPr lang="zh-CN" altLang="en-US" sz="1400" dirty="0">
              <a:latin typeface="+mn-ea"/>
              <a:cs typeface="+mn-ea"/>
            </a:endParaRPr>
          </a:p>
        </p:txBody>
      </p:sp>
      <p:sp>
        <p:nvSpPr>
          <p:cNvPr id="101" name="矩形 100"/>
          <p:cNvSpPr/>
          <p:nvPr/>
        </p:nvSpPr>
        <p:spPr>
          <a:xfrm>
            <a:off x="6209188" y="3257029"/>
            <a:ext cx="3774233" cy="323916"/>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业务知识</a:t>
            </a:r>
            <a:endParaRPr lang="zh-CN" altLang="en-US" sz="1400" dirty="0">
              <a:latin typeface="+mn-ea"/>
              <a:cs typeface="+mn-ea"/>
            </a:endParaRPr>
          </a:p>
        </p:txBody>
      </p:sp>
      <p:sp>
        <p:nvSpPr>
          <p:cNvPr id="102" name="矩形 101"/>
          <p:cNvSpPr/>
          <p:nvPr/>
        </p:nvSpPr>
        <p:spPr>
          <a:xfrm>
            <a:off x="6209187" y="3652934"/>
            <a:ext cx="3414287" cy="323916"/>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情绪管理</a:t>
            </a:r>
            <a:endParaRPr lang="zh-CN" altLang="en-US" sz="1400" dirty="0">
              <a:latin typeface="+mn-ea"/>
              <a:cs typeface="+mn-ea"/>
            </a:endParaRPr>
          </a:p>
        </p:txBody>
      </p:sp>
      <p:sp>
        <p:nvSpPr>
          <p:cNvPr id="103" name="文本框 5"/>
          <p:cNvSpPr txBox="1"/>
          <p:nvPr/>
        </p:nvSpPr>
        <p:spPr>
          <a:xfrm>
            <a:off x="6209188" y="2061204"/>
            <a:ext cx="1223817" cy="400110"/>
          </a:xfrm>
          <a:prstGeom prst="rect">
            <a:avLst/>
          </a:prstGeom>
          <a:noFill/>
        </p:spPr>
        <p:txBody>
          <a:bodyPr wrap="square" rtlCol="0">
            <a:spAutoFit/>
          </a:bodyPr>
          <a:lstStyle/>
          <a:p>
            <a:r>
              <a:rPr lang="zh-CN" altLang="en-US" sz="2000" b="1" dirty="0">
                <a:solidFill>
                  <a:schemeClr val="bg1">
                    <a:lumMod val="50000"/>
                  </a:schemeClr>
                </a:solidFill>
                <a:latin typeface="+mn-ea"/>
                <a:cs typeface="+mn-ea"/>
              </a:rPr>
              <a:t>技能</a:t>
            </a:r>
            <a:r>
              <a:rPr lang="zh-CN" altLang="en-US" sz="1350" b="1" dirty="0">
                <a:solidFill>
                  <a:schemeClr val="bg1"/>
                </a:solidFill>
                <a:latin typeface="+mn-ea"/>
                <a:cs typeface="+mn-ea"/>
              </a:rPr>
              <a:t>：</a:t>
            </a:r>
            <a:endParaRPr lang="zh-CN" altLang="en-US" sz="1350" b="1" dirty="0">
              <a:solidFill>
                <a:schemeClr val="bg1"/>
              </a:solidFill>
              <a:latin typeface="+mn-ea"/>
              <a:cs typeface="+mn-ea"/>
            </a:endParaRPr>
          </a:p>
        </p:txBody>
      </p:sp>
      <p:sp>
        <p:nvSpPr>
          <p:cNvPr id="104" name="文本框 9"/>
          <p:cNvSpPr txBox="1"/>
          <p:nvPr/>
        </p:nvSpPr>
        <p:spPr>
          <a:xfrm>
            <a:off x="10209794" y="2512065"/>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90%</a:t>
            </a:r>
            <a:endParaRPr lang="zh-CN" altLang="en-US" sz="1400" b="1" dirty="0">
              <a:solidFill>
                <a:schemeClr val="bg1">
                  <a:lumMod val="50000"/>
                </a:schemeClr>
              </a:solidFill>
              <a:latin typeface="+mn-ea"/>
              <a:cs typeface="+mn-ea"/>
            </a:endParaRPr>
          </a:p>
        </p:txBody>
      </p:sp>
      <p:sp>
        <p:nvSpPr>
          <p:cNvPr id="105" name="文本框 40"/>
          <p:cNvSpPr txBox="1"/>
          <p:nvPr/>
        </p:nvSpPr>
        <p:spPr>
          <a:xfrm>
            <a:off x="10204591" y="3280524"/>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90%</a:t>
            </a:r>
            <a:endParaRPr lang="zh-CN" altLang="en-US" sz="1400" b="1" dirty="0">
              <a:solidFill>
                <a:schemeClr val="bg1">
                  <a:lumMod val="50000"/>
                </a:schemeClr>
              </a:solidFill>
              <a:latin typeface="+mn-ea"/>
              <a:cs typeface="+mn-ea"/>
            </a:endParaRPr>
          </a:p>
        </p:txBody>
      </p:sp>
      <p:sp>
        <p:nvSpPr>
          <p:cNvPr id="106" name="文本框 41"/>
          <p:cNvSpPr txBox="1"/>
          <p:nvPr/>
        </p:nvSpPr>
        <p:spPr>
          <a:xfrm>
            <a:off x="10204591" y="3676429"/>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85%</a:t>
            </a:r>
            <a:endParaRPr lang="zh-CN" altLang="en-US" sz="1400" b="1" dirty="0">
              <a:solidFill>
                <a:schemeClr val="bg1">
                  <a:lumMod val="50000"/>
                </a:schemeClr>
              </a:solidFill>
              <a:latin typeface="+mn-ea"/>
              <a:cs typeface="+mn-ea"/>
            </a:endParaRPr>
          </a:p>
        </p:txBody>
      </p:sp>
      <p:sp>
        <p:nvSpPr>
          <p:cNvPr id="107" name="文本框 42"/>
          <p:cNvSpPr txBox="1"/>
          <p:nvPr/>
        </p:nvSpPr>
        <p:spPr>
          <a:xfrm>
            <a:off x="10207395" y="2908042"/>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80%</a:t>
            </a:r>
            <a:endParaRPr lang="zh-CN" altLang="en-US" sz="1400" b="1" dirty="0">
              <a:solidFill>
                <a:schemeClr val="bg1">
                  <a:lumMod val="50000"/>
                </a:schemeClr>
              </a:solidFill>
              <a:latin typeface="+mn-ea"/>
              <a:cs typeface="+mn-ea"/>
            </a:endParaRPr>
          </a:p>
        </p:txBody>
      </p:sp>
      <p:sp>
        <p:nvSpPr>
          <p:cNvPr id="108" name="文本框 11"/>
          <p:cNvSpPr txBox="1"/>
          <p:nvPr/>
        </p:nvSpPr>
        <p:spPr>
          <a:xfrm>
            <a:off x="7012150" y="3163403"/>
            <a:ext cx="905841" cy="276999"/>
          </a:xfrm>
          <a:prstGeom prst="rect">
            <a:avLst/>
          </a:prstGeom>
          <a:noFill/>
        </p:spPr>
        <p:txBody>
          <a:bodyPr wrap="square" rtlCol="0">
            <a:spAutoFit/>
          </a:bodyPr>
          <a:lstStyle/>
          <a:p>
            <a:endParaRPr lang="zh-CN" altLang="en-US" sz="1200" dirty="0">
              <a:latin typeface="+mn-ea"/>
              <a:cs typeface="+mn-ea"/>
            </a:endParaRPr>
          </a:p>
        </p:txBody>
      </p:sp>
      <p:grpSp>
        <p:nvGrpSpPr>
          <p:cNvPr id="109" name="组合 108"/>
          <p:cNvGrpSpPr/>
          <p:nvPr/>
        </p:nvGrpSpPr>
        <p:grpSpPr>
          <a:xfrm>
            <a:off x="3936323" y="2297961"/>
            <a:ext cx="2104044" cy="1599948"/>
            <a:chOff x="4080015" y="2124888"/>
            <a:chExt cx="2104592" cy="1600364"/>
          </a:xfrm>
        </p:grpSpPr>
        <p:sp>
          <p:nvSpPr>
            <p:cNvPr id="110" name="文本框 10"/>
            <p:cNvSpPr txBox="1"/>
            <p:nvPr/>
          </p:nvSpPr>
          <p:spPr>
            <a:xfrm>
              <a:off x="4080015" y="2124888"/>
              <a:ext cx="1729538" cy="338642"/>
            </a:xfrm>
            <a:prstGeom prst="rect">
              <a:avLst/>
            </a:prstGeom>
            <a:noFill/>
          </p:spPr>
          <p:txBody>
            <a:bodyPr wrap="square" rtlCol="0">
              <a:spAutoFit/>
            </a:bodyPr>
            <a:lstStyle/>
            <a:p>
              <a:r>
                <a:rPr lang="zh-CN" altLang="en-US" sz="1600" b="1" dirty="0">
                  <a:solidFill>
                    <a:schemeClr val="bg1">
                      <a:lumMod val="50000"/>
                    </a:schemeClr>
                  </a:solidFill>
                  <a:latin typeface="+mn-ea"/>
                  <a:cs typeface="+mn-ea"/>
                </a:rPr>
                <a:t>人物介绍：</a:t>
              </a:r>
              <a:endParaRPr lang="zh-CN" altLang="en-US" sz="1600" b="1" dirty="0">
                <a:solidFill>
                  <a:schemeClr val="bg1">
                    <a:lumMod val="50000"/>
                  </a:schemeClr>
                </a:solidFill>
                <a:latin typeface="+mn-ea"/>
                <a:cs typeface="+mn-ea"/>
              </a:endParaRPr>
            </a:p>
          </p:txBody>
        </p:sp>
        <p:sp>
          <p:nvSpPr>
            <p:cNvPr id="111" name="Rectangle 1"/>
            <p:cNvSpPr>
              <a:spLocks noChangeArrowheads="1"/>
            </p:cNvSpPr>
            <p:nvPr/>
          </p:nvSpPr>
          <p:spPr bwMode="auto">
            <a:xfrm>
              <a:off x="4138622" y="2817120"/>
              <a:ext cx="2045985" cy="908132"/>
            </a:xfrm>
            <a:prstGeom prst="rect">
              <a:avLst/>
            </a:prstGeom>
            <a:noFill/>
            <a:ln>
              <a:noFill/>
            </a:ln>
            <a:effectLst/>
          </p:spPr>
          <p:txBody>
            <a:bodyPr vert="horz" wrap="square" lIns="0" tIns="0" rIns="0" bIns="76156" numCol="1" anchor="ctr" anchorCtr="0" compatLnSpc="1">
              <a:spAutoFit/>
            </a:bodyPr>
            <a:lstStyle/>
            <a:p>
              <a:pPr eaLnBrk="0" fontAlgn="base" hangingPunct="0">
                <a:lnSpc>
                  <a:spcPct val="150000"/>
                </a:lnSpc>
                <a:spcBef>
                  <a:spcPct val="0"/>
                </a:spcBef>
                <a:spcAft>
                  <a:spcPct val="0"/>
                </a:spcAft>
              </a:pPr>
              <a:r>
                <a:rPr lang="zh-CN" altLang="en-US" sz="1200" dirty="0">
                  <a:solidFill>
                    <a:schemeClr val="bg1">
                      <a:lumMod val="50000"/>
                    </a:schemeClr>
                  </a:solidFill>
                  <a:latin typeface="+mn-ea"/>
                  <a:cs typeface="+mn-ea"/>
                </a:rPr>
                <a:t>麻省理工大学建筑系硕士，后又获得哈佛大学建筑系博士学位。参加过国内外重大工作。</a:t>
              </a:r>
              <a:endParaRPr lang="zh-CN" altLang="en-US" sz="1200" dirty="0">
                <a:solidFill>
                  <a:schemeClr val="bg1">
                    <a:lumMod val="50000"/>
                  </a:schemeClr>
                </a:solidFill>
                <a:latin typeface="+mn-ea"/>
                <a:cs typeface="+mn-ea"/>
              </a:endParaRPr>
            </a:p>
          </p:txBody>
        </p:sp>
      </p:grpSp>
      <p:grpSp>
        <p:nvGrpSpPr>
          <p:cNvPr id="112" name="组合 111"/>
          <p:cNvGrpSpPr/>
          <p:nvPr/>
        </p:nvGrpSpPr>
        <p:grpSpPr>
          <a:xfrm>
            <a:off x="1703070" y="4522192"/>
            <a:ext cx="2676894" cy="899867"/>
            <a:chOff x="1703512" y="4666491"/>
            <a:chExt cx="2677592" cy="900101"/>
          </a:xfrm>
        </p:grpSpPr>
        <p:sp>
          <p:nvSpPr>
            <p:cNvPr id="113" name="文本框 18"/>
            <p:cNvSpPr txBox="1"/>
            <p:nvPr/>
          </p:nvSpPr>
          <p:spPr>
            <a:xfrm>
              <a:off x="1703512" y="4666491"/>
              <a:ext cx="2088232" cy="769513"/>
            </a:xfrm>
            <a:prstGeom prst="rect">
              <a:avLst/>
            </a:prstGeom>
            <a:noFill/>
          </p:spPr>
          <p:txBody>
            <a:bodyPr wrap="square" rtlCol="0">
              <a:spAutoFit/>
            </a:bodyPr>
            <a:lstStyle/>
            <a:p>
              <a:r>
                <a:rPr lang="en-US" altLang="zh-CN" sz="4400" dirty="0">
                  <a:solidFill>
                    <a:schemeClr val="bg1">
                      <a:lumMod val="50000"/>
                    </a:schemeClr>
                  </a:solidFill>
                  <a:latin typeface="+mn-ea"/>
                  <a:cs typeface="+mn-ea"/>
                </a:rPr>
                <a:t>JSEN</a:t>
              </a:r>
              <a:endParaRPr lang="en-US" altLang="zh-CN" sz="4400" dirty="0">
                <a:solidFill>
                  <a:schemeClr val="bg1">
                    <a:lumMod val="50000"/>
                  </a:schemeClr>
                </a:solidFill>
                <a:latin typeface="+mn-ea"/>
                <a:cs typeface="+mn-ea"/>
              </a:endParaRPr>
            </a:p>
          </p:txBody>
        </p:sp>
        <p:cxnSp>
          <p:nvCxnSpPr>
            <p:cNvPr id="114" name="直接连接符 113"/>
            <p:cNvCxnSpPr/>
            <p:nvPr/>
          </p:nvCxnSpPr>
          <p:spPr>
            <a:xfrm flipV="1">
              <a:off x="3275469" y="5051211"/>
              <a:ext cx="444027" cy="515381"/>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15" name="矩形 114"/>
            <p:cNvSpPr/>
            <p:nvPr/>
          </p:nvSpPr>
          <p:spPr>
            <a:xfrm>
              <a:off x="3503712" y="5219909"/>
              <a:ext cx="877392" cy="300032"/>
            </a:xfrm>
            <a:prstGeom prst="rect">
              <a:avLst/>
            </a:prstGeom>
          </p:spPr>
          <p:txBody>
            <a:bodyPr wrap="none">
              <a:spAutoFit/>
            </a:bodyPr>
            <a:lstStyle/>
            <a:p>
              <a:r>
                <a:rPr lang="zh-CN" altLang="en-US" sz="1350" dirty="0">
                  <a:solidFill>
                    <a:schemeClr val="bg1">
                      <a:lumMod val="50000"/>
                    </a:schemeClr>
                  </a:solidFill>
                  <a:latin typeface="+mn-ea"/>
                  <a:cs typeface="+mn-ea"/>
                </a:rPr>
                <a:t>项目经理</a:t>
              </a:r>
              <a:endParaRPr lang="zh-CN" altLang="en-US" sz="1350" dirty="0">
                <a:solidFill>
                  <a:schemeClr val="bg1">
                    <a:lumMod val="50000"/>
                  </a:schemeClr>
                </a:solidFill>
                <a:latin typeface="+mn-ea"/>
                <a:cs typeface="+mn-ea"/>
              </a:endParaRPr>
            </a:p>
          </p:txBody>
        </p:sp>
      </p:grpSp>
      <p:grpSp>
        <p:nvGrpSpPr>
          <p:cNvPr id="116" name="组合 115"/>
          <p:cNvGrpSpPr/>
          <p:nvPr/>
        </p:nvGrpSpPr>
        <p:grpSpPr>
          <a:xfrm>
            <a:off x="5072053" y="4579811"/>
            <a:ext cx="5991207" cy="842247"/>
            <a:chOff x="5073372" y="4724126"/>
            <a:chExt cx="5992767" cy="842466"/>
          </a:xfrm>
        </p:grpSpPr>
        <p:cxnSp>
          <p:nvCxnSpPr>
            <p:cNvPr id="117" name="直接连接符 116"/>
            <p:cNvCxnSpPr/>
            <p:nvPr/>
          </p:nvCxnSpPr>
          <p:spPr>
            <a:xfrm>
              <a:off x="5073372" y="5566592"/>
              <a:ext cx="505666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8" name="文本框 49"/>
            <p:cNvSpPr txBox="1"/>
            <p:nvPr/>
          </p:nvSpPr>
          <p:spPr>
            <a:xfrm>
              <a:off x="8509855" y="4724126"/>
              <a:ext cx="2556284" cy="584927"/>
            </a:xfrm>
            <a:prstGeom prst="rect">
              <a:avLst/>
            </a:prstGeom>
            <a:noFill/>
          </p:spPr>
          <p:txBody>
            <a:bodyPr wrap="square" rtlCol="0">
              <a:spAutoFit/>
            </a:bodyPr>
            <a:lstStyle/>
            <a:p>
              <a:r>
                <a:rPr lang="zh-CN" altLang="en-US" sz="1600" dirty="0">
                  <a:solidFill>
                    <a:schemeClr val="bg1">
                      <a:lumMod val="50000"/>
                    </a:schemeClr>
                  </a:solidFill>
                  <a:latin typeface="+mn-ea"/>
                  <a:cs typeface="+mn-ea"/>
                </a:rPr>
                <a:t>工作岗位说明及日常工作内容阐述。</a:t>
              </a:r>
              <a:endParaRPr lang="zh-CN" altLang="en-US" sz="1600" dirty="0">
                <a:solidFill>
                  <a:schemeClr val="bg1">
                    <a:lumMod val="50000"/>
                  </a:schemeClr>
                </a:solidFill>
                <a:latin typeface="+mn-ea"/>
                <a:cs typeface="+mn-ea"/>
              </a:endParaRPr>
            </a:p>
          </p:txBody>
        </p:sp>
        <p:pic>
          <p:nvPicPr>
            <p:cNvPr id="119" name="图片 118"/>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7878872" y="4762457"/>
              <a:ext cx="504000" cy="504000"/>
            </a:xfrm>
            <a:prstGeom prst="ellipse">
              <a:avLst/>
            </a:prstGeom>
            <a:solidFill>
              <a:srgbClr val="254061"/>
            </a:solidFill>
          </p:spPr>
        </p:pic>
      </p:grpSp>
      <p:sp>
        <p:nvSpPr>
          <p:cNvPr id="4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48" name="文本框 47"/>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72"/>
                                        </p:tgtEl>
                                        <p:attrNameLst>
                                          <p:attrName>style.visibility</p:attrName>
                                        </p:attrNameLst>
                                      </p:cBhvr>
                                      <p:to>
                                        <p:strVal val="visible"/>
                                      </p:to>
                                    </p:set>
                                    <p:anim calcmode="lin" valueType="num">
                                      <p:cBhvr>
                                        <p:cTn id="7" dur="500" fill="hold"/>
                                        <p:tgtEl>
                                          <p:spTgt spid="72"/>
                                        </p:tgtEl>
                                        <p:attrNameLst>
                                          <p:attrName>ppt_w</p:attrName>
                                        </p:attrNameLst>
                                      </p:cBhvr>
                                      <p:tavLst>
                                        <p:tav tm="0">
                                          <p:val>
                                            <p:fltVal val="0"/>
                                          </p:val>
                                        </p:tav>
                                        <p:tav tm="100000">
                                          <p:val>
                                            <p:strVal val="#ppt_w"/>
                                          </p:val>
                                        </p:tav>
                                      </p:tavLst>
                                    </p:anim>
                                    <p:anim calcmode="lin" valueType="num">
                                      <p:cBhvr>
                                        <p:cTn id="8" dur="500" fill="hold"/>
                                        <p:tgtEl>
                                          <p:spTgt spid="72"/>
                                        </p:tgtEl>
                                        <p:attrNameLst>
                                          <p:attrName>ppt_h</p:attrName>
                                        </p:attrNameLst>
                                      </p:cBhvr>
                                      <p:tavLst>
                                        <p:tav tm="0">
                                          <p:val>
                                            <p:fltVal val="0"/>
                                          </p:val>
                                        </p:tav>
                                        <p:tav tm="100000">
                                          <p:val>
                                            <p:strVal val="#ppt_h"/>
                                          </p:val>
                                        </p:tav>
                                      </p:tavLst>
                                    </p:anim>
                                    <p:animEffect transition="in" filter="fade">
                                      <p:cBhvr>
                                        <p:cTn id="9" dur="500"/>
                                        <p:tgtEl>
                                          <p:spTgt spid="72"/>
                                        </p:tgtEl>
                                      </p:cBhvr>
                                    </p:animEffect>
                                  </p:childTnLst>
                                </p:cTn>
                              </p:par>
                              <p:par>
                                <p:cTn id="10" presetID="53" presetClass="entr" presetSubtype="16" fill="hold" grpId="0" nodeType="withEffect">
                                  <p:stCondLst>
                                    <p:cond delay="500"/>
                                  </p:stCondLst>
                                  <p:childTnLst>
                                    <p:set>
                                      <p:cBhvr>
                                        <p:cTn id="11" dur="1" fill="hold">
                                          <p:stCondLst>
                                            <p:cond delay="0"/>
                                          </p:stCondLst>
                                        </p:cTn>
                                        <p:tgtEl>
                                          <p:spTgt spid="97"/>
                                        </p:tgtEl>
                                        <p:attrNameLst>
                                          <p:attrName>style.visibility</p:attrName>
                                        </p:attrNameLst>
                                      </p:cBhvr>
                                      <p:to>
                                        <p:strVal val="visible"/>
                                      </p:to>
                                    </p:set>
                                    <p:anim calcmode="lin" valueType="num">
                                      <p:cBhvr>
                                        <p:cTn id="12" dur="500" fill="hold"/>
                                        <p:tgtEl>
                                          <p:spTgt spid="97"/>
                                        </p:tgtEl>
                                        <p:attrNameLst>
                                          <p:attrName>ppt_w</p:attrName>
                                        </p:attrNameLst>
                                      </p:cBhvr>
                                      <p:tavLst>
                                        <p:tav tm="0">
                                          <p:val>
                                            <p:fltVal val="0"/>
                                          </p:val>
                                        </p:tav>
                                        <p:tav tm="100000">
                                          <p:val>
                                            <p:strVal val="#ppt_w"/>
                                          </p:val>
                                        </p:tav>
                                      </p:tavLst>
                                    </p:anim>
                                    <p:anim calcmode="lin" valueType="num">
                                      <p:cBhvr>
                                        <p:cTn id="13" dur="500" fill="hold"/>
                                        <p:tgtEl>
                                          <p:spTgt spid="97"/>
                                        </p:tgtEl>
                                        <p:attrNameLst>
                                          <p:attrName>ppt_h</p:attrName>
                                        </p:attrNameLst>
                                      </p:cBhvr>
                                      <p:tavLst>
                                        <p:tav tm="0">
                                          <p:val>
                                            <p:fltVal val="0"/>
                                          </p:val>
                                        </p:tav>
                                        <p:tav tm="100000">
                                          <p:val>
                                            <p:strVal val="#ppt_h"/>
                                          </p:val>
                                        </p:tav>
                                      </p:tavLst>
                                    </p:anim>
                                    <p:animEffect transition="in" filter="fade">
                                      <p:cBhvr>
                                        <p:cTn id="14" dur="500"/>
                                        <p:tgtEl>
                                          <p:spTgt spid="97"/>
                                        </p:tgtEl>
                                      </p:cBhvr>
                                    </p:animEffect>
                                  </p:childTnLst>
                                </p:cTn>
                              </p:par>
                              <p:par>
                                <p:cTn id="15" presetID="53" presetClass="entr" presetSubtype="16" fill="hold" nodeType="withEffect">
                                  <p:stCondLst>
                                    <p:cond delay="500"/>
                                  </p:stCondLst>
                                  <p:childTnLst>
                                    <p:set>
                                      <p:cBhvr>
                                        <p:cTn id="16" dur="1" fill="hold">
                                          <p:stCondLst>
                                            <p:cond delay="0"/>
                                          </p:stCondLst>
                                        </p:cTn>
                                        <p:tgtEl>
                                          <p:spTgt spid="98"/>
                                        </p:tgtEl>
                                        <p:attrNameLst>
                                          <p:attrName>style.visibility</p:attrName>
                                        </p:attrNameLst>
                                      </p:cBhvr>
                                      <p:to>
                                        <p:strVal val="visible"/>
                                      </p:to>
                                    </p:set>
                                    <p:anim calcmode="lin" valueType="num">
                                      <p:cBhvr>
                                        <p:cTn id="17" dur="500" fill="hold"/>
                                        <p:tgtEl>
                                          <p:spTgt spid="98"/>
                                        </p:tgtEl>
                                        <p:attrNameLst>
                                          <p:attrName>ppt_w</p:attrName>
                                        </p:attrNameLst>
                                      </p:cBhvr>
                                      <p:tavLst>
                                        <p:tav tm="0">
                                          <p:val>
                                            <p:fltVal val="0"/>
                                          </p:val>
                                        </p:tav>
                                        <p:tav tm="100000">
                                          <p:val>
                                            <p:strVal val="#ppt_w"/>
                                          </p:val>
                                        </p:tav>
                                      </p:tavLst>
                                    </p:anim>
                                    <p:anim calcmode="lin" valueType="num">
                                      <p:cBhvr>
                                        <p:cTn id="18" dur="500" fill="hold"/>
                                        <p:tgtEl>
                                          <p:spTgt spid="98"/>
                                        </p:tgtEl>
                                        <p:attrNameLst>
                                          <p:attrName>ppt_h</p:attrName>
                                        </p:attrNameLst>
                                      </p:cBhvr>
                                      <p:tavLst>
                                        <p:tav tm="0">
                                          <p:val>
                                            <p:fltVal val="0"/>
                                          </p:val>
                                        </p:tav>
                                        <p:tav tm="100000">
                                          <p:val>
                                            <p:strVal val="#ppt_h"/>
                                          </p:val>
                                        </p:tav>
                                      </p:tavLst>
                                    </p:anim>
                                    <p:animEffect transition="in" filter="fade">
                                      <p:cBhvr>
                                        <p:cTn id="19" dur="500"/>
                                        <p:tgtEl>
                                          <p:spTgt spid="98"/>
                                        </p:tgtEl>
                                      </p:cBhvr>
                                    </p:animEffect>
                                  </p:childTnLst>
                                </p:cTn>
                              </p:par>
                              <p:par>
                                <p:cTn id="20" presetID="53" presetClass="entr" presetSubtype="16" fill="hold" nodeType="withEffect">
                                  <p:stCondLst>
                                    <p:cond delay="1000"/>
                                  </p:stCondLst>
                                  <p:childTnLst>
                                    <p:set>
                                      <p:cBhvr>
                                        <p:cTn id="21" dur="1" fill="hold">
                                          <p:stCondLst>
                                            <p:cond delay="0"/>
                                          </p:stCondLst>
                                        </p:cTn>
                                        <p:tgtEl>
                                          <p:spTgt spid="109"/>
                                        </p:tgtEl>
                                        <p:attrNameLst>
                                          <p:attrName>style.visibility</p:attrName>
                                        </p:attrNameLst>
                                      </p:cBhvr>
                                      <p:to>
                                        <p:strVal val="visible"/>
                                      </p:to>
                                    </p:set>
                                    <p:anim calcmode="lin" valueType="num">
                                      <p:cBhvr>
                                        <p:cTn id="22" dur="500" fill="hold"/>
                                        <p:tgtEl>
                                          <p:spTgt spid="109"/>
                                        </p:tgtEl>
                                        <p:attrNameLst>
                                          <p:attrName>ppt_w</p:attrName>
                                        </p:attrNameLst>
                                      </p:cBhvr>
                                      <p:tavLst>
                                        <p:tav tm="0">
                                          <p:val>
                                            <p:fltVal val="0"/>
                                          </p:val>
                                        </p:tav>
                                        <p:tav tm="100000">
                                          <p:val>
                                            <p:strVal val="#ppt_w"/>
                                          </p:val>
                                        </p:tav>
                                      </p:tavLst>
                                    </p:anim>
                                    <p:anim calcmode="lin" valueType="num">
                                      <p:cBhvr>
                                        <p:cTn id="23" dur="500" fill="hold"/>
                                        <p:tgtEl>
                                          <p:spTgt spid="109"/>
                                        </p:tgtEl>
                                        <p:attrNameLst>
                                          <p:attrName>ppt_h</p:attrName>
                                        </p:attrNameLst>
                                      </p:cBhvr>
                                      <p:tavLst>
                                        <p:tav tm="0">
                                          <p:val>
                                            <p:fltVal val="0"/>
                                          </p:val>
                                        </p:tav>
                                        <p:tav tm="100000">
                                          <p:val>
                                            <p:strVal val="#ppt_h"/>
                                          </p:val>
                                        </p:tav>
                                      </p:tavLst>
                                    </p:anim>
                                    <p:animEffect transition="in" filter="fade">
                                      <p:cBhvr>
                                        <p:cTn id="24" dur="500"/>
                                        <p:tgtEl>
                                          <p:spTgt spid="109"/>
                                        </p:tgtEl>
                                      </p:cBhvr>
                                    </p:animEffect>
                                  </p:childTnLst>
                                </p:cTn>
                              </p:par>
                              <p:par>
                                <p:cTn id="25" presetID="53" presetClass="entr" presetSubtype="16" fill="hold" grpId="0" nodeType="withEffect">
                                  <p:stCondLst>
                                    <p:cond delay="1500"/>
                                  </p:stCondLst>
                                  <p:childTnLst>
                                    <p:set>
                                      <p:cBhvr>
                                        <p:cTn id="26" dur="1" fill="hold">
                                          <p:stCondLst>
                                            <p:cond delay="0"/>
                                          </p:stCondLst>
                                        </p:cTn>
                                        <p:tgtEl>
                                          <p:spTgt spid="99"/>
                                        </p:tgtEl>
                                        <p:attrNameLst>
                                          <p:attrName>style.visibility</p:attrName>
                                        </p:attrNameLst>
                                      </p:cBhvr>
                                      <p:to>
                                        <p:strVal val="visible"/>
                                      </p:to>
                                    </p:set>
                                    <p:anim calcmode="lin" valueType="num">
                                      <p:cBhvr>
                                        <p:cTn id="27" dur="500" fill="hold"/>
                                        <p:tgtEl>
                                          <p:spTgt spid="99"/>
                                        </p:tgtEl>
                                        <p:attrNameLst>
                                          <p:attrName>ppt_w</p:attrName>
                                        </p:attrNameLst>
                                      </p:cBhvr>
                                      <p:tavLst>
                                        <p:tav tm="0">
                                          <p:val>
                                            <p:fltVal val="0"/>
                                          </p:val>
                                        </p:tav>
                                        <p:tav tm="100000">
                                          <p:val>
                                            <p:strVal val="#ppt_w"/>
                                          </p:val>
                                        </p:tav>
                                      </p:tavLst>
                                    </p:anim>
                                    <p:anim calcmode="lin" valueType="num">
                                      <p:cBhvr>
                                        <p:cTn id="28" dur="500" fill="hold"/>
                                        <p:tgtEl>
                                          <p:spTgt spid="99"/>
                                        </p:tgtEl>
                                        <p:attrNameLst>
                                          <p:attrName>ppt_h</p:attrName>
                                        </p:attrNameLst>
                                      </p:cBhvr>
                                      <p:tavLst>
                                        <p:tav tm="0">
                                          <p:val>
                                            <p:fltVal val="0"/>
                                          </p:val>
                                        </p:tav>
                                        <p:tav tm="100000">
                                          <p:val>
                                            <p:strVal val="#ppt_h"/>
                                          </p:val>
                                        </p:tav>
                                      </p:tavLst>
                                    </p:anim>
                                    <p:animEffect transition="in" filter="fade">
                                      <p:cBhvr>
                                        <p:cTn id="29" dur="500"/>
                                        <p:tgtEl>
                                          <p:spTgt spid="99"/>
                                        </p:tgtEl>
                                      </p:cBhvr>
                                    </p:animEffect>
                                  </p:childTnLst>
                                </p:cTn>
                              </p:par>
                              <p:par>
                                <p:cTn id="30" presetID="53" presetClass="entr" presetSubtype="16" fill="hold" grpId="0" nodeType="withEffect">
                                  <p:stCondLst>
                                    <p:cond delay="1500"/>
                                  </p:stCondLst>
                                  <p:childTnLst>
                                    <p:set>
                                      <p:cBhvr>
                                        <p:cTn id="31" dur="1" fill="hold">
                                          <p:stCondLst>
                                            <p:cond delay="0"/>
                                          </p:stCondLst>
                                        </p:cTn>
                                        <p:tgtEl>
                                          <p:spTgt spid="100"/>
                                        </p:tgtEl>
                                        <p:attrNameLst>
                                          <p:attrName>style.visibility</p:attrName>
                                        </p:attrNameLst>
                                      </p:cBhvr>
                                      <p:to>
                                        <p:strVal val="visible"/>
                                      </p:to>
                                    </p:set>
                                    <p:anim calcmode="lin" valueType="num">
                                      <p:cBhvr>
                                        <p:cTn id="32" dur="500" fill="hold"/>
                                        <p:tgtEl>
                                          <p:spTgt spid="100"/>
                                        </p:tgtEl>
                                        <p:attrNameLst>
                                          <p:attrName>ppt_w</p:attrName>
                                        </p:attrNameLst>
                                      </p:cBhvr>
                                      <p:tavLst>
                                        <p:tav tm="0">
                                          <p:val>
                                            <p:fltVal val="0"/>
                                          </p:val>
                                        </p:tav>
                                        <p:tav tm="100000">
                                          <p:val>
                                            <p:strVal val="#ppt_w"/>
                                          </p:val>
                                        </p:tav>
                                      </p:tavLst>
                                    </p:anim>
                                    <p:anim calcmode="lin" valueType="num">
                                      <p:cBhvr>
                                        <p:cTn id="33" dur="500" fill="hold"/>
                                        <p:tgtEl>
                                          <p:spTgt spid="100"/>
                                        </p:tgtEl>
                                        <p:attrNameLst>
                                          <p:attrName>ppt_h</p:attrName>
                                        </p:attrNameLst>
                                      </p:cBhvr>
                                      <p:tavLst>
                                        <p:tav tm="0">
                                          <p:val>
                                            <p:fltVal val="0"/>
                                          </p:val>
                                        </p:tav>
                                        <p:tav tm="100000">
                                          <p:val>
                                            <p:strVal val="#ppt_h"/>
                                          </p:val>
                                        </p:tav>
                                      </p:tavLst>
                                    </p:anim>
                                    <p:animEffect transition="in" filter="fade">
                                      <p:cBhvr>
                                        <p:cTn id="34" dur="500"/>
                                        <p:tgtEl>
                                          <p:spTgt spid="100"/>
                                        </p:tgtEl>
                                      </p:cBhvr>
                                    </p:animEffect>
                                  </p:childTnLst>
                                </p:cTn>
                              </p:par>
                              <p:par>
                                <p:cTn id="35" presetID="53" presetClass="entr" presetSubtype="16" fill="hold" grpId="0" nodeType="withEffect">
                                  <p:stCondLst>
                                    <p:cond delay="1500"/>
                                  </p:stCondLst>
                                  <p:childTnLst>
                                    <p:set>
                                      <p:cBhvr>
                                        <p:cTn id="36" dur="1" fill="hold">
                                          <p:stCondLst>
                                            <p:cond delay="0"/>
                                          </p:stCondLst>
                                        </p:cTn>
                                        <p:tgtEl>
                                          <p:spTgt spid="101"/>
                                        </p:tgtEl>
                                        <p:attrNameLst>
                                          <p:attrName>style.visibility</p:attrName>
                                        </p:attrNameLst>
                                      </p:cBhvr>
                                      <p:to>
                                        <p:strVal val="visible"/>
                                      </p:to>
                                    </p:set>
                                    <p:anim calcmode="lin" valueType="num">
                                      <p:cBhvr>
                                        <p:cTn id="37" dur="500" fill="hold"/>
                                        <p:tgtEl>
                                          <p:spTgt spid="101"/>
                                        </p:tgtEl>
                                        <p:attrNameLst>
                                          <p:attrName>ppt_w</p:attrName>
                                        </p:attrNameLst>
                                      </p:cBhvr>
                                      <p:tavLst>
                                        <p:tav tm="0">
                                          <p:val>
                                            <p:fltVal val="0"/>
                                          </p:val>
                                        </p:tav>
                                        <p:tav tm="100000">
                                          <p:val>
                                            <p:strVal val="#ppt_w"/>
                                          </p:val>
                                        </p:tav>
                                      </p:tavLst>
                                    </p:anim>
                                    <p:anim calcmode="lin" valueType="num">
                                      <p:cBhvr>
                                        <p:cTn id="38" dur="500" fill="hold"/>
                                        <p:tgtEl>
                                          <p:spTgt spid="101"/>
                                        </p:tgtEl>
                                        <p:attrNameLst>
                                          <p:attrName>ppt_h</p:attrName>
                                        </p:attrNameLst>
                                      </p:cBhvr>
                                      <p:tavLst>
                                        <p:tav tm="0">
                                          <p:val>
                                            <p:fltVal val="0"/>
                                          </p:val>
                                        </p:tav>
                                        <p:tav tm="100000">
                                          <p:val>
                                            <p:strVal val="#ppt_h"/>
                                          </p:val>
                                        </p:tav>
                                      </p:tavLst>
                                    </p:anim>
                                    <p:animEffect transition="in" filter="fade">
                                      <p:cBhvr>
                                        <p:cTn id="39" dur="500"/>
                                        <p:tgtEl>
                                          <p:spTgt spid="101"/>
                                        </p:tgtEl>
                                      </p:cBhvr>
                                    </p:animEffect>
                                  </p:childTnLst>
                                </p:cTn>
                              </p:par>
                              <p:par>
                                <p:cTn id="40" presetID="53" presetClass="entr" presetSubtype="16" fill="hold" grpId="0" nodeType="withEffect">
                                  <p:stCondLst>
                                    <p:cond delay="1500"/>
                                  </p:stCondLst>
                                  <p:childTnLst>
                                    <p:set>
                                      <p:cBhvr>
                                        <p:cTn id="41" dur="1" fill="hold">
                                          <p:stCondLst>
                                            <p:cond delay="0"/>
                                          </p:stCondLst>
                                        </p:cTn>
                                        <p:tgtEl>
                                          <p:spTgt spid="102"/>
                                        </p:tgtEl>
                                        <p:attrNameLst>
                                          <p:attrName>style.visibility</p:attrName>
                                        </p:attrNameLst>
                                      </p:cBhvr>
                                      <p:to>
                                        <p:strVal val="visible"/>
                                      </p:to>
                                    </p:set>
                                    <p:anim calcmode="lin" valueType="num">
                                      <p:cBhvr>
                                        <p:cTn id="42" dur="500" fill="hold"/>
                                        <p:tgtEl>
                                          <p:spTgt spid="102"/>
                                        </p:tgtEl>
                                        <p:attrNameLst>
                                          <p:attrName>ppt_w</p:attrName>
                                        </p:attrNameLst>
                                      </p:cBhvr>
                                      <p:tavLst>
                                        <p:tav tm="0">
                                          <p:val>
                                            <p:fltVal val="0"/>
                                          </p:val>
                                        </p:tav>
                                        <p:tav tm="100000">
                                          <p:val>
                                            <p:strVal val="#ppt_w"/>
                                          </p:val>
                                        </p:tav>
                                      </p:tavLst>
                                    </p:anim>
                                    <p:anim calcmode="lin" valueType="num">
                                      <p:cBhvr>
                                        <p:cTn id="43" dur="500" fill="hold"/>
                                        <p:tgtEl>
                                          <p:spTgt spid="102"/>
                                        </p:tgtEl>
                                        <p:attrNameLst>
                                          <p:attrName>ppt_h</p:attrName>
                                        </p:attrNameLst>
                                      </p:cBhvr>
                                      <p:tavLst>
                                        <p:tav tm="0">
                                          <p:val>
                                            <p:fltVal val="0"/>
                                          </p:val>
                                        </p:tav>
                                        <p:tav tm="100000">
                                          <p:val>
                                            <p:strVal val="#ppt_h"/>
                                          </p:val>
                                        </p:tav>
                                      </p:tavLst>
                                    </p:anim>
                                    <p:animEffect transition="in" filter="fade">
                                      <p:cBhvr>
                                        <p:cTn id="44" dur="500"/>
                                        <p:tgtEl>
                                          <p:spTgt spid="102"/>
                                        </p:tgtEl>
                                      </p:cBhvr>
                                    </p:animEffect>
                                  </p:childTnLst>
                                </p:cTn>
                              </p:par>
                              <p:par>
                                <p:cTn id="45" presetID="53" presetClass="entr" presetSubtype="16" fill="hold" grpId="0" nodeType="withEffect">
                                  <p:stCondLst>
                                    <p:cond delay="1500"/>
                                  </p:stCondLst>
                                  <p:childTnLst>
                                    <p:set>
                                      <p:cBhvr>
                                        <p:cTn id="46" dur="1" fill="hold">
                                          <p:stCondLst>
                                            <p:cond delay="0"/>
                                          </p:stCondLst>
                                        </p:cTn>
                                        <p:tgtEl>
                                          <p:spTgt spid="103"/>
                                        </p:tgtEl>
                                        <p:attrNameLst>
                                          <p:attrName>style.visibility</p:attrName>
                                        </p:attrNameLst>
                                      </p:cBhvr>
                                      <p:to>
                                        <p:strVal val="visible"/>
                                      </p:to>
                                    </p:set>
                                    <p:anim calcmode="lin" valueType="num">
                                      <p:cBhvr>
                                        <p:cTn id="47" dur="500" fill="hold"/>
                                        <p:tgtEl>
                                          <p:spTgt spid="103"/>
                                        </p:tgtEl>
                                        <p:attrNameLst>
                                          <p:attrName>ppt_w</p:attrName>
                                        </p:attrNameLst>
                                      </p:cBhvr>
                                      <p:tavLst>
                                        <p:tav tm="0">
                                          <p:val>
                                            <p:fltVal val="0"/>
                                          </p:val>
                                        </p:tav>
                                        <p:tav tm="100000">
                                          <p:val>
                                            <p:strVal val="#ppt_w"/>
                                          </p:val>
                                        </p:tav>
                                      </p:tavLst>
                                    </p:anim>
                                    <p:anim calcmode="lin" valueType="num">
                                      <p:cBhvr>
                                        <p:cTn id="48" dur="500" fill="hold"/>
                                        <p:tgtEl>
                                          <p:spTgt spid="103"/>
                                        </p:tgtEl>
                                        <p:attrNameLst>
                                          <p:attrName>ppt_h</p:attrName>
                                        </p:attrNameLst>
                                      </p:cBhvr>
                                      <p:tavLst>
                                        <p:tav tm="0">
                                          <p:val>
                                            <p:fltVal val="0"/>
                                          </p:val>
                                        </p:tav>
                                        <p:tav tm="100000">
                                          <p:val>
                                            <p:strVal val="#ppt_h"/>
                                          </p:val>
                                        </p:tav>
                                      </p:tavLst>
                                    </p:anim>
                                    <p:animEffect transition="in" filter="fade">
                                      <p:cBhvr>
                                        <p:cTn id="49" dur="500"/>
                                        <p:tgtEl>
                                          <p:spTgt spid="103"/>
                                        </p:tgtEl>
                                      </p:cBhvr>
                                    </p:animEffect>
                                  </p:childTnLst>
                                </p:cTn>
                              </p:par>
                              <p:par>
                                <p:cTn id="50" presetID="53" presetClass="entr" presetSubtype="16" fill="hold" grpId="0" nodeType="withEffect">
                                  <p:stCondLst>
                                    <p:cond delay="1500"/>
                                  </p:stCondLst>
                                  <p:childTnLst>
                                    <p:set>
                                      <p:cBhvr>
                                        <p:cTn id="51" dur="1" fill="hold">
                                          <p:stCondLst>
                                            <p:cond delay="0"/>
                                          </p:stCondLst>
                                        </p:cTn>
                                        <p:tgtEl>
                                          <p:spTgt spid="104"/>
                                        </p:tgtEl>
                                        <p:attrNameLst>
                                          <p:attrName>style.visibility</p:attrName>
                                        </p:attrNameLst>
                                      </p:cBhvr>
                                      <p:to>
                                        <p:strVal val="visible"/>
                                      </p:to>
                                    </p:set>
                                    <p:anim calcmode="lin" valueType="num">
                                      <p:cBhvr>
                                        <p:cTn id="52" dur="500" fill="hold"/>
                                        <p:tgtEl>
                                          <p:spTgt spid="104"/>
                                        </p:tgtEl>
                                        <p:attrNameLst>
                                          <p:attrName>ppt_w</p:attrName>
                                        </p:attrNameLst>
                                      </p:cBhvr>
                                      <p:tavLst>
                                        <p:tav tm="0">
                                          <p:val>
                                            <p:fltVal val="0"/>
                                          </p:val>
                                        </p:tav>
                                        <p:tav tm="100000">
                                          <p:val>
                                            <p:strVal val="#ppt_w"/>
                                          </p:val>
                                        </p:tav>
                                      </p:tavLst>
                                    </p:anim>
                                    <p:anim calcmode="lin" valueType="num">
                                      <p:cBhvr>
                                        <p:cTn id="53" dur="500" fill="hold"/>
                                        <p:tgtEl>
                                          <p:spTgt spid="104"/>
                                        </p:tgtEl>
                                        <p:attrNameLst>
                                          <p:attrName>ppt_h</p:attrName>
                                        </p:attrNameLst>
                                      </p:cBhvr>
                                      <p:tavLst>
                                        <p:tav tm="0">
                                          <p:val>
                                            <p:fltVal val="0"/>
                                          </p:val>
                                        </p:tav>
                                        <p:tav tm="100000">
                                          <p:val>
                                            <p:strVal val="#ppt_h"/>
                                          </p:val>
                                        </p:tav>
                                      </p:tavLst>
                                    </p:anim>
                                    <p:animEffect transition="in" filter="fade">
                                      <p:cBhvr>
                                        <p:cTn id="54" dur="500"/>
                                        <p:tgtEl>
                                          <p:spTgt spid="104"/>
                                        </p:tgtEl>
                                      </p:cBhvr>
                                    </p:animEffect>
                                  </p:childTnLst>
                                </p:cTn>
                              </p:par>
                              <p:par>
                                <p:cTn id="55" presetID="53" presetClass="entr" presetSubtype="16" fill="hold" grpId="0" nodeType="withEffect">
                                  <p:stCondLst>
                                    <p:cond delay="1500"/>
                                  </p:stCondLst>
                                  <p:childTnLst>
                                    <p:set>
                                      <p:cBhvr>
                                        <p:cTn id="56" dur="1" fill="hold">
                                          <p:stCondLst>
                                            <p:cond delay="0"/>
                                          </p:stCondLst>
                                        </p:cTn>
                                        <p:tgtEl>
                                          <p:spTgt spid="105"/>
                                        </p:tgtEl>
                                        <p:attrNameLst>
                                          <p:attrName>style.visibility</p:attrName>
                                        </p:attrNameLst>
                                      </p:cBhvr>
                                      <p:to>
                                        <p:strVal val="visible"/>
                                      </p:to>
                                    </p:set>
                                    <p:anim calcmode="lin" valueType="num">
                                      <p:cBhvr>
                                        <p:cTn id="57" dur="500" fill="hold"/>
                                        <p:tgtEl>
                                          <p:spTgt spid="105"/>
                                        </p:tgtEl>
                                        <p:attrNameLst>
                                          <p:attrName>ppt_w</p:attrName>
                                        </p:attrNameLst>
                                      </p:cBhvr>
                                      <p:tavLst>
                                        <p:tav tm="0">
                                          <p:val>
                                            <p:fltVal val="0"/>
                                          </p:val>
                                        </p:tav>
                                        <p:tav tm="100000">
                                          <p:val>
                                            <p:strVal val="#ppt_w"/>
                                          </p:val>
                                        </p:tav>
                                      </p:tavLst>
                                    </p:anim>
                                    <p:anim calcmode="lin" valueType="num">
                                      <p:cBhvr>
                                        <p:cTn id="58" dur="500" fill="hold"/>
                                        <p:tgtEl>
                                          <p:spTgt spid="105"/>
                                        </p:tgtEl>
                                        <p:attrNameLst>
                                          <p:attrName>ppt_h</p:attrName>
                                        </p:attrNameLst>
                                      </p:cBhvr>
                                      <p:tavLst>
                                        <p:tav tm="0">
                                          <p:val>
                                            <p:fltVal val="0"/>
                                          </p:val>
                                        </p:tav>
                                        <p:tav tm="100000">
                                          <p:val>
                                            <p:strVal val="#ppt_h"/>
                                          </p:val>
                                        </p:tav>
                                      </p:tavLst>
                                    </p:anim>
                                    <p:animEffect transition="in" filter="fade">
                                      <p:cBhvr>
                                        <p:cTn id="59" dur="500"/>
                                        <p:tgtEl>
                                          <p:spTgt spid="105"/>
                                        </p:tgtEl>
                                      </p:cBhvr>
                                    </p:animEffect>
                                  </p:childTnLst>
                                </p:cTn>
                              </p:par>
                              <p:par>
                                <p:cTn id="60" presetID="53" presetClass="entr" presetSubtype="16" fill="hold" grpId="0" nodeType="withEffect">
                                  <p:stCondLst>
                                    <p:cond delay="1500"/>
                                  </p:stCondLst>
                                  <p:childTnLst>
                                    <p:set>
                                      <p:cBhvr>
                                        <p:cTn id="61" dur="1" fill="hold">
                                          <p:stCondLst>
                                            <p:cond delay="0"/>
                                          </p:stCondLst>
                                        </p:cTn>
                                        <p:tgtEl>
                                          <p:spTgt spid="106"/>
                                        </p:tgtEl>
                                        <p:attrNameLst>
                                          <p:attrName>style.visibility</p:attrName>
                                        </p:attrNameLst>
                                      </p:cBhvr>
                                      <p:to>
                                        <p:strVal val="visible"/>
                                      </p:to>
                                    </p:set>
                                    <p:anim calcmode="lin" valueType="num">
                                      <p:cBhvr>
                                        <p:cTn id="62" dur="500" fill="hold"/>
                                        <p:tgtEl>
                                          <p:spTgt spid="106"/>
                                        </p:tgtEl>
                                        <p:attrNameLst>
                                          <p:attrName>ppt_w</p:attrName>
                                        </p:attrNameLst>
                                      </p:cBhvr>
                                      <p:tavLst>
                                        <p:tav tm="0">
                                          <p:val>
                                            <p:fltVal val="0"/>
                                          </p:val>
                                        </p:tav>
                                        <p:tav tm="100000">
                                          <p:val>
                                            <p:strVal val="#ppt_w"/>
                                          </p:val>
                                        </p:tav>
                                      </p:tavLst>
                                    </p:anim>
                                    <p:anim calcmode="lin" valueType="num">
                                      <p:cBhvr>
                                        <p:cTn id="63" dur="500" fill="hold"/>
                                        <p:tgtEl>
                                          <p:spTgt spid="106"/>
                                        </p:tgtEl>
                                        <p:attrNameLst>
                                          <p:attrName>ppt_h</p:attrName>
                                        </p:attrNameLst>
                                      </p:cBhvr>
                                      <p:tavLst>
                                        <p:tav tm="0">
                                          <p:val>
                                            <p:fltVal val="0"/>
                                          </p:val>
                                        </p:tav>
                                        <p:tav tm="100000">
                                          <p:val>
                                            <p:strVal val="#ppt_h"/>
                                          </p:val>
                                        </p:tav>
                                      </p:tavLst>
                                    </p:anim>
                                    <p:animEffect transition="in" filter="fade">
                                      <p:cBhvr>
                                        <p:cTn id="64" dur="500"/>
                                        <p:tgtEl>
                                          <p:spTgt spid="106"/>
                                        </p:tgtEl>
                                      </p:cBhvr>
                                    </p:animEffect>
                                  </p:childTnLst>
                                </p:cTn>
                              </p:par>
                              <p:par>
                                <p:cTn id="65" presetID="53" presetClass="entr" presetSubtype="16" fill="hold" grpId="0" nodeType="withEffect">
                                  <p:stCondLst>
                                    <p:cond delay="1500"/>
                                  </p:stCondLst>
                                  <p:childTnLst>
                                    <p:set>
                                      <p:cBhvr>
                                        <p:cTn id="66" dur="1" fill="hold">
                                          <p:stCondLst>
                                            <p:cond delay="0"/>
                                          </p:stCondLst>
                                        </p:cTn>
                                        <p:tgtEl>
                                          <p:spTgt spid="107"/>
                                        </p:tgtEl>
                                        <p:attrNameLst>
                                          <p:attrName>style.visibility</p:attrName>
                                        </p:attrNameLst>
                                      </p:cBhvr>
                                      <p:to>
                                        <p:strVal val="visible"/>
                                      </p:to>
                                    </p:set>
                                    <p:anim calcmode="lin" valueType="num">
                                      <p:cBhvr>
                                        <p:cTn id="67" dur="500" fill="hold"/>
                                        <p:tgtEl>
                                          <p:spTgt spid="107"/>
                                        </p:tgtEl>
                                        <p:attrNameLst>
                                          <p:attrName>ppt_w</p:attrName>
                                        </p:attrNameLst>
                                      </p:cBhvr>
                                      <p:tavLst>
                                        <p:tav tm="0">
                                          <p:val>
                                            <p:fltVal val="0"/>
                                          </p:val>
                                        </p:tav>
                                        <p:tav tm="100000">
                                          <p:val>
                                            <p:strVal val="#ppt_w"/>
                                          </p:val>
                                        </p:tav>
                                      </p:tavLst>
                                    </p:anim>
                                    <p:anim calcmode="lin" valueType="num">
                                      <p:cBhvr>
                                        <p:cTn id="68" dur="500" fill="hold"/>
                                        <p:tgtEl>
                                          <p:spTgt spid="107"/>
                                        </p:tgtEl>
                                        <p:attrNameLst>
                                          <p:attrName>ppt_h</p:attrName>
                                        </p:attrNameLst>
                                      </p:cBhvr>
                                      <p:tavLst>
                                        <p:tav tm="0">
                                          <p:val>
                                            <p:fltVal val="0"/>
                                          </p:val>
                                        </p:tav>
                                        <p:tav tm="100000">
                                          <p:val>
                                            <p:strVal val="#ppt_h"/>
                                          </p:val>
                                        </p:tav>
                                      </p:tavLst>
                                    </p:anim>
                                    <p:animEffect transition="in" filter="fade">
                                      <p:cBhvr>
                                        <p:cTn id="69" dur="500"/>
                                        <p:tgtEl>
                                          <p:spTgt spid="107"/>
                                        </p:tgtEl>
                                      </p:cBhvr>
                                    </p:animEffect>
                                  </p:childTnLst>
                                </p:cTn>
                              </p:par>
                              <p:par>
                                <p:cTn id="70" presetID="53" presetClass="entr" presetSubtype="16" fill="hold" grpId="0" nodeType="withEffect" nodePh="1">
                                  <p:stCondLst>
                                    <p:cond delay="1500"/>
                                  </p:stCondLst>
                                  <p:endCondLst>
                                    <p:cond evt="begin" delay="0">
                                      <p:tn val="70"/>
                                    </p:cond>
                                  </p:endCondLst>
                                  <p:childTnLst>
                                    <p:set>
                                      <p:cBhvr>
                                        <p:cTn id="71" dur="1" fill="hold">
                                          <p:stCondLst>
                                            <p:cond delay="0"/>
                                          </p:stCondLst>
                                        </p:cTn>
                                        <p:tgtEl>
                                          <p:spTgt spid="108"/>
                                        </p:tgtEl>
                                        <p:attrNameLst>
                                          <p:attrName>style.visibility</p:attrName>
                                        </p:attrNameLst>
                                      </p:cBhvr>
                                      <p:to>
                                        <p:strVal val="visible"/>
                                      </p:to>
                                    </p:set>
                                    <p:anim calcmode="lin" valueType="num">
                                      <p:cBhvr>
                                        <p:cTn id="72" dur="500" fill="hold"/>
                                        <p:tgtEl>
                                          <p:spTgt spid="108"/>
                                        </p:tgtEl>
                                        <p:attrNameLst>
                                          <p:attrName>ppt_w</p:attrName>
                                        </p:attrNameLst>
                                      </p:cBhvr>
                                      <p:tavLst>
                                        <p:tav tm="0">
                                          <p:val>
                                            <p:fltVal val="0"/>
                                          </p:val>
                                        </p:tav>
                                        <p:tav tm="100000">
                                          <p:val>
                                            <p:strVal val="#ppt_w"/>
                                          </p:val>
                                        </p:tav>
                                      </p:tavLst>
                                    </p:anim>
                                    <p:anim calcmode="lin" valueType="num">
                                      <p:cBhvr>
                                        <p:cTn id="73" dur="500" fill="hold"/>
                                        <p:tgtEl>
                                          <p:spTgt spid="108"/>
                                        </p:tgtEl>
                                        <p:attrNameLst>
                                          <p:attrName>ppt_h</p:attrName>
                                        </p:attrNameLst>
                                      </p:cBhvr>
                                      <p:tavLst>
                                        <p:tav tm="0">
                                          <p:val>
                                            <p:fltVal val="0"/>
                                          </p:val>
                                        </p:tav>
                                        <p:tav tm="100000">
                                          <p:val>
                                            <p:strVal val="#ppt_h"/>
                                          </p:val>
                                        </p:tav>
                                      </p:tavLst>
                                    </p:anim>
                                    <p:animEffect transition="in" filter="fade">
                                      <p:cBhvr>
                                        <p:cTn id="74" dur="500"/>
                                        <p:tgtEl>
                                          <p:spTgt spid="108"/>
                                        </p:tgtEl>
                                      </p:cBhvr>
                                    </p:animEffect>
                                  </p:childTnLst>
                                </p:cTn>
                              </p:par>
                              <p:par>
                                <p:cTn id="75" presetID="53" presetClass="entr" presetSubtype="16" fill="hold" nodeType="withEffect">
                                  <p:stCondLst>
                                    <p:cond delay="2250"/>
                                  </p:stCondLst>
                                  <p:childTnLst>
                                    <p:set>
                                      <p:cBhvr>
                                        <p:cTn id="76" dur="1" fill="hold">
                                          <p:stCondLst>
                                            <p:cond delay="0"/>
                                          </p:stCondLst>
                                        </p:cTn>
                                        <p:tgtEl>
                                          <p:spTgt spid="112"/>
                                        </p:tgtEl>
                                        <p:attrNameLst>
                                          <p:attrName>style.visibility</p:attrName>
                                        </p:attrNameLst>
                                      </p:cBhvr>
                                      <p:to>
                                        <p:strVal val="visible"/>
                                      </p:to>
                                    </p:set>
                                    <p:anim calcmode="lin" valueType="num">
                                      <p:cBhvr>
                                        <p:cTn id="77" dur="500" fill="hold"/>
                                        <p:tgtEl>
                                          <p:spTgt spid="112"/>
                                        </p:tgtEl>
                                        <p:attrNameLst>
                                          <p:attrName>ppt_w</p:attrName>
                                        </p:attrNameLst>
                                      </p:cBhvr>
                                      <p:tavLst>
                                        <p:tav tm="0">
                                          <p:val>
                                            <p:fltVal val="0"/>
                                          </p:val>
                                        </p:tav>
                                        <p:tav tm="100000">
                                          <p:val>
                                            <p:strVal val="#ppt_w"/>
                                          </p:val>
                                        </p:tav>
                                      </p:tavLst>
                                    </p:anim>
                                    <p:anim calcmode="lin" valueType="num">
                                      <p:cBhvr>
                                        <p:cTn id="78" dur="500" fill="hold"/>
                                        <p:tgtEl>
                                          <p:spTgt spid="112"/>
                                        </p:tgtEl>
                                        <p:attrNameLst>
                                          <p:attrName>ppt_h</p:attrName>
                                        </p:attrNameLst>
                                      </p:cBhvr>
                                      <p:tavLst>
                                        <p:tav tm="0">
                                          <p:val>
                                            <p:fltVal val="0"/>
                                          </p:val>
                                        </p:tav>
                                        <p:tav tm="100000">
                                          <p:val>
                                            <p:strVal val="#ppt_h"/>
                                          </p:val>
                                        </p:tav>
                                      </p:tavLst>
                                    </p:anim>
                                    <p:animEffect transition="in" filter="fade">
                                      <p:cBhvr>
                                        <p:cTn id="79" dur="500"/>
                                        <p:tgtEl>
                                          <p:spTgt spid="112"/>
                                        </p:tgtEl>
                                      </p:cBhvr>
                                    </p:animEffect>
                                  </p:childTnLst>
                                </p:cTn>
                              </p:par>
                              <p:par>
                                <p:cTn id="80" presetID="53" presetClass="entr" presetSubtype="16" fill="hold" nodeType="withEffect">
                                  <p:stCondLst>
                                    <p:cond delay="2250"/>
                                  </p:stCondLst>
                                  <p:childTnLst>
                                    <p:set>
                                      <p:cBhvr>
                                        <p:cTn id="81" dur="1" fill="hold">
                                          <p:stCondLst>
                                            <p:cond delay="0"/>
                                          </p:stCondLst>
                                        </p:cTn>
                                        <p:tgtEl>
                                          <p:spTgt spid="116"/>
                                        </p:tgtEl>
                                        <p:attrNameLst>
                                          <p:attrName>style.visibility</p:attrName>
                                        </p:attrNameLst>
                                      </p:cBhvr>
                                      <p:to>
                                        <p:strVal val="visible"/>
                                      </p:to>
                                    </p:set>
                                    <p:anim calcmode="lin" valueType="num">
                                      <p:cBhvr>
                                        <p:cTn id="82" dur="500" fill="hold"/>
                                        <p:tgtEl>
                                          <p:spTgt spid="116"/>
                                        </p:tgtEl>
                                        <p:attrNameLst>
                                          <p:attrName>ppt_w</p:attrName>
                                        </p:attrNameLst>
                                      </p:cBhvr>
                                      <p:tavLst>
                                        <p:tav tm="0">
                                          <p:val>
                                            <p:fltVal val="0"/>
                                          </p:val>
                                        </p:tav>
                                        <p:tav tm="100000">
                                          <p:val>
                                            <p:strVal val="#ppt_w"/>
                                          </p:val>
                                        </p:tav>
                                      </p:tavLst>
                                    </p:anim>
                                    <p:anim calcmode="lin" valueType="num">
                                      <p:cBhvr>
                                        <p:cTn id="83" dur="500" fill="hold"/>
                                        <p:tgtEl>
                                          <p:spTgt spid="116"/>
                                        </p:tgtEl>
                                        <p:attrNameLst>
                                          <p:attrName>ppt_h</p:attrName>
                                        </p:attrNameLst>
                                      </p:cBhvr>
                                      <p:tavLst>
                                        <p:tav tm="0">
                                          <p:val>
                                            <p:fltVal val="0"/>
                                          </p:val>
                                        </p:tav>
                                        <p:tav tm="100000">
                                          <p:val>
                                            <p:strVal val="#ppt_h"/>
                                          </p:val>
                                        </p:tav>
                                      </p:tavLst>
                                    </p:anim>
                                    <p:animEffect transition="in" filter="fade">
                                      <p:cBhvr>
                                        <p:cTn id="84" dur="500"/>
                                        <p:tgtEl>
                                          <p:spTgt spid="116"/>
                                        </p:tgtEl>
                                      </p:cBhvr>
                                    </p:animEffect>
                                  </p:childTnLst>
                                </p:cTn>
                              </p:par>
                            </p:childTnLst>
                          </p:cTn>
                        </p:par>
                        <p:par>
                          <p:cTn id="85" fill="hold">
                            <p:stCondLst>
                              <p:cond delay="1000"/>
                            </p:stCondLst>
                            <p:childTnLst>
                              <p:par>
                                <p:cTn id="86" presetID="22" presetClass="entr" presetSubtype="4" fill="hold" grpId="0" nodeType="afterEffect">
                                  <p:stCondLst>
                                    <p:cond delay="0"/>
                                  </p:stCondLst>
                                  <p:childTnLst>
                                    <p:set>
                                      <p:cBhvr>
                                        <p:cTn id="87" dur="1" fill="hold">
                                          <p:stCondLst>
                                            <p:cond delay="0"/>
                                          </p:stCondLst>
                                        </p:cTn>
                                        <p:tgtEl>
                                          <p:spTgt spid="48"/>
                                        </p:tgtEl>
                                        <p:attrNameLst>
                                          <p:attrName>style.visibility</p:attrName>
                                        </p:attrNameLst>
                                      </p:cBhvr>
                                      <p:to>
                                        <p:strVal val="visible"/>
                                      </p:to>
                                    </p:set>
                                    <p:animEffect transition="in" filter="wipe(down)">
                                      <p:cBhvr>
                                        <p:cTn id="88" dur="125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animBg="1"/>
      <p:bldP spid="99" grpId="0" animBg="1"/>
      <p:bldP spid="100" grpId="0" animBg="1"/>
      <p:bldP spid="101" grpId="0" animBg="1"/>
      <p:bldP spid="102" grpId="0" animBg="1"/>
      <p:bldP spid="103" grpId="0"/>
      <p:bldP spid="104" grpId="0"/>
      <p:bldP spid="105" grpId="0"/>
      <p:bldP spid="106" grpId="0"/>
      <p:bldP spid="107" grpId="0"/>
      <p:bldP spid="108" grpId="0"/>
      <p:bldP spid="4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p:cNvGrpSpPr/>
          <p:nvPr/>
        </p:nvGrpSpPr>
        <p:grpSpPr>
          <a:xfrm>
            <a:off x="3185111" y="1739535"/>
            <a:ext cx="710015" cy="771343"/>
            <a:chOff x="3185939" y="1739094"/>
            <a:chExt cx="710200" cy="771543"/>
          </a:xfrm>
        </p:grpSpPr>
        <p:sp>
          <p:nvSpPr>
            <p:cNvPr id="73" name="任意多边形 72"/>
            <p:cNvSpPr/>
            <p:nvPr/>
          </p:nvSpPr>
          <p:spPr>
            <a:xfrm rot="18875383">
              <a:off x="3153448" y="2140008"/>
              <a:ext cx="403120" cy="338138"/>
            </a:xfrm>
            <a:custGeom>
              <a:avLst/>
              <a:gdLst>
                <a:gd name="connsiteX0" fmla="*/ 0 w 284318"/>
                <a:gd name="connsiteY0" fmla="*/ 0 h 164768"/>
                <a:gd name="connsiteX1" fmla="*/ 7916 w 284318"/>
                <a:gd name="connsiteY1" fmla="*/ 0 h 164768"/>
                <a:gd name="connsiteX2" fmla="*/ 36481 w 284318"/>
                <a:gd name="connsiteY2" fmla="*/ 19259 h 164768"/>
                <a:gd name="connsiteX3" fmla="*/ 142159 w 284318"/>
                <a:gd name="connsiteY3" fmla="*/ 40594 h 164768"/>
                <a:gd name="connsiteX4" fmla="*/ 247838 w 284318"/>
                <a:gd name="connsiteY4" fmla="*/ 19259 h 164768"/>
                <a:gd name="connsiteX5" fmla="*/ 276402 w 284318"/>
                <a:gd name="connsiteY5" fmla="*/ 0 h 164768"/>
                <a:gd name="connsiteX6" fmla="*/ 284318 w 284318"/>
                <a:gd name="connsiteY6" fmla="*/ 0 h 164768"/>
                <a:gd name="connsiteX7" fmla="*/ 284318 w 284318"/>
                <a:gd name="connsiteY7" fmla="*/ 164768 h 164768"/>
                <a:gd name="connsiteX8" fmla="*/ 271691 w 284318"/>
                <a:gd name="connsiteY8" fmla="*/ 164768 h 164768"/>
                <a:gd name="connsiteX9" fmla="*/ 247838 w 284318"/>
                <a:gd name="connsiteY9" fmla="*/ 148686 h 164768"/>
                <a:gd name="connsiteX10" fmla="*/ 142159 w 284318"/>
                <a:gd name="connsiteY10" fmla="*/ 127350 h 164768"/>
                <a:gd name="connsiteX11" fmla="*/ 36481 w 284318"/>
                <a:gd name="connsiteY11" fmla="*/ 148686 h 164768"/>
                <a:gd name="connsiteX12" fmla="*/ 12627 w 284318"/>
                <a:gd name="connsiteY12" fmla="*/ 164768 h 164768"/>
                <a:gd name="connsiteX13" fmla="*/ 0 w 284318"/>
                <a:gd name="connsiteY13" fmla="*/ 164768 h 164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4318" h="164768">
                  <a:moveTo>
                    <a:pt x="0" y="0"/>
                  </a:moveTo>
                  <a:lnTo>
                    <a:pt x="7916" y="0"/>
                  </a:lnTo>
                  <a:lnTo>
                    <a:pt x="36481" y="19259"/>
                  </a:lnTo>
                  <a:cubicBezTo>
                    <a:pt x="68962" y="32997"/>
                    <a:pt x="104673" y="40594"/>
                    <a:pt x="142159" y="40594"/>
                  </a:cubicBezTo>
                  <a:cubicBezTo>
                    <a:pt x="179645" y="40594"/>
                    <a:pt x="215356" y="32997"/>
                    <a:pt x="247838" y="19259"/>
                  </a:cubicBezTo>
                  <a:lnTo>
                    <a:pt x="276402" y="0"/>
                  </a:lnTo>
                  <a:lnTo>
                    <a:pt x="284318" y="0"/>
                  </a:lnTo>
                  <a:lnTo>
                    <a:pt x="284318" y="164768"/>
                  </a:lnTo>
                  <a:lnTo>
                    <a:pt x="271691" y="164768"/>
                  </a:lnTo>
                  <a:lnTo>
                    <a:pt x="247838" y="148686"/>
                  </a:lnTo>
                  <a:cubicBezTo>
                    <a:pt x="215356" y="134947"/>
                    <a:pt x="179645" y="127350"/>
                    <a:pt x="142159" y="127350"/>
                  </a:cubicBezTo>
                  <a:cubicBezTo>
                    <a:pt x="104673" y="127350"/>
                    <a:pt x="68962" y="134947"/>
                    <a:pt x="36481" y="148686"/>
                  </a:cubicBezTo>
                  <a:lnTo>
                    <a:pt x="12627" y="164768"/>
                  </a:lnTo>
                  <a:lnTo>
                    <a:pt x="0" y="164768"/>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sz="1350" b="1" dirty="0">
                <a:solidFill>
                  <a:schemeClr val="tx1">
                    <a:lumMod val="65000"/>
                    <a:lumOff val="35000"/>
                  </a:schemeClr>
                </a:solidFill>
                <a:latin typeface="DIN-BoldItalic" pitchFamily="50" charset="0"/>
                <a:cs typeface="+mn-ea"/>
              </a:endParaRPr>
            </a:p>
          </p:txBody>
        </p:sp>
        <p:sp>
          <p:nvSpPr>
            <p:cNvPr id="74" name="椭圆 73"/>
            <p:cNvSpPr/>
            <p:nvPr/>
          </p:nvSpPr>
          <p:spPr>
            <a:xfrm>
              <a:off x="3343511" y="1739094"/>
              <a:ext cx="552628" cy="552628"/>
            </a:xfrm>
            <a:prstGeom prst="ellipse">
              <a:avLst/>
            </a:prstGeom>
            <a:solidFill>
              <a:srgbClr val="E46C0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cs typeface="+mn-ea"/>
              </a:endParaRPr>
            </a:p>
          </p:txBody>
        </p:sp>
        <p:grpSp>
          <p:nvGrpSpPr>
            <p:cNvPr id="75" name="组合 74"/>
            <p:cNvGrpSpPr/>
            <p:nvPr/>
          </p:nvGrpSpPr>
          <p:grpSpPr>
            <a:xfrm>
              <a:off x="3495077" y="1855520"/>
              <a:ext cx="277225" cy="313328"/>
              <a:chOff x="5753100" y="3041650"/>
              <a:chExt cx="682626" cy="771526"/>
            </a:xfrm>
            <a:solidFill>
              <a:srgbClr val="DF53DF"/>
            </a:solidFill>
          </p:grpSpPr>
          <p:sp>
            <p:nvSpPr>
              <p:cNvPr id="76" name="Oval 202"/>
              <p:cNvSpPr>
                <a:spLocks noChangeArrowheads="1"/>
              </p:cNvSpPr>
              <p:nvPr/>
            </p:nvSpPr>
            <p:spPr bwMode="auto">
              <a:xfrm>
                <a:off x="5908674" y="3041650"/>
                <a:ext cx="119062" cy="147638"/>
              </a:xfrm>
              <a:prstGeom prst="ellipse">
                <a:avLst/>
              </a:pr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77" name="Freeform 203"/>
              <p:cNvSpPr/>
              <p:nvPr/>
            </p:nvSpPr>
            <p:spPr bwMode="auto">
              <a:xfrm>
                <a:off x="6103938" y="3413125"/>
                <a:ext cx="46038" cy="84138"/>
              </a:xfrm>
              <a:custGeom>
                <a:avLst/>
                <a:gdLst>
                  <a:gd name="T0" fmla="*/ 2 w 12"/>
                  <a:gd name="T1" fmla="*/ 22 h 22"/>
                  <a:gd name="T2" fmla="*/ 10 w 12"/>
                  <a:gd name="T3" fmla="*/ 22 h 22"/>
                  <a:gd name="T4" fmla="*/ 12 w 12"/>
                  <a:gd name="T5" fmla="*/ 20 h 22"/>
                  <a:gd name="T6" fmla="*/ 12 w 12"/>
                  <a:gd name="T7" fmla="*/ 2 h 22"/>
                  <a:gd name="T8" fmla="*/ 10 w 12"/>
                  <a:gd name="T9" fmla="*/ 0 h 22"/>
                  <a:gd name="T10" fmla="*/ 2 w 12"/>
                  <a:gd name="T11" fmla="*/ 0 h 22"/>
                  <a:gd name="T12" fmla="*/ 0 w 12"/>
                  <a:gd name="T13" fmla="*/ 2 h 22"/>
                  <a:gd name="T14" fmla="*/ 0 w 12"/>
                  <a:gd name="T15" fmla="*/ 20 h 22"/>
                  <a:gd name="T16" fmla="*/ 2 w 1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2">
                    <a:moveTo>
                      <a:pt x="2" y="22"/>
                    </a:moveTo>
                    <a:cubicBezTo>
                      <a:pt x="10" y="22"/>
                      <a:pt x="10" y="22"/>
                      <a:pt x="10" y="22"/>
                    </a:cubicBezTo>
                    <a:cubicBezTo>
                      <a:pt x="11" y="22"/>
                      <a:pt x="12" y="21"/>
                      <a:pt x="12" y="20"/>
                    </a:cubicBezTo>
                    <a:cubicBezTo>
                      <a:pt x="12" y="2"/>
                      <a:pt x="12" y="2"/>
                      <a:pt x="12" y="2"/>
                    </a:cubicBezTo>
                    <a:cubicBezTo>
                      <a:pt x="12" y="1"/>
                      <a:pt x="11" y="0"/>
                      <a:pt x="10" y="0"/>
                    </a:cubicBezTo>
                    <a:cubicBezTo>
                      <a:pt x="2" y="0"/>
                      <a:pt x="2" y="0"/>
                      <a:pt x="2" y="0"/>
                    </a:cubicBezTo>
                    <a:cubicBezTo>
                      <a:pt x="1" y="0"/>
                      <a:pt x="0" y="1"/>
                      <a:pt x="0" y="2"/>
                    </a:cubicBezTo>
                    <a:cubicBezTo>
                      <a:pt x="0" y="20"/>
                      <a:pt x="0" y="20"/>
                      <a:pt x="0" y="20"/>
                    </a:cubicBezTo>
                    <a:cubicBezTo>
                      <a:pt x="0" y="21"/>
                      <a:pt x="1" y="22"/>
                      <a:pt x="2" y="22"/>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78" name="Freeform 204"/>
              <p:cNvSpPr/>
              <p:nvPr/>
            </p:nvSpPr>
            <p:spPr bwMode="auto">
              <a:xfrm>
                <a:off x="6313488" y="3413125"/>
                <a:ext cx="46038" cy="84138"/>
              </a:xfrm>
              <a:custGeom>
                <a:avLst/>
                <a:gdLst>
                  <a:gd name="T0" fmla="*/ 3 w 12"/>
                  <a:gd name="T1" fmla="*/ 22 h 22"/>
                  <a:gd name="T2" fmla="*/ 10 w 12"/>
                  <a:gd name="T3" fmla="*/ 22 h 22"/>
                  <a:gd name="T4" fmla="*/ 12 w 12"/>
                  <a:gd name="T5" fmla="*/ 20 h 22"/>
                  <a:gd name="T6" fmla="*/ 12 w 12"/>
                  <a:gd name="T7" fmla="*/ 2 h 22"/>
                  <a:gd name="T8" fmla="*/ 10 w 12"/>
                  <a:gd name="T9" fmla="*/ 0 h 22"/>
                  <a:gd name="T10" fmla="*/ 3 w 12"/>
                  <a:gd name="T11" fmla="*/ 0 h 22"/>
                  <a:gd name="T12" fmla="*/ 0 w 12"/>
                  <a:gd name="T13" fmla="*/ 2 h 22"/>
                  <a:gd name="T14" fmla="*/ 0 w 12"/>
                  <a:gd name="T15" fmla="*/ 20 h 22"/>
                  <a:gd name="T16" fmla="*/ 3 w 1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2">
                    <a:moveTo>
                      <a:pt x="3" y="22"/>
                    </a:moveTo>
                    <a:cubicBezTo>
                      <a:pt x="10" y="22"/>
                      <a:pt x="10" y="22"/>
                      <a:pt x="10" y="22"/>
                    </a:cubicBezTo>
                    <a:cubicBezTo>
                      <a:pt x="12" y="22"/>
                      <a:pt x="12" y="21"/>
                      <a:pt x="12" y="20"/>
                    </a:cubicBezTo>
                    <a:cubicBezTo>
                      <a:pt x="12" y="2"/>
                      <a:pt x="12" y="2"/>
                      <a:pt x="12" y="2"/>
                    </a:cubicBezTo>
                    <a:cubicBezTo>
                      <a:pt x="12" y="1"/>
                      <a:pt x="12" y="0"/>
                      <a:pt x="10" y="0"/>
                    </a:cubicBezTo>
                    <a:cubicBezTo>
                      <a:pt x="3" y="0"/>
                      <a:pt x="3" y="0"/>
                      <a:pt x="3" y="0"/>
                    </a:cubicBezTo>
                    <a:cubicBezTo>
                      <a:pt x="1" y="0"/>
                      <a:pt x="0" y="1"/>
                      <a:pt x="0" y="2"/>
                    </a:cubicBezTo>
                    <a:cubicBezTo>
                      <a:pt x="0" y="20"/>
                      <a:pt x="0" y="20"/>
                      <a:pt x="0" y="20"/>
                    </a:cubicBezTo>
                    <a:cubicBezTo>
                      <a:pt x="0" y="21"/>
                      <a:pt x="1" y="22"/>
                      <a:pt x="3" y="22"/>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79" name="Freeform 205"/>
              <p:cNvSpPr>
                <a:spLocks noEditPoints="1"/>
              </p:cNvSpPr>
              <p:nvPr/>
            </p:nvSpPr>
            <p:spPr bwMode="auto">
              <a:xfrm>
                <a:off x="6030913" y="3444875"/>
                <a:ext cx="404813" cy="360363"/>
              </a:xfrm>
              <a:custGeom>
                <a:avLst/>
                <a:gdLst>
                  <a:gd name="T0" fmla="*/ 94 w 106"/>
                  <a:gd name="T1" fmla="*/ 0 h 95"/>
                  <a:gd name="T2" fmla="*/ 91 w 106"/>
                  <a:gd name="T3" fmla="*/ 0 h 95"/>
                  <a:gd name="T4" fmla="*/ 91 w 106"/>
                  <a:gd name="T5" fmla="*/ 12 h 95"/>
                  <a:gd name="T6" fmla="*/ 84 w 106"/>
                  <a:gd name="T7" fmla="*/ 18 h 95"/>
                  <a:gd name="T8" fmla="*/ 77 w 106"/>
                  <a:gd name="T9" fmla="*/ 18 h 95"/>
                  <a:gd name="T10" fmla="*/ 70 w 106"/>
                  <a:gd name="T11" fmla="*/ 12 h 95"/>
                  <a:gd name="T12" fmla="*/ 70 w 106"/>
                  <a:gd name="T13" fmla="*/ 0 h 95"/>
                  <a:gd name="T14" fmla="*/ 36 w 106"/>
                  <a:gd name="T15" fmla="*/ 0 h 95"/>
                  <a:gd name="T16" fmla="*/ 36 w 106"/>
                  <a:gd name="T17" fmla="*/ 12 h 95"/>
                  <a:gd name="T18" fmla="*/ 29 w 106"/>
                  <a:gd name="T19" fmla="*/ 18 h 95"/>
                  <a:gd name="T20" fmla="*/ 21 w 106"/>
                  <a:gd name="T21" fmla="*/ 18 h 95"/>
                  <a:gd name="T22" fmla="*/ 15 w 106"/>
                  <a:gd name="T23" fmla="*/ 12 h 95"/>
                  <a:gd name="T24" fmla="*/ 15 w 106"/>
                  <a:gd name="T25" fmla="*/ 0 h 95"/>
                  <a:gd name="T26" fmla="*/ 12 w 106"/>
                  <a:gd name="T27" fmla="*/ 0 h 95"/>
                  <a:gd name="T28" fmla="*/ 0 w 106"/>
                  <a:gd name="T29" fmla="*/ 13 h 95"/>
                  <a:gd name="T30" fmla="*/ 0 w 106"/>
                  <a:gd name="T31" fmla="*/ 36 h 95"/>
                  <a:gd name="T32" fmla="*/ 0 w 106"/>
                  <a:gd name="T33" fmla="*/ 83 h 95"/>
                  <a:gd name="T34" fmla="*/ 12 w 106"/>
                  <a:gd name="T35" fmla="*/ 95 h 95"/>
                  <a:gd name="T36" fmla="*/ 94 w 106"/>
                  <a:gd name="T37" fmla="*/ 95 h 95"/>
                  <a:gd name="T38" fmla="*/ 106 w 106"/>
                  <a:gd name="T39" fmla="*/ 83 h 95"/>
                  <a:gd name="T40" fmla="*/ 106 w 106"/>
                  <a:gd name="T41" fmla="*/ 36 h 95"/>
                  <a:gd name="T42" fmla="*/ 106 w 106"/>
                  <a:gd name="T43" fmla="*/ 13 h 95"/>
                  <a:gd name="T44" fmla="*/ 94 w 106"/>
                  <a:gd name="T45" fmla="*/ 0 h 95"/>
                  <a:gd name="T46" fmla="*/ 98 w 106"/>
                  <a:gd name="T47" fmla="*/ 83 h 95"/>
                  <a:gd name="T48" fmla="*/ 94 w 106"/>
                  <a:gd name="T49" fmla="*/ 88 h 95"/>
                  <a:gd name="T50" fmla="*/ 12 w 106"/>
                  <a:gd name="T51" fmla="*/ 88 h 95"/>
                  <a:gd name="T52" fmla="*/ 8 w 106"/>
                  <a:gd name="T53" fmla="*/ 83 h 95"/>
                  <a:gd name="T54" fmla="*/ 8 w 106"/>
                  <a:gd name="T55" fmla="*/ 36 h 95"/>
                  <a:gd name="T56" fmla="*/ 98 w 106"/>
                  <a:gd name="T57" fmla="*/ 36 h 95"/>
                  <a:gd name="T58" fmla="*/ 98 w 106"/>
                  <a:gd name="T59" fmla="*/ 8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6" h="95">
                    <a:moveTo>
                      <a:pt x="94" y="0"/>
                    </a:moveTo>
                    <a:cubicBezTo>
                      <a:pt x="91" y="0"/>
                      <a:pt x="91" y="0"/>
                      <a:pt x="91" y="0"/>
                    </a:cubicBezTo>
                    <a:cubicBezTo>
                      <a:pt x="91" y="12"/>
                      <a:pt x="91" y="12"/>
                      <a:pt x="91" y="12"/>
                    </a:cubicBezTo>
                    <a:cubicBezTo>
                      <a:pt x="91" y="15"/>
                      <a:pt x="88" y="18"/>
                      <a:pt x="84" y="18"/>
                    </a:cubicBezTo>
                    <a:cubicBezTo>
                      <a:pt x="77" y="18"/>
                      <a:pt x="77" y="18"/>
                      <a:pt x="77" y="18"/>
                    </a:cubicBezTo>
                    <a:cubicBezTo>
                      <a:pt x="73" y="18"/>
                      <a:pt x="70" y="15"/>
                      <a:pt x="70" y="12"/>
                    </a:cubicBezTo>
                    <a:cubicBezTo>
                      <a:pt x="70" y="0"/>
                      <a:pt x="70" y="0"/>
                      <a:pt x="70" y="0"/>
                    </a:cubicBezTo>
                    <a:cubicBezTo>
                      <a:pt x="36" y="0"/>
                      <a:pt x="36" y="0"/>
                      <a:pt x="36" y="0"/>
                    </a:cubicBezTo>
                    <a:cubicBezTo>
                      <a:pt x="36" y="12"/>
                      <a:pt x="36" y="12"/>
                      <a:pt x="36" y="12"/>
                    </a:cubicBezTo>
                    <a:cubicBezTo>
                      <a:pt x="36" y="15"/>
                      <a:pt x="33" y="18"/>
                      <a:pt x="29" y="18"/>
                    </a:cubicBezTo>
                    <a:cubicBezTo>
                      <a:pt x="21" y="18"/>
                      <a:pt x="21" y="18"/>
                      <a:pt x="21" y="18"/>
                    </a:cubicBezTo>
                    <a:cubicBezTo>
                      <a:pt x="18" y="18"/>
                      <a:pt x="15" y="15"/>
                      <a:pt x="15" y="12"/>
                    </a:cubicBezTo>
                    <a:cubicBezTo>
                      <a:pt x="15" y="0"/>
                      <a:pt x="15" y="0"/>
                      <a:pt x="15" y="0"/>
                    </a:cubicBezTo>
                    <a:cubicBezTo>
                      <a:pt x="12" y="0"/>
                      <a:pt x="12" y="0"/>
                      <a:pt x="12" y="0"/>
                    </a:cubicBezTo>
                    <a:cubicBezTo>
                      <a:pt x="5" y="0"/>
                      <a:pt x="0" y="6"/>
                      <a:pt x="0" y="13"/>
                    </a:cubicBezTo>
                    <a:cubicBezTo>
                      <a:pt x="0" y="36"/>
                      <a:pt x="0" y="36"/>
                      <a:pt x="0" y="36"/>
                    </a:cubicBezTo>
                    <a:cubicBezTo>
                      <a:pt x="0" y="83"/>
                      <a:pt x="0" y="83"/>
                      <a:pt x="0" y="83"/>
                    </a:cubicBezTo>
                    <a:cubicBezTo>
                      <a:pt x="0" y="90"/>
                      <a:pt x="5" y="95"/>
                      <a:pt x="12" y="95"/>
                    </a:cubicBezTo>
                    <a:cubicBezTo>
                      <a:pt x="94" y="95"/>
                      <a:pt x="94" y="95"/>
                      <a:pt x="94" y="95"/>
                    </a:cubicBezTo>
                    <a:cubicBezTo>
                      <a:pt x="100" y="95"/>
                      <a:pt x="106" y="90"/>
                      <a:pt x="106" y="83"/>
                    </a:cubicBezTo>
                    <a:cubicBezTo>
                      <a:pt x="106" y="36"/>
                      <a:pt x="106" y="36"/>
                      <a:pt x="106" y="36"/>
                    </a:cubicBezTo>
                    <a:cubicBezTo>
                      <a:pt x="106" y="13"/>
                      <a:pt x="106" y="13"/>
                      <a:pt x="106" y="13"/>
                    </a:cubicBezTo>
                    <a:cubicBezTo>
                      <a:pt x="106" y="6"/>
                      <a:pt x="100" y="0"/>
                      <a:pt x="94" y="0"/>
                    </a:cubicBezTo>
                    <a:close/>
                    <a:moveTo>
                      <a:pt x="98" y="83"/>
                    </a:moveTo>
                    <a:cubicBezTo>
                      <a:pt x="98" y="86"/>
                      <a:pt x="96" y="88"/>
                      <a:pt x="94" y="88"/>
                    </a:cubicBezTo>
                    <a:cubicBezTo>
                      <a:pt x="12" y="88"/>
                      <a:pt x="12" y="88"/>
                      <a:pt x="12" y="88"/>
                    </a:cubicBezTo>
                    <a:cubicBezTo>
                      <a:pt x="10" y="88"/>
                      <a:pt x="8" y="86"/>
                      <a:pt x="8" y="83"/>
                    </a:cubicBezTo>
                    <a:cubicBezTo>
                      <a:pt x="8" y="36"/>
                      <a:pt x="8" y="36"/>
                      <a:pt x="8" y="36"/>
                    </a:cubicBezTo>
                    <a:cubicBezTo>
                      <a:pt x="98" y="36"/>
                      <a:pt x="98" y="36"/>
                      <a:pt x="98" y="36"/>
                    </a:cubicBezTo>
                    <a:lnTo>
                      <a:pt x="98" y="83"/>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4" name="Rectangle 206"/>
              <p:cNvSpPr>
                <a:spLocks noChangeArrowheads="1"/>
              </p:cNvSpPr>
              <p:nvPr/>
            </p:nvSpPr>
            <p:spPr bwMode="auto">
              <a:xfrm>
                <a:off x="6084888"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5" name="Rectangle 207"/>
              <p:cNvSpPr>
                <a:spLocks noChangeArrowheads="1"/>
              </p:cNvSpPr>
              <p:nvPr/>
            </p:nvSpPr>
            <p:spPr bwMode="auto">
              <a:xfrm>
                <a:off x="6191250"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6" name="Rectangle 208"/>
              <p:cNvSpPr>
                <a:spLocks noChangeArrowheads="1"/>
              </p:cNvSpPr>
              <p:nvPr/>
            </p:nvSpPr>
            <p:spPr bwMode="auto">
              <a:xfrm>
                <a:off x="6294438"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7" name="Rectangle 209"/>
              <p:cNvSpPr>
                <a:spLocks noChangeArrowheads="1"/>
              </p:cNvSpPr>
              <p:nvPr/>
            </p:nvSpPr>
            <p:spPr bwMode="auto">
              <a:xfrm>
                <a:off x="6084888"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8" name="Rectangle 210"/>
              <p:cNvSpPr>
                <a:spLocks noChangeArrowheads="1"/>
              </p:cNvSpPr>
              <p:nvPr/>
            </p:nvSpPr>
            <p:spPr bwMode="auto">
              <a:xfrm>
                <a:off x="6191250"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9" name="Rectangle 211"/>
              <p:cNvSpPr>
                <a:spLocks noChangeArrowheads="1"/>
              </p:cNvSpPr>
              <p:nvPr/>
            </p:nvSpPr>
            <p:spPr bwMode="auto">
              <a:xfrm>
                <a:off x="6294438"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0" name="Rectangle 212"/>
              <p:cNvSpPr>
                <a:spLocks noChangeArrowheads="1"/>
              </p:cNvSpPr>
              <p:nvPr/>
            </p:nvSpPr>
            <p:spPr bwMode="auto">
              <a:xfrm>
                <a:off x="6084888"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1" name="Rectangle 213"/>
              <p:cNvSpPr>
                <a:spLocks noChangeArrowheads="1"/>
              </p:cNvSpPr>
              <p:nvPr/>
            </p:nvSpPr>
            <p:spPr bwMode="auto">
              <a:xfrm>
                <a:off x="6191250"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2" name="Rectangle 214"/>
              <p:cNvSpPr>
                <a:spLocks noChangeArrowheads="1"/>
              </p:cNvSpPr>
              <p:nvPr/>
            </p:nvSpPr>
            <p:spPr bwMode="auto">
              <a:xfrm>
                <a:off x="6294438"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3" name="Rectangle 215"/>
              <p:cNvSpPr>
                <a:spLocks noChangeArrowheads="1"/>
              </p:cNvSpPr>
              <p:nvPr/>
            </p:nvSpPr>
            <p:spPr bwMode="auto">
              <a:xfrm>
                <a:off x="5965825" y="3398838"/>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4" name="Freeform 216"/>
              <p:cNvSpPr>
                <a:spLocks noEditPoints="1"/>
              </p:cNvSpPr>
              <p:nvPr/>
            </p:nvSpPr>
            <p:spPr bwMode="auto">
              <a:xfrm>
                <a:off x="5753100" y="3208338"/>
                <a:ext cx="427038" cy="604838"/>
              </a:xfrm>
              <a:custGeom>
                <a:avLst/>
                <a:gdLst>
                  <a:gd name="T0" fmla="*/ 111 w 112"/>
                  <a:gd name="T1" fmla="*/ 23 h 159"/>
                  <a:gd name="T2" fmla="*/ 106 w 112"/>
                  <a:gd name="T3" fmla="*/ 19 h 159"/>
                  <a:gd name="T4" fmla="*/ 83 w 112"/>
                  <a:gd name="T5" fmla="*/ 2 h 159"/>
                  <a:gd name="T6" fmla="*/ 77 w 112"/>
                  <a:gd name="T7" fmla="*/ 0 h 159"/>
                  <a:gd name="T8" fmla="*/ 70 w 112"/>
                  <a:gd name="T9" fmla="*/ 0 h 159"/>
                  <a:gd name="T10" fmla="*/ 68 w 112"/>
                  <a:gd name="T11" fmla="*/ 10 h 159"/>
                  <a:gd name="T12" fmla="*/ 56 w 112"/>
                  <a:gd name="T13" fmla="*/ 50 h 159"/>
                  <a:gd name="T14" fmla="*/ 56 w 112"/>
                  <a:gd name="T15" fmla="*/ 51 h 159"/>
                  <a:gd name="T16" fmla="*/ 56 w 112"/>
                  <a:gd name="T17" fmla="*/ 50 h 159"/>
                  <a:gd name="T18" fmla="*/ 45 w 112"/>
                  <a:gd name="T19" fmla="*/ 10 h 159"/>
                  <a:gd name="T20" fmla="*/ 43 w 112"/>
                  <a:gd name="T21" fmla="*/ 0 h 159"/>
                  <a:gd name="T22" fmla="*/ 35 w 112"/>
                  <a:gd name="T23" fmla="*/ 0 h 159"/>
                  <a:gd name="T24" fmla="*/ 28 w 112"/>
                  <a:gd name="T25" fmla="*/ 4 h 159"/>
                  <a:gd name="T26" fmla="*/ 0 w 112"/>
                  <a:gd name="T27" fmla="*/ 44 h 159"/>
                  <a:gd name="T28" fmla="*/ 0 w 112"/>
                  <a:gd name="T29" fmla="*/ 44 h 159"/>
                  <a:gd name="T30" fmla="*/ 0 w 112"/>
                  <a:gd name="T31" fmla="*/ 45 h 159"/>
                  <a:gd name="T32" fmla="*/ 2 w 112"/>
                  <a:gd name="T33" fmla="*/ 48 h 159"/>
                  <a:gd name="T34" fmla="*/ 9 w 112"/>
                  <a:gd name="T35" fmla="*/ 61 h 159"/>
                  <a:gd name="T36" fmla="*/ 29 w 112"/>
                  <a:gd name="T37" fmla="*/ 72 h 159"/>
                  <a:gd name="T38" fmla="*/ 29 w 112"/>
                  <a:gd name="T39" fmla="*/ 84 h 159"/>
                  <a:gd name="T40" fmla="*/ 34 w 112"/>
                  <a:gd name="T41" fmla="*/ 159 h 159"/>
                  <a:gd name="T42" fmla="*/ 55 w 112"/>
                  <a:gd name="T43" fmla="*/ 84 h 159"/>
                  <a:gd name="T44" fmla="*/ 60 w 112"/>
                  <a:gd name="T45" fmla="*/ 159 h 159"/>
                  <a:gd name="T46" fmla="*/ 67 w 112"/>
                  <a:gd name="T47" fmla="*/ 145 h 159"/>
                  <a:gd name="T48" fmla="*/ 76 w 112"/>
                  <a:gd name="T49" fmla="*/ 59 h 159"/>
                  <a:gd name="T50" fmla="*/ 110 w 112"/>
                  <a:gd name="T51" fmla="*/ 41 h 159"/>
                  <a:gd name="T52" fmla="*/ 112 w 112"/>
                  <a:gd name="T53" fmla="*/ 24 h 159"/>
                  <a:gd name="T54" fmla="*/ 27 w 112"/>
                  <a:gd name="T55" fmla="*/ 51 h 159"/>
                  <a:gd name="T56" fmla="*/ 21 w 112"/>
                  <a:gd name="T57" fmla="*/ 40 h 159"/>
                  <a:gd name="T58" fmla="*/ 30 w 112"/>
                  <a:gd name="T59" fmla="*/ 55 h 159"/>
                  <a:gd name="T60" fmla="*/ 68 w 112"/>
                  <a:gd name="T61" fmla="*/ 39 h 159"/>
                  <a:gd name="T62" fmla="*/ 82 w 112"/>
                  <a:gd name="T63" fmla="*/ 25 h 159"/>
                  <a:gd name="T64" fmla="*/ 88 w 112"/>
                  <a:gd name="T65" fmla="*/ 3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159">
                    <a:moveTo>
                      <a:pt x="112" y="24"/>
                    </a:moveTo>
                    <a:cubicBezTo>
                      <a:pt x="111" y="23"/>
                      <a:pt x="111" y="23"/>
                      <a:pt x="111" y="23"/>
                    </a:cubicBezTo>
                    <a:cubicBezTo>
                      <a:pt x="110" y="22"/>
                      <a:pt x="110" y="22"/>
                      <a:pt x="110" y="22"/>
                    </a:cubicBezTo>
                    <a:cubicBezTo>
                      <a:pt x="106" y="19"/>
                      <a:pt x="106" y="19"/>
                      <a:pt x="106" y="19"/>
                    </a:cubicBezTo>
                    <a:cubicBezTo>
                      <a:pt x="98" y="13"/>
                      <a:pt x="98" y="13"/>
                      <a:pt x="98" y="13"/>
                    </a:cubicBezTo>
                    <a:cubicBezTo>
                      <a:pt x="83" y="2"/>
                      <a:pt x="83" y="2"/>
                      <a:pt x="83" y="2"/>
                    </a:cubicBezTo>
                    <a:cubicBezTo>
                      <a:pt x="81" y="1"/>
                      <a:pt x="80" y="0"/>
                      <a:pt x="78" y="0"/>
                    </a:cubicBezTo>
                    <a:cubicBezTo>
                      <a:pt x="78" y="0"/>
                      <a:pt x="78" y="0"/>
                      <a:pt x="77" y="0"/>
                    </a:cubicBezTo>
                    <a:cubicBezTo>
                      <a:pt x="75" y="0"/>
                      <a:pt x="72" y="0"/>
                      <a:pt x="70" y="0"/>
                    </a:cubicBezTo>
                    <a:cubicBezTo>
                      <a:pt x="70" y="0"/>
                      <a:pt x="70" y="0"/>
                      <a:pt x="70" y="0"/>
                    </a:cubicBezTo>
                    <a:cubicBezTo>
                      <a:pt x="76" y="5"/>
                      <a:pt x="76" y="5"/>
                      <a:pt x="76" y="5"/>
                    </a:cubicBezTo>
                    <a:cubicBezTo>
                      <a:pt x="68" y="10"/>
                      <a:pt x="68" y="10"/>
                      <a:pt x="68" y="10"/>
                    </a:cubicBezTo>
                    <a:cubicBezTo>
                      <a:pt x="72" y="16"/>
                      <a:pt x="72" y="16"/>
                      <a:pt x="72" y="16"/>
                    </a:cubicBezTo>
                    <a:cubicBezTo>
                      <a:pt x="56" y="50"/>
                      <a:pt x="56" y="50"/>
                      <a:pt x="56" y="50"/>
                    </a:cubicBezTo>
                    <a:cubicBezTo>
                      <a:pt x="57" y="51"/>
                      <a:pt x="57" y="51"/>
                      <a:pt x="57" y="51"/>
                    </a:cubicBezTo>
                    <a:cubicBezTo>
                      <a:pt x="56" y="51"/>
                      <a:pt x="56" y="51"/>
                      <a:pt x="56" y="51"/>
                    </a:cubicBezTo>
                    <a:cubicBezTo>
                      <a:pt x="56" y="51"/>
                      <a:pt x="56" y="51"/>
                      <a:pt x="56" y="51"/>
                    </a:cubicBezTo>
                    <a:cubicBezTo>
                      <a:pt x="56" y="50"/>
                      <a:pt x="56" y="50"/>
                      <a:pt x="56" y="50"/>
                    </a:cubicBezTo>
                    <a:cubicBezTo>
                      <a:pt x="41" y="16"/>
                      <a:pt x="41" y="16"/>
                      <a:pt x="41" y="16"/>
                    </a:cubicBezTo>
                    <a:cubicBezTo>
                      <a:pt x="45" y="10"/>
                      <a:pt x="45" y="10"/>
                      <a:pt x="45" y="10"/>
                    </a:cubicBezTo>
                    <a:cubicBezTo>
                      <a:pt x="36" y="5"/>
                      <a:pt x="36" y="5"/>
                      <a:pt x="36" y="5"/>
                    </a:cubicBezTo>
                    <a:cubicBezTo>
                      <a:pt x="43" y="0"/>
                      <a:pt x="43" y="0"/>
                      <a:pt x="43" y="0"/>
                    </a:cubicBezTo>
                    <a:cubicBezTo>
                      <a:pt x="43" y="0"/>
                      <a:pt x="43" y="0"/>
                      <a:pt x="43" y="0"/>
                    </a:cubicBezTo>
                    <a:cubicBezTo>
                      <a:pt x="41" y="0"/>
                      <a:pt x="38" y="0"/>
                      <a:pt x="35" y="0"/>
                    </a:cubicBezTo>
                    <a:cubicBezTo>
                      <a:pt x="35" y="0"/>
                      <a:pt x="35" y="0"/>
                      <a:pt x="35" y="0"/>
                    </a:cubicBezTo>
                    <a:cubicBezTo>
                      <a:pt x="32" y="1"/>
                      <a:pt x="30" y="2"/>
                      <a:pt x="28" y="4"/>
                    </a:cubicBezTo>
                    <a:cubicBezTo>
                      <a:pt x="1" y="32"/>
                      <a:pt x="1" y="32"/>
                      <a:pt x="1" y="32"/>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1" y="46"/>
                      <a:pt x="1" y="46"/>
                      <a:pt x="1" y="46"/>
                    </a:cubicBezTo>
                    <a:cubicBezTo>
                      <a:pt x="2" y="48"/>
                      <a:pt x="2" y="48"/>
                      <a:pt x="2" y="48"/>
                    </a:cubicBezTo>
                    <a:cubicBezTo>
                      <a:pt x="4" y="52"/>
                      <a:pt x="4" y="52"/>
                      <a:pt x="4" y="52"/>
                    </a:cubicBezTo>
                    <a:cubicBezTo>
                      <a:pt x="9" y="61"/>
                      <a:pt x="9" y="61"/>
                      <a:pt x="9" y="61"/>
                    </a:cubicBezTo>
                    <a:cubicBezTo>
                      <a:pt x="18" y="78"/>
                      <a:pt x="18" y="78"/>
                      <a:pt x="18" y="78"/>
                    </a:cubicBezTo>
                    <a:cubicBezTo>
                      <a:pt x="22" y="76"/>
                      <a:pt x="26" y="74"/>
                      <a:pt x="29" y="72"/>
                    </a:cubicBezTo>
                    <a:cubicBezTo>
                      <a:pt x="29" y="76"/>
                      <a:pt x="29" y="80"/>
                      <a:pt x="29" y="83"/>
                    </a:cubicBezTo>
                    <a:cubicBezTo>
                      <a:pt x="29" y="83"/>
                      <a:pt x="29" y="84"/>
                      <a:pt x="29" y="84"/>
                    </a:cubicBezTo>
                    <a:cubicBezTo>
                      <a:pt x="30" y="84"/>
                      <a:pt x="31" y="84"/>
                      <a:pt x="31" y="84"/>
                    </a:cubicBezTo>
                    <a:cubicBezTo>
                      <a:pt x="34" y="159"/>
                      <a:pt x="34" y="159"/>
                      <a:pt x="34" y="159"/>
                    </a:cubicBezTo>
                    <a:cubicBezTo>
                      <a:pt x="55" y="159"/>
                      <a:pt x="55" y="159"/>
                      <a:pt x="55" y="159"/>
                    </a:cubicBezTo>
                    <a:cubicBezTo>
                      <a:pt x="56" y="137"/>
                      <a:pt x="56" y="99"/>
                      <a:pt x="55" y="84"/>
                    </a:cubicBezTo>
                    <a:cubicBezTo>
                      <a:pt x="56" y="84"/>
                      <a:pt x="57" y="84"/>
                      <a:pt x="58" y="84"/>
                    </a:cubicBezTo>
                    <a:cubicBezTo>
                      <a:pt x="60" y="159"/>
                      <a:pt x="60" y="159"/>
                      <a:pt x="60" y="159"/>
                    </a:cubicBezTo>
                    <a:cubicBezTo>
                      <a:pt x="74" y="159"/>
                      <a:pt x="74" y="159"/>
                      <a:pt x="74" y="159"/>
                    </a:cubicBezTo>
                    <a:cubicBezTo>
                      <a:pt x="70" y="156"/>
                      <a:pt x="67" y="151"/>
                      <a:pt x="67" y="145"/>
                    </a:cubicBezTo>
                    <a:cubicBezTo>
                      <a:pt x="67" y="75"/>
                      <a:pt x="67" y="75"/>
                      <a:pt x="67" y="75"/>
                    </a:cubicBezTo>
                    <a:cubicBezTo>
                      <a:pt x="67" y="68"/>
                      <a:pt x="71" y="62"/>
                      <a:pt x="76" y="59"/>
                    </a:cubicBezTo>
                    <a:cubicBezTo>
                      <a:pt x="77" y="60"/>
                      <a:pt x="78" y="61"/>
                      <a:pt x="78" y="62"/>
                    </a:cubicBezTo>
                    <a:cubicBezTo>
                      <a:pt x="110" y="41"/>
                      <a:pt x="110" y="41"/>
                      <a:pt x="110" y="41"/>
                    </a:cubicBezTo>
                    <a:cubicBezTo>
                      <a:pt x="111" y="40"/>
                      <a:pt x="111" y="40"/>
                      <a:pt x="111" y="40"/>
                    </a:cubicBezTo>
                    <a:lnTo>
                      <a:pt x="112" y="24"/>
                    </a:lnTo>
                    <a:close/>
                    <a:moveTo>
                      <a:pt x="30" y="55"/>
                    </a:moveTo>
                    <a:cubicBezTo>
                      <a:pt x="27" y="51"/>
                      <a:pt x="27" y="51"/>
                      <a:pt x="27" y="51"/>
                    </a:cubicBezTo>
                    <a:cubicBezTo>
                      <a:pt x="22" y="43"/>
                      <a:pt x="22" y="43"/>
                      <a:pt x="22" y="43"/>
                    </a:cubicBezTo>
                    <a:cubicBezTo>
                      <a:pt x="21" y="40"/>
                      <a:pt x="21" y="40"/>
                      <a:pt x="21" y="40"/>
                    </a:cubicBezTo>
                    <a:cubicBezTo>
                      <a:pt x="31" y="28"/>
                      <a:pt x="31" y="28"/>
                      <a:pt x="31" y="28"/>
                    </a:cubicBezTo>
                    <a:cubicBezTo>
                      <a:pt x="30" y="37"/>
                      <a:pt x="30" y="46"/>
                      <a:pt x="30" y="55"/>
                    </a:cubicBezTo>
                    <a:close/>
                    <a:moveTo>
                      <a:pt x="70" y="41"/>
                    </a:moveTo>
                    <a:cubicBezTo>
                      <a:pt x="68" y="39"/>
                      <a:pt x="68" y="39"/>
                      <a:pt x="68" y="39"/>
                    </a:cubicBezTo>
                    <a:cubicBezTo>
                      <a:pt x="82" y="30"/>
                      <a:pt x="82" y="30"/>
                      <a:pt x="82" y="30"/>
                    </a:cubicBezTo>
                    <a:cubicBezTo>
                      <a:pt x="82" y="28"/>
                      <a:pt x="82" y="27"/>
                      <a:pt x="82" y="25"/>
                    </a:cubicBezTo>
                    <a:cubicBezTo>
                      <a:pt x="86" y="28"/>
                      <a:pt x="86" y="28"/>
                      <a:pt x="86" y="28"/>
                    </a:cubicBezTo>
                    <a:cubicBezTo>
                      <a:pt x="88" y="30"/>
                      <a:pt x="88" y="30"/>
                      <a:pt x="88" y="30"/>
                    </a:cubicBezTo>
                    <a:lnTo>
                      <a:pt x="70" y="41"/>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5" name="Freeform 217"/>
              <p:cNvSpPr/>
              <p:nvPr/>
            </p:nvSpPr>
            <p:spPr bwMode="auto">
              <a:xfrm>
                <a:off x="5946775" y="3201988"/>
                <a:ext cx="42863" cy="44450"/>
              </a:xfrm>
              <a:custGeom>
                <a:avLst/>
                <a:gdLst>
                  <a:gd name="T0" fmla="*/ 22 w 27"/>
                  <a:gd name="T1" fmla="*/ 0 h 28"/>
                  <a:gd name="T2" fmla="*/ 27 w 27"/>
                  <a:gd name="T3" fmla="*/ 16 h 28"/>
                  <a:gd name="T4" fmla="*/ 12 w 27"/>
                  <a:gd name="T5" fmla="*/ 28 h 28"/>
                  <a:gd name="T6" fmla="*/ 0 w 27"/>
                  <a:gd name="T7" fmla="*/ 16 h 28"/>
                  <a:gd name="T8" fmla="*/ 5 w 27"/>
                  <a:gd name="T9" fmla="*/ 0 h 28"/>
                  <a:gd name="T10" fmla="*/ 22 w 27"/>
                  <a:gd name="T11" fmla="*/ 0 h 28"/>
                </a:gdLst>
                <a:ahLst/>
                <a:cxnLst>
                  <a:cxn ang="0">
                    <a:pos x="T0" y="T1"/>
                  </a:cxn>
                  <a:cxn ang="0">
                    <a:pos x="T2" y="T3"/>
                  </a:cxn>
                  <a:cxn ang="0">
                    <a:pos x="T4" y="T5"/>
                  </a:cxn>
                  <a:cxn ang="0">
                    <a:pos x="T6" y="T7"/>
                  </a:cxn>
                  <a:cxn ang="0">
                    <a:pos x="T8" y="T9"/>
                  </a:cxn>
                  <a:cxn ang="0">
                    <a:pos x="T10" y="T11"/>
                  </a:cxn>
                </a:cxnLst>
                <a:rect l="0" t="0" r="r" b="b"/>
                <a:pathLst>
                  <a:path w="27" h="28">
                    <a:moveTo>
                      <a:pt x="22" y="0"/>
                    </a:moveTo>
                    <a:lnTo>
                      <a:pt x="27" y="16"/>
                    </a:lnTo>
                    <a:lnTo>
                      <a:pt x="12" y="28"/>
                    </a:lnTo>
                    <a:lnTo>
                      <a:pt x="0" y="16"/>
                    </a:lnTo>
                    <a:lnTo>
                      <a:pt x="5" y="0"/>
                    </a:ln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6" name="Freeform 218"/>
              <p:cNvSpPr/>
              <p:nvPr/>
            </p:nvSpPr>
            <p:spPr bwMode="auto">
              <a:xfrm>
                <a:off x="5946775" y="3232150"/>
                <a:ext cx="42863" cy="185738"/>
              </a:xfrm>
              <a:custGeom>
                <a:avLst/>
                <a:gdLst>
                  <a:gd name="T0" fmla="*/ 22 w 27"/>
                  <a:gd name="T1" fmla="*/ 0 h 117"/>
                  <a:gd name="T2" fmla="*/ 27 w 27"/>
                  <a:gd name="T3" fmla="*/ 105 h 117"/>
                  <a:gd name="T4" fmla="*/ 12 w 27"/>
                  <a:gd name="T5" fmla="*/ 117 h 117"/>
                  <a:gd name="T6" fmla="*/ 0 w 27"/>
                  <a:gd name="T7" fmla="*/ 105 h 117"/>
                  <a:gd name="T8" fmla="*/ 5 w 27"/>
                  <a:gd name="T9" fmla="*/ 0 h 117"/>
                  <a:gd name="T10" fmla="*/ 22 w 27"/>
                  <a:gd name="T11" fmla="*/ 0 h 117"/>
                </a:gdLst>
                <a:ahLst/>
                <a:cxnLst>
                  <a:cxn ang="0">
                    <a:pos x="T0" y="T1"/>
                  </a:cxn>
                  <a:cxn ang="0">
                    <a:pos x="T2" y="T3"/>
                  </a:cxn>
                  <a:cxn ang="0">
                    <a:pos x="T4" y="T5"/>
                  </a:cxn>
                  <a:cxn ang="0">
                    <a:pos x="T6" y="T7"/>
                  </a:cxn>
                  <a:cxn ang="0">
                    <a:pos x="T8" y="T9"/>
                  </a:cxn>
                  <a:cxn ang="0">
                    <a:pos x="T10" y="T11"/>
                  </a:cxn>
                </a:cxnLst>
                <a:rect l="0" t="0" r="r" b="b"/>
                <a:pathLst>
                  <a:path w="27" h="117">
                    <a:moveTo>
                      <a:pt x="22" y="0"/>
                    </a:moveTo>
                    <a:lnTo>
                      <a:pt x="27" y="105"/>
                    </a:lnTo>
                    <a:lnTo>
                      <a:pt x="12" y="117"/>
                    </a:lnTo>
                    <a:lnTo>
                      <a:pt x="0" y="105"/>
                    </a:lnTo>
                    <a:lnTo>
                      <a:pt x="5" y="0"/>
                    </a:ln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grpSp>
      </p:grpSp>
      <p:sp>
        <p:nvSpPr>
          <p:cNvPr id="97" name="Oval 21"/>
          <p:cNvSpPr/>
          <p:nvPr/>
        </p:nvSpPr>
        <p:spPr>
          <a:xfrm>
            <a:off x="1673230" y="2194645"/>
            <a:ext cx="1932111" cy="1932111"/>
          </a:xfrm>
          <a:prstGeom prst="ellipse">
            <a:avLst/>
          </a:prstGeom>
          <a:solidFill>
            <a:srgbClr val="E46C0A"/>
          </a:solidFill>
          <a:ln>
            <a:noFill/>
          </a:ln>
          <a:effectLst/>
          <a:scene3d>
            <a:camera prst="orthographicFront"/>
            <a:lightRig rig="threePt" dir="t"/>
          </a:scene3d>
          <a:sp3d prstMaterial="softEdge">
            <a:bevelT w="38100" h="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rgbClr val="F16D63"/>
              </a:solidFill>
              <a:latin typeface="DIN-BoldItalic" pitchFamily="50" charset="0"/>
              <a:cs typeface="+mn-ea"/>
            </a:endParaRPr>
          </a:p>
        </p:txBody>
      </p:sp>
      <p:sp>
        <p:nvSpPr>
          <p:cNvPr id="98" name="椭圆 97"/>
          <p:cNvSpPr/>
          <p:nvPr/>
        </p:nvSpPr>
        <p:spPr>
          <a:xfrm>
            <a:off x="1831426" y="2352293"/>
            <a:ext cx="1615717" cy="1616816"/>
          </a:xfrm>
          <a:prstGeom prst="ellipse">
            <a:avLst/>
          </a:prstGeom>
          <a:blipFill dpi="0" rotWithShape="1">
            <a:blip r:embed="rId1" cstate="print">
              <a:extLst>
                <a:ext uri="{28A0092B-C50C-407E-A947-70E740481C1C}">
                  <a14:useLocalDpi xmlns:a14="http://schemas.microsoft.com/office/drawing/2010/main" val="0"/>
                </a:ext>
              </a:extLst>
            </a:blip>
            <a:srcRect/>
            <a:stretch>
              <a:fillRect/>
            </a:stretch>
          </a:blipFill>
          <a:ln w="9525">
            <a:noFill/>
          </a:ln>
        </p:spPr>
        <p:style>
          <a:lnRef idx="2">
            <a:scrgbClr r="0" g="0" b="0"/>
          </a:lnRef>
          <a:fillRef idx="1">
            <a:scrgbClr r="0" g="0" b="0"/>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a:lstStyle/>
          <a:p>
            <a:endParaRPr lang="zh-CN" altLang="en-US" sz="2400">
              <a:cs typeface="+mn-ea"/>
            </a:endParaRPr>
          </a:p>
        </p:txBody>
      </p:sp>
      <p:sp>
        <p:nvSpPr>
          <p:cNvPr id="99" name="矩形 98"/>
          <p:cNvSpPr/>
          <p:nvPr/>
        </p:nvSpPr>
        <p:spPr>
          <a:xfrm>
            <a:off x="6209188" y="2483247"/>
            <a:ext cx="3311505" cy="323916"/>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团队协作</a:t>
            </a:r>
            <a:endParaRPr lang="zh-CN" altLang="en-US" sz="1400" dirty="0">
              <a:latin typeface="+mn-ea"/>
              <a:cs typeface="+mn-ea"/>
            </a:endParaRPr>
          </a:p>
        </p:txBody>
      </p:sp>
      <p:sp>
        <p:nvSpPr>
          <p:cNvPr id="100" name="矩形 99"/>
          <p:cNvSpPr/>
          <p:nvPr/>
        </p:nvSpPr>
        <p:spPr>
          <a:xfrm>
            <a:off x="6209187" y="2861053"/>
            <a:ext cx="2447635" cy="323916"/>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沟通交流</a:t>
            </a:r>
            <a:endParaRPr lang="zh-CN" altLang="en-US" sz="1400" dirty="0">
              <a:latin typeface="+mn-ea"/>
              <a:cs typeface="+mn-ea"/>
            </a:endParaRPr>
          </a:p>
        </p:txBody>
      </p:sp>
      <p:sp>
        <p:nvSpPr>
          <p:cNvPr id="101" name="矩形 100"/>
          <p:cNvSpPr/>
          <p:nvPr/>
        </p:nvSpPr>
        <p:spPr>
          <a:xfrm>
            <a:off x="6209187" y="3257029"/>
            <a:ext cx="3887420" cy="323916"/>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业务知识</a:t>
            </a:r>
            <a:endParaRPr lang="zh-CN" altLang="en-US" sz="1400" dirty="0">
              <a:latin typeface="+mn-ea"/>
              <a:cs typeface="+mn-ea"/>
            </a:endParaRPr>
          </a:p>
        </p:txBody>
      </p:sp>
      <p:sp>
        <p:nvSpPr>
          <p:cNvPr id="102" name="矩形 101"/>
          <p:cNvSpPr/>
          <p:nvPr/>
        </p:nvSpPr>
        <p:spPr>
          <a:xfrm>
            <a:off x="6209187" y="3652934"/>
            <a:ext cx="2159677" cy="323916"/>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情绪管理</a:t>
            </a:r>
            <a:endParaRPr lang="zh-CN" altLang="en-US" sz="1400" dirty="0">
              <a:latin typeface="+mn-ea"/>
              <a:cs typeface="+mn-ea"/>
            </a:endParaRPr>
          </a:p>
        </p:txBody>
      </p:sp>
      <p:sp>
        <p:nvSpPr>
          <p:cNvPr id="103" name="文本框 5"/>
          <p:cNvSpPr txBox="1"/>
          <p:nvPr/>
        </p:nvSpPr>
        <p:spPr>
          <a:xfrm>
            <a:off x="6209188" y="2061204"/>
            <a:ext cx="1223817" cy="400110"/>
          </a:xfrm>
          <a:prstGeom prst="rect">
            <a:avLst/>
          </a:prstGeom>
          <a:noFill/>
        </p:spPr>
        <p:txBody>
          <a:bodyPr wrap="square" rtlCol="0">
            <a:spAutoFit/>
          </a:bodyPr>
          <a:lstStyle/>
          <a:p>
            <a:r>
              <a:rPr lang="zh-CN" altLang="en-US" sz="2000" b="1" dirty="0">
                <a:solidFill>
                  <a:schemeClr val="bg1">
                    <a:lumMod val="50000"/>
                  </a:schemeClr>
                </a:solidFill>
                <a:latin typeface="+mn-ea"/>
                <a:cs typeface="+mn-ea"/>
              </a:rPr>
              <a:t>技能</a:t>
            </a:r>
            <a:r>
              <a:rPr lang="zh-CN" altLang="en-US" sz="1350" b="1" dirty="0">
                <a:solidFill>
                  <a:schemeClr val="bg1"/>
                </a:solidFill>
                <a:latin typeface="+mn-ea"/>
                <a:cs typeface="+mn-ea"/>
              </a:rPr>
              <a:t>：</a:t>
            </a:r>
            <a:endParaRPr lang="zh-CN" altLang="en-US" sz="1350" b="1" dirty="0">
              <a:solidFill>
                <a:schemeClr val="bg1"/>
              </a:solidFill>
              <a:latin typeface="+mn-ea"/>
              <a:cs typeface="+mn-ea"/>
            </a:endParaRPr>
          </a:p>
        </p:txBody>
      </p:sp>
      <p:sp>
        <p:nvSpPr>
          <p:cNvPr id="104" name="文本框 9"/>
          <p:cNvSpPr txBox="1"/>
          <p:nvPr/>
        </p:nvSpPr>
        <p:spPr>
          <a:xfrm>
            <a:off x="10209794" y="2512065"/>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80%</a:t>
            </a:r>
            <a:endParaRPr lang="zh-CN" altLang="en-US" sz="1400" b="1" dirty="0">
              <a:solidFill>
                <a:schemeClr val="bg1">
                  <a:lumMod val="50000"/>
                </a:schemeClr>
              </a:solidFill>
              <a:latin typeface="+mn-ea"/>
              <a:cs typeface="+mn-ea"/>
            </a:endParaRPr>
          </a:p>
        </p:txBody>
      </p:sp>
      <p:sp>
        <p:nvSpPr>
          <p:cNvPr id="105" name="文本框 40"/>
          <p:cNvSpPr txBox="1"/>
          <p:nvPr/>
        </p:nvSpPr>
        <p:spPr>
          <a:xfrm>
            <a:off x="10204591" y="3280524"/>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95%</a:t>
            </a:r>
            <a:endParaRPr lang="zh-CN" altLang="en-US" sz="1400" b="1" dirty="0">
              <a:solidFill>
                <a:schemeClr val="bg1">
                  <a:lumMod val="50000"/>
                </a:schemeClr>
              </a:solidFill>
              <a:latin typeface="+mn-ea"/>
              <a:cs typeface="+mn-ea"/>
            </a:endParaRPr>
          </a:p>
        </p:txBody>
      </p:sp>
      <p:sp>
        <p:nvSpPr>
          <p:cNvPr id="106" name="文本框 41"/>
          <p:cNvSpPr txBox="1"/>
          <p:nvPr/>
        </p:nvSpPr>
        <p:spPr>
          <a:xfrm>
            <a:off x="10204591" y="3676429"/>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50%</a:t>
            </a:r>
            <a:endParaRPr lang="zh-CN" altLang="en-US" sz="1400" b="1" dirty="0">
              <a:solidFill>
                <a:schemeClr val="bg1">
                  <a:lumMod val="50000"/>
                </a:schemeClr>
              </a:solidFill>
              <a:latin typeface="+mn-ea"/>
              <a:cs typeface="+mn-ea"/>
            </a:endParaRPr>
          </a:p>
        </p:txBody>
      </p:sp>
      <p:sp>
        <p:nvSpPr>
          <p:cNvPr id="107" name="文本框 42"/>
          <p:cNvSpPr txBox="1"/>
          <p:nvPr/>
        </p:nvSpPr>
        <p:spPr>
          <a:xfrm>
            <a:off x="10207395" y="2908042"/>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70%</a:t>
            </a:r>
            <a:endParaRPr lang="zh-CN" altLang="en-US" sz="1400" b="1" dirty="0">
              <a:solidFill>
                <a:schemeClr val="bg1">
                  <a:lumMod val="50000"/>
                </a:schemeClr>
              </a:solidFill>
              <a:latin typeface="+mn-ea"/>
              <a:cs typeface="+mn-ea"/>
            </a:endParaRPr>
          </a:p>
        </p:txBody>
      </p:sp>
      <p:sp>
        <p:nvSpPr>
          <p:cNvPr id="108" name="文本框 11"/>
          <p:cNvSpPr txBox="1"/>
          <p:nvPr/>
        </p:nvSpPr>
        <p:spPr>
          <a:xfrm>
            <a:off x="7012150" y="3163403"/>
            <a:ext cx="905841" cy="299954"/>
          </a:xfrm>
          <a:prstGeom prst="rect">
            <a:avLst/>
          </a:prstGeom>
          <a:noFill/>
        </p:spPr>
        <p:txBody>
          <a:bodyPr wrap="square" rtlCol="0">
            <a:spAutoFit/>
          </a:bodyPr>
          <a:lstStyle/>
          <a:p>
            <a:endParaRPr lang="zh-CN" altLang="en-US" sz="1350" dirty="0">
              <a:latin typeface="+mn-ea"/>
              <a:cs typeface="+mn-ea"/>
            </a:endParaRPr>
          </a:p>
        </p:txBody>
      </p:sp>
      <p:grpSp>
        <p:nvGrpSpPr>
          <p:cNvPr id="109" name="组合 108"/>
          <p:cNvGrpSpPr/>
          <p:nvPr/>
        </p:nvGrpSpPr>
        <p:grpSpPr>
          <a:xfrm>
            <a:off x="3936323" y="2297963"/>
            <a:ext cx="2104044" cy="1497110"/>
            <a:chOff x="4080015" y="2124888"/>
            <a:chExt cx="2104592" cy="1497500"/>
          </a:xfrm>
        </p:grpSpPr>
        <p:sp>
          <p:nvSpPr>
            <p:cNvPr id="110" name="文本框 10"/>
            <p:cNvSpPr txBox="1"/>
            <p:nvPr/>
          </p:nvSpPr>
          <p:spPr>
            <a:xfrm>
              <a:off x="4080015" y="2124888"/>
              <a:ext cx="1729538" cy="338642"/>
            </a:xfrm>
            <a:prstGeom prst="rect">
              <a:avLst/>
            </a:prstGeom>
            <a:noFill/>
          </p:spPr>
          <p:txBody>
            <a:bodyPr wrap="square" rtlCol="0">
              <a:spAutoFit/>
            </a:bodyPr>
            <a:lstStyle/>
            <a:p>
              <a:r>
                <a:rPr lang="zh-CN" altLang="en-US" sz="1600" b="1" dirty="0">
                  <a:solidFill>
                    <a:schemeClr val="bg1">
                      <a:lumMod val="50000"/>
                    </a:schemeClr>
                  </a:solidFill>
                  <a:latin typeface="+mn-ea"/>
                  <a:cs typeface="+mn-ea"/>
                </a:rPr>
                <a:t>人物介绍：</a:t>
              </a:r>
              <a:endParaRPr lang="zh-CN" altLang="en-US" sz="1600" b="1" dirty="0">
                <a:solidFill>
                  <a:schemeClr val="bg1">
                    <a:lumMod val="50000"/>
                  </a:schemeClr>
                </a:solidFill>
                <a:latin typeface="+mn-ea"/>
                <a:cs typeface="+mn-ea"/>
              </a:endParaRPr>
            </a:p>
          </p:txBody>
        </p:sp>
        <p:sp>
          <p:nvSpPr>
            <p:cNvPr id="111" name="Rectangle 1"/>
            <p:cNvSpPr>
              <a:spLocks noChangeArrowheads="1"/>
            </p:cNvSpPr>
            <p:nvPr/>
          </p:nvSpPr>
          <p:spPr bwMode="auto">
            <a:xfrm>
              <a:off x="4138622" y="2714256"/>
              <a:ext cx="2045985" cy="908132"/>
            </a:xfrm>
            <a:prstGeom prst="rect">
              <a:avLst/>
            </a:prstGeom>
            <a:noFill/>
            <a:ln>
              <a:noFill/>
            </a:ln>
            <a:effectLst/>
          </p:spPr>
          <p:txBody>
            <a:bodyPr vert="horz" wrap="square" lIns="0" tIns="0" rIns="0" bIns="76156" numCol="1" anchor="ctr" anchorCtr="0" compatLnSpc="1">
              <a:spAutoFit/>
            </a:bodyPr>
            <a:lstStyle/>
            <a:p>
              <a:pPr eaLnBrk="0" fontAlgn="base" hangingPunct="0">
                <a:lnSpc>
                  <a:spcPct val="150000"/>
                </a:lnSpc>
                <a:spcBef>
                  <a:spcPct val="0"/>
                </a:spcBef>
                <a:spcAft>
                  <a:spcPct val="0"/>
                </a:spcAft>
              </a:pPr>
              <a:r>
                <a:rPr lang="zh-CN" altLang="en-US" sz="1200" dirty="0">
                  <a:solidFill>
                    <a:schemeClr val="bg1">
                      <a:lumMod val="50000"/>
                    </a:schemeClr>
                  </a:solidFill>
                  <a:latin typeface="+mn-ea"/>
                  <a:cs typeface="+mn-ea"/>
                </a:rPr>
                <a:t>上海复旦大学哲学系毕业，之后取得香港浸会大学传播硕士学位。 </a:t>
              </a:r>
              <a:endParaRPr lang="zh-CN" altLang="en-US" sz="1200" dirty="0">
                <a:solidFill>
                  <a:schemeClr val="bg1">
                    <a:lumMod val="50000"/>
                  </a:schemeClr>
                </a:solidFill>
                <a:latin typeface="+mn-ea"/>
                <a:cs typeface="+mn-ea"/>
              </a:endParaRPr>
            </a:p>
          </p:txBody>
        </p:sp>
      </p:grpSp>
      <p:grpSp>
        <p:nvGrpSpPr>
          <p:cNvPr id="112" name="组合 111"/>
          <p:cNvGrpSpPr/>
          <p:nvPr/>
        </p:nvGrpSpPr>
        <p:grpSpPr>
          <a:xfrm>
            <a:off x="1703070" y="4522193"/>
            <a:ext cx="3023141" cy="899867"/>
            <a:chOff x="1703512" y="4666491"/>
            <a:chExt cx="3023929" cy="900101"/>
          </a:xfrm>
        </p:grpSpPr>
        <p:sp>
          <p:nvSpPr>
            <p:cNvPr id="113" name="文本框 18"/>
            <p:cNvSpPr txBox="1"/>
            <p:nvPr/>
          </p:nvSpPr>
          <p:spPr>
            <a:xfrm>
              <a:off x="1703512" y="4666491"/>
              <a:ext cx="2088232" cy="769513"/>
            </a:xfrm>
            <a:prstGeom prst="rect">
              <a:avLst/>
            </a:prstGeom>
            <a:noFill/>
          </p:spPr>
          <p:txBody>
            <a:bodyPr wrap="square" rtlCol="0">
              <a:spAutoFit/>
            </a:bodyPr>
            <a:lstStyle/>
            <a:p>
              <a:r>
                <a:rPr lang="en-US" altLang="zh-CN" sz="4400" dirty="0">
                  <a:solidFill>
                    <a:schemeClr val="bg1">
                      <a:lumMod val="50000"/>
                    </a:schemeClr>
                  </a:solidFill>
                  <a:latin typeface="+mn-ea"/>
                  <a:cs typeface="+mn-ea"/>
                </a:rPr>
                <a:t>DAIEN</a:t>
              </a:r>
              <a:endParaRPr lang="en-US" altLang="zh-CN" sz="4400" dirty="0">
                <a:solidFill>
                  <a:schemeClr val="bg1">
                    <a:lumMod val="50000"/>
                  </a:schemeClr>
                </a:solidFill>
                <a:latin typeface="+mn-ea"/>
                <a:cs typeface="+mn-ea"/>
              </a:endParaRPr>
            </a:p>
          </p:txBody>
        </p:sp>
        <p:cxnSp>
          <p:nvCxnSpPr>
            <p:cNvPr id="114" name="直接连接符 113"/>
            <p:cNvCxnSpPr/>
            <p:nvPr/>
          </p:nvCxnSpPr>
          <p:spPr>
            <a:xfrm flipV="1">
              <a:off x="3275469" y="5051211"/>
              <a:ext cx="444027" cy="515381"/>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15" name="矩形 114"/>
            <p:cNvSpPr/>
            <p:nvPr/>
          </p:nvSpPr>
          <p:spPr>
            <a:xfrm>
              <a:off x="3503710" y="5219908"/>
              <a:ext cx="1223731" cy="300032"/>
            </a:xfrm>
            <a:prstGeom prst="rect">
              <a:avLst/>
            </a:prstGeom>
          </p:spPr>
          <p:txBody>
            <a:bodyPr wrap="none">
              <a:spAutoFit/>
            </a:bodyPr>
            <a:lstStyle/>
            <a:p>
              <a:r>
                <a:rPr lang="zh-CN" altLang="en-US" sz="1350" dirty="0">
                  <a:solidFill>
                    <a:schemeClr val="bg1">
                      <a:lumMod val="50000"/>
                    </a:schemeClr>
                  </a:solidFill>
                  <a:latin typeface="+mn-ea"/>
                  <a:cs typeface="+mn-ea"/>
                </a:rPr>
                <a:t>人力资源经理</a:t>
              </a:r>
              <a:endParaRPr lang="zh-CN" altLang="en-US" sz="1350" dirty="0">
                <a:solidFill>
                  <a:schemeClr val="bg1">
                    <a:lumMod val="50000"/>
                  </a:schemeClr>
                </a:solidFill>
                <a:latin typeface="+mn-ea"/>
                <a:cs typeface="+mn-ea"/>
              </a:endParaRPr>
            </a:p>
          </p:txBody>
        </p:sp>
      </p:grpSp>
      <p:grpSp>
        <p:nvGrpSpPr>
          <p:cNvPr id="116" name="组合 115"/>
          <p:cNvGrpSpPr/>
          <p:nvPr/>
        </p:nvGrpSpPr>
        <p:grpSpPr>
          <a:xfrm>
            <a:off x="5072053" y="4579811"/>
            <a:ext cx="5991207" cy="842247"/>
            <a:chOff x="5073372" y="4724126"/>
            <a:chExt cx="5992767" cy="842466"/>
          </a:xfrm>
        </p:grpSpPr>
        <p:cxnSp>
          <p:nvCxnSpPr>
            <p:cNvPr id="117" name="直接连接符 116"/>
            <p:cNvCxnSpPr/>
            <p:nvPr/>
          </p:nvCxnSpPr>
          <p:spPr>
            <a:xfrm>
              <a:off x="5073372" y="5566592"/>
              <a:ext cx="505666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8" name="文本框 49"/>
            <p:cNvSpPr txBox="1"/>
            <p:nvPr/>
          </p:nvSpPr>
          <p:spPr>
            <a:xfrm>
              <a:off x="8509855" y="4724126"/>
              <a:ext cx="2556284" cy="584927"/>
            </a:xfrm>
            <a:prstGeom prst="rect">
              <a:avLst/>
            </a:prstGeom>
            <a:noFill/>
          </p:spPr>
          <p:txBody>
            <a:bodyPr wrap="square" rtlCol="0">
              <a:spAutoFit/>
            </a:bodyPr>
            <a:lstStyle/>
            <a:p>
              <a:r>
                <a:rPr lang="zh-CN" altLang="en-US" sz="1600" dirty="0">
                  <a:solidFill>
                    <a:schemeClr val="bg1">
                      <a:lumMod val="50000"/>
                    </a:schemeClr>
                  </a:solidFill>
                  <a:latin typeface="+mn-ea"/>
                  <a:cs typeface="+mn-ea"/>
                </a:rPr>
                <a:t>工作岗位说明及日常工作内容阐述。</a:t>
              </a:r>
              <a:endParaRPr lang="zh-CN" altLang="en-US" sz="1600" dirty="0">
                <a:solidFill>
                  <a:schemeClr val="bg1">
                    <a:lumMod val="50000"/>
                  </a:schemeClr>
                </a:solidFill>
                <a:latin typeface="+mn-ea"/>
                <a:cs typeface="+mn-ea"/>
              </a:endParaRPr>
            </a:p>
          </p:txBody>
        </p:sp>
        <p:pic>
          <p:nvPicPr>
            <p:cNvPr id="119" name="图片 118"/>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7878872" y="4762457"/>
              <a:ext cx="504000" cy="504000"/>
            </a:xfrm>
            <a:prstGeom prst="ellipse">
              <a:avLst/>
            </a:prstGeom>
            <a:solidFill>
              <a:srgbClr val="E46C0A"/>
            </a:solidFill>
          </p:spPr>
        </p:pic>
      </p:grpSp>
      <p:sp>
        <p:nvSpPr>
          <p:cNvPr id="4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48" name="文本框 47"/>
          <p:cNvSpPr txBox="1"/>
          <p:nvPr/>
        </p:nvSpPr>
        <p:spPr>
          <a:xfrm>
            <a:off x="3431704" y="-652402"/>
            <a:ext cx="877163" cy="369332"/>
          </a:xfrm>
          <a:prstGeom prst="rect">
            <a:avLst/>
          </a:prstGeom>
          <a:noFill/>
        </p:spPr>
        <p:txBody>
          <a:bodyPr wrap="none" rtlCol="0">
            <a:spAutoFit/>
          </a:bodyPr>
          <a:lstStyle/>
          <a:p>
            <a:r>
              <a:rPr lang="zh-CN" altLang="en-US" dirty="0" smtClean="0"/>
              <a:t>延时符</a:t>
            </a:r>
            <a:endParaRPr lang="en-US" altLang="zh-CN" dirty="0" smtClean="0"/>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72"/>
                                        </p:tgtEl>
                                        <p:attrNameLst>
                                          <p:attrName>style.visibility</p:attrName>
                                        </p:attrNameLst>
                                      </p:cBhvr>
                                      <p:to>
                                        <p:strVal val="visible"/>
                                      </p:to>
                                    </p:set>
                                    <p:anim calcmode="lin" valueType="num">
                                      <p:cBhvr>
                                        <p:cTn id="7" dur="500" fill="hold"/>
                                        <p:tgtEl>
                                          <p:spTgt spid="72"/>
                                        </p:tgtEl>
                                        <p:attrNameLst>
                                          <p:attrName>ppt_w</p:attrName>
                                        </p:attrNameLst>
                                      </p:cBhvr>
                                      <p:tavLst>
                                        <p:tav tm="0">
                                          <p:val>
                                            <p:fltVal val="0"/>
                                          </p:val>
                                        </p:tav>
                                        <p:tav tm="100000">
                                          <p:val>
                                            <p:strVal val="#ppt_w"/>
                                          </p:val>
                                        </p:tav>
                                      </p:tavLst>
                                    </p:anim>
                                    <p:anim calcmode="lin" valueType="num">
                                      <p:cBhvr>
                                        <p:cTn id="8" dur="500" fill="hold"/>
                                        <p:tgtEl>
                                          <p:spTgt spid="72"/>
                                        </p:tgtEl>
                                        <p:attrNameLst>
                                          <p:attrName>ppt_h</p:attrName>
                                        </p:attrNameLst>
                                      </p:cBhvr>
                                      <p:tavLst>
                                        <p:tav tm="0">
                                          <p:val>
                                            <p:fltVal val="0"/>
                                          </p:val>
                                        </p:tav>
                                        <p:tav tm="100000">
                                          <p:val>
                                            <p:strVal val="#ppt_h"/>
                                          </p:val>
                                        </p:tav>
                                      </p:tavLst>
                                    </p:anim>
                                    <p:animEffect transition="in" filter="fade">
                                      <p:cBhvr>
                                        <p:cTn id="9" dur="500"/>
                                        <p:tgtEl>
                                          <p:spTgt spid="72"/>
                                        </p:tgtEl>
                                      </p:cBhvr>
                                    </p:animEffect>
                                  </p:childTnLst>
                                </p:cTn>
                              </p:par>
                              <p:par>
                                <p:cTn id="10" presetID="53" presetClass="entr" presetSubtype="16" fill="hold" grpId="0" nodeType="withEffect">
                                  <p:stCondLst>
                                    <p:cond delay="500"/>
                                  </p:stCondLst>
                                  <p:childTnLst>
                                    <p:set>
                                      <p:cBhvr>
                                        <p:cTn id="11" dur="1" fill="hold">
                                          <p:stCondLst>
                                            <p:cond delay="0"/>
                                          </p:stCondLst>
                                        </p:cTn>
                                        <p:tgtEl>
                                          <p:spTgt spid="97"/>
                                        </p:tgtEl>
                                        <p:attrNameLst>
                                          <p:attrName>style.visibility</p:attrName>
                                        </p:attrNameLst>
                                      </p:cBhvr>
                                      <p:to>
                                        <p:strVal val="visible"/>
                                      </p:to>
                                    </p:set>
                                    <p:anim calcmode="lin" valueType="num">
                                      <p:cBhvr>
                                        <p:cTn id="12" dur="500" fill="hold"/>
                                        <p:tgtEl>
                                          <p:spTgt spid="97"/>
                                        </p:tgtEl>
                                        <p:attrNameLst>
                                          <p:attrName>ppt_w</p:attrName>
                                        </p:attrNameLst>
                                      </p:cBhvr>
                                      <p:tavLst>
                                        <p:tav tm="0">
                                          <p:val>
                                            <p:fltVal val="0"/>
                                          </p:val>
                                        </p:tav>
                                        <p:tav tm="100000">
                                          <p:val>
                                            <p:strVal val="#ppt_w"/>
                                          </p:val>
                                        </p:tav>
                                      </p:tavLst>
                                    </p:anim>
                                    <p:anim calcmode="lin" valueType="num">
                                      <p:cBhvr>
                                        <p:cTn id="13" dur="500" fill="hold"/>
                                        <p:tgtEl>
                                          <p:spTgt spid="97"/>
                                        </p:tgtEl>
                                        <p:attrNameLst>
                                          <p:attrName>ppt_h</p:attrName>
                                        </p:attrNameLst>
                                      </p:cBhvr>
                                      <p:tavLst>
                                        <p:tav tm="0">
                                          <p:val>
                                            <p:fltVal val="0"/>
                                          </p:val>
                                        </p:tav>
                                        <p:tav tm="100000">
                                          <p:val>
                                            <p:strVal val="#ppt_h"/>
                                          </p:val>
                                        </p:tav>
                                      </p:tavLst>
                                    </p:anim>
                                    <p:animEffect transition="in" filter="fade">
                                      <p:cBhvr>
                                        <p:cTn id="14" dur="500"/>
                                        <p:tgtEl>
                                          <p:spTgt spid="97"/>
                                        </p:tgtEl>
                                      </p:cBhvr>
                                    </p:animEffect>
                                  </p:childTnLst>
                                </p:cTn>
                              </p:par>
                              <p:par>
                                <p:cTn id="15" presetID="53" presetClass="entr" presetSubtype="16" fill="hold" nodeType="withEffect">
                                  <p:stCondLst>
                                    <p:cond delay="500"/>
                                  </p:stCondLst>
                                  <p:childTnLst>
                                    <p:set>
                                      <p:cBhvr>
                                        <p:cTn id="16" dur="1" fill="hold">
                                          <p:stCondLst>
                                            <p:cond delay="0"/>
                                          </p:stCondLst>
                                        </p:cTn>
                                        <p:tgtEl>
                                          <p:spTgt spid="98"/>
                                        </p:tgtEl>
                                        <p:attrNameLst>
                                          <p:attrName>style.visibility</p:attrName>
                                        </p:attrNameLst>
                                      </p:cBhvr>
                                      <p:to>
                                        <p:strVal val="visible"/>
                                      </p:to>
                                    </p:set>
                                    <p:anim calcmode="lin" valueType="num">
                                      <p:cBhvr>
                                        <p:cTn id="17" dur="500" fill="hold"/>
                                        <p:tgtEl>
                                          <p:spTgt spid="98"/>
                                        </p:tgtEl>
                                        <p:attrNameLst>
                                          <p:attrName>ppt_w</p:attrName>
                                        </p:attrNameLst>
                                      </p:cBhvr>
                                      <p:tavLst>
                                        <p:tav tm="0">
                                          <p:val>
                                            <p:fltVal val="0"/>
                                          </p:val>
                                        </p:tav>
                                        <p:tav tm="100000">
                                          <p:val>
                                            <p:strVal val="#ppt_w"/>
                                          </p:val>
                                        </p:tav>
                                      </p:tavLst>
                                    </p:anim>
                                    <p:anim calcmode="lin" valueType="num">
                                      <p:cBhvr>
                                        <p:cTn id="18" dur="500" fill="hold"/>
                                        <p:tgtEl>
                                          <p:spTgt spid="98"/>
                                        </p:tgtEl>
                                        <p:attrNameLst>
                                          <p:attrName>ppt_h</p:attrName>
                                        </p:attrNameLst>
                                      </p:cBhvr>
                                      <p:tavLst>
                                        <p:tav tm="0">
                                          <p:val>
                                            <p:fltVal val="0"/>
                                          </p:val>
                                        </p:tav>
                                        <p:tav tm="100000">
                                          <p:val>
                                            <p:strVal val="#ppt_h"/>
                                          </p:val>
                                        </p:tav>
                                      </p:tavLst>
                                    </p:anim>
                                    <p:animEffect transition="in" filter="fade">
                                      <p:cBhvr>
                                        <p:cTn id="19" dur="500"/>
                                        <p:tgtEl>
                                          <p:spTgt spid="98"/>
                                        </p:tgtEl>
                                      </p:cBhvr>
                                    </p:animEffect>
                                  </p:childTnLst>
                                </p:cTn>
                              </p:par>
                              <p:par>
                                <p:cTn id="20" presetID="53" presetClass="entr" presetSubtype="16" fill="hold" nodeType="withEffect">
                                  <p:stCondLst>
                                    <p:cond delay="1000"/>
                                  </p:stCondLst>
                                  <p:childTnLst>
                                    <p:set>
                                      <p:cBhvr>
                                        <p:cTn id="21" dur="1" fill="hold">
                                          <p:stCondLst>
                                            <p:cond delay="0"/>
                                          </p:stCondLst>
                                        </p:cTn>
                                        <p:tgtEl>
                                          <p:spTgt spid="109"/>
                                        </p:tgtEl>
                                        <p:attrNameLst>
                                          <p:attrName>style.visibility</p:attrName>
                                        </p:attrNameLst>
                                      </p:cBhvr>
                                      <p:to>
                                        <p:strVal val="visible"/>
                                      </p:to>
                                    </p:set>
                                    <p:anim calcmode="lin" valueType="num">
                                      <p:cBhvr>
                                        <p:cTn id="22" dur="500" fill="hold"/>
                                        <p:tgtEl>
                                          <p:spTgt spid="109"/>
                                        </p:tgtEl>
                                        <p:attrNameLst>
                                          <p:attrName>ppt_w</p:attrName>
                                        </p:attrNameLst>
                                      </p:cBhvr>
                                      <p:tavLst>
                                        <p:tav tm="0">
                                          <p:val>
                                            <p:fltVal val="0"/>
                                          </p:val>
                                        </p:tav>
                                        <p:tav tm="100000">
                                          <p:val>
                                            <p:strVal val="#ppt_w"/>
                                          </p:val>
                                        </p:tav>
                                      </p:tavLst>
                                    </p:anim>
                                    <p:anim calcmode="lin" valueType="num">
                                      <p:cBhvr>
                                        <p:cTn id="23" dur="500" fill="hold"/>
                                        <p:tgtEl>
                                          <p:spTgt spid="109"/>
                                        </p:tgtEl>
                                        <p:attrNameLst>
                                          <p:attrName>ppt_h</p:attrName>
                                        </p:attrNameLst>
                                      </p:cBhvr>
                                      <p:tavLst>
                                        <p:tav tm="0">
                                          <p:val>
                                            <p:fltVal val="0"/>
                                          </p:val>
                                        </p:tav>
                                        <p:tav tm="100000">
                                          <p:val>
                                            <p:strVal val="#ppt_h"/>
                                          </p:val>
                                        </p:tav>
                                      </p:tavLst>
                                    </p:anim>
                                    <p:animEffect transition="in" filter="fade">
                                      <p:cBhvr>
                                        <p:cTn id="24" dur="500"/>
                                        <p:tgtEl>
                                          <p:spTgt spid="109"/>
                                        </p:tgtEl>
                                      </p:cBhvr>
                                    </p:animEffect>
                                  </p:childTnLst>
                                </p:cTn>
                              </p:par>
                              <p:par>
                                <p:cTn id="25" presetID="53" presetClass="entr" presetSubtype="16" fill="hold" grpId="0" nodeType="withEffect">
                                  <p:stCondLst>
                                    <p:cond delay="1500"/>
                                  </p:stCondLst>
                                  <p:childTnLst>
                                    <p:set>
                                      <p:cBhvr>
                                        <p:cTn id="26" dur="1" fill="hold">
                                          <p:stCondLst>
                                            <p:cond delay="0"/>
                                          </p:stCondLst>
                                        </p:cTn>
                                        <p:tgtEl>
                                          <p:spTgt spid="99"/>
                                        </p:tgtEl>
                                        <p:attrNameLst>
                                          <p:attrName>style.visibility</p:attrName>
                                        </p:attrNameLst>
                                      </p:cBhvr>
                                      <p:to>
                                        <p:strVal val="visible"/>
                                      </p:to>
                                    </p:set>
                                    <p:anim calcmode="lin" valueType="num">
                                      <p:cBhvr>
                                        <p:cTn id="27" dur="500" fill="hold"/>
                                        <p:tgtEl>
                                          <p:spTgt spid="99"/>
                                        </p:tgtEl>
                                        <p:attrNameLst>
                                          <p:attrName>ppt_w</p:attrName>
                                        </p:attrNameLst>
                                      </p:cBhvr>
                                      <p:tavLst>
                                        <p:tav tm="0">
                                          <p:val>
                                            <p:fltVal val="0"/>
                                          </p:val>
                                        </p:tav>
                                        <p:tav tm="100000">
                                          <p:val>
                                            <p:strVal val="#ppt_w"/>
                                          </p:val>
                                        </p:tav>
                                      </p:tavLst>
                                    </p:anim>
                                    <p:anim calcmode="lin" valueType="num">
                                      <p:cBhvr>
                                        <p:cTn id="28" dur="500" fill="hold"/>
                                        <p:tgtEl>
                                          <p:spTgt spid="99"/>
                                        </p:tgtEl>
                                        <p:attrNameLst>
                                          <p:attrName>ppt_h</p:attrName>
                                        </p:attrNameLst>
                                      </p:cBhvr>
                                      <p:tavLst>
                                        <p:tav tm="0">
                                          <p:val>
                                            <p:fltVal val="0"/>
                                          </p:val>
                                        </p:tav>
                                        <p:tav tm="100000">
                                          <p:val>
                                            <p:strVal val="#ppt_h"/>
                                          </p:val>
                                        </p:tav>
                                      </p:tavLst>
                                    </p:anim>
                                    <p:animEffect transition="in" filter="fade">
                                      <p:cBhvr>
                                        <p:cTn id="29" dur="500"/>
                                        <p:tgtEl>
                                          <p:spTgt spid="99"/>
                                        </p:tgtEl>
                                      </p:cBhvr>
                                    </p:animEffect>
                                  </p:childTnLst>
                                </p:cTn>
                              </p:par>
                              <p:par>
                                <p:cTn id="30" presetID="53" presetClass="entr" presetSubtype="16" fill="hold" grpId="0" nodeType="withEffect">
                                  <p:stCondLst>
                                    <p:cond delay="1500"/>
                                  </p:stCondLst>
                                  <p:childTnLst>
                                    <p:set>
                                      <p:cBhvr>
                                        <p:cTn id="31" dur="1" fill="hold">
                                          <p:stCondLst>
                                            <p:cond delay="0"/>
                                          </p:stCondLst>
                                        </p:cTn>
                                        <p:tgtEl>
                                          <p:spTgt spid="100"/>
                                        </p:tgtEl>
                                        <p:attrNameLst>
                                          <p:attrName>style.visibility</p:attrName>
                                        </p:attrNameLst>
                                      </p:cBhvr>
                                      <p:to>
                                        <p:strVal val="visible"/>
                                      </p:to>
                                    </p:set>
                                    <p:anim calcmode="lin" valueType="num">
                                      <p:cBhvr>
                                        <p:cTn id="32" dur="500" fill="hold"/>
                                        <p:tgtEl>
                                          <p:spTgt spid="100"/>
                                        </p:tgtEl>
                                        <p:attrNameLst>
                                          <p:attrName>ppt_w</p:attrName>
                                        </p:attrNameLst>
                                      </p:cBhvr>
                                      <p:tavLst>
                                        <p:tav tm="0">
                                          <p:val>
                                            <p:fltVal val="0"/>
                                          </p:val>
                                        </p:tav>
                                        <p:tav tm="100000">
                                          <p:val>
                                            <p:strVal val="#ppt_w"/>
                                          </p:val>
                                        </p:tav>
                                      </p:tavLst>
                                    </p:anim>
                                    <p:anim calcmode="lin" valueType="num">
                                      <p:cBhvr>
                                        <p:cTn id="33" dur="500" fill="hold"/>
                                        <p:tgtEl>
                                          <p:spTgt spid="100"/>
                                        </p:tgtEl>
                                        <p:attrNameLst>
                                          <p:attrName>ppt_h</p:attrName>
                                        </p:attrNameLst>
                                      </p:cBhvr>
                                      <p:tavLst>
                                        <p:tav tm="0">
                                          <p:val>
                                            <p:fltVal val="0"/>
                                          </p:val>
                                        </p:tav>
                                        <p:tav tm="100000">
                                          <p:val>
                                            <p:strVal val="#ppt_h"/>
                                          </p:val>
                                        </p:tav>
                                      </p:tavLst>
                                    </p:anim>
                                    <p:animEffect transition="in" filter="fade">
                                      <p:cBhvr>
                                        <p:cTn id="34" dur="500"/>
                                        <p:tgtEl>
                                          <p:spTgt spid="100"/>
                                        </p:tgtEl>
                                      </p:cBhvr>
                                    </p:animEffect>
                                  </p:childTnLst>
                                </p:cTn>
                              </p:par>
                              <p:par>
                                <p:cTn id="35" presetID="53" presetClass="entr" presetSubtype="16" fill="hold" grpId="0" nodeType="withEffect">
                                  <p:stCondLst>
                                    <p:cond delay="1500"/>
                                  </p:stCondLst>
                                  <p:childTnLst>
                                    <p:set>
                                      <p:cBhvr>
                                        <p:cTn id="36" dur="1" fill="hold">
                                          <p:stCondLst>
                                            <p:cond delay="0"/>
                                          </p:stCondLst>
                                        </p:cTn>
                                        <p:tgtEl>
                                          <p:spTgt spid="101"/>
                                        </p:tgtEl>
                                        <p:attrNameLst>
                                          <p:attrName>style.visibility</p:attrName>
                                        </p:attrNameLst>
                                      </p:cBhvr>
                                      <p:to>
                                        <p:strVal val="visible"/>
                                      </p:to>
                                    </p:set>
                                    <p:anim calcmode="lin" valueType="num">
                                      <p:cBhvr>
                                        <p:cTn id="37" dur="500" fill="hold"/>
                                        <p:tgtEl>
                                          <p:spTgt spid="101"/>
                                        </p:tgtEl>
                                        <p:attrNameLst>
                                          <p:attrName>ppt_w</p:attrName>
                                        </p:attrNameLst>
                                      </p:cBhvr>
                                      <p:tavLst>
                                        <p:tav tm="0">
                                          <p:val>
                                            <p:fltVal val="0"/>
                                          </p:val>
                                        </p:tav>
                                        <p:tav tm="100000">
                                          <p:val>
                                            <p:strVal val="#ppt_w"/>
                                          </p:val>
                                        </p:tav>
                                      </p:tavLst>
                                    </p:anim>
                                    <p:anim calcmode="lin" valueType="num">
                                      <p:cBhvr>
                                        <p:cTn id="38" dur="500" fill="hold"/>
                                        <p:tgtEl>
                                          <p:spTgt spid="101"/>
                                        </p:tgtEl>
                                        <p:attrNameLst>
                                          <p:attrName>ppt_h</p:attrName>
                                        </p:attrNameLst>
                                      </p:cBhvr>
                                      <p:tavLst>
                                        <p:tav tm="0">
                                          <p:val>
                                            <p:fltVal val="0"/>
                                          </p:val>
                                        </p:tav>
                                        <p:tav tm="100000">
                                          <p:val>
                                            <p:strVal val="#ppt_h"/>
                                          </p:val>
                                        </p:tav>
                                      </p:tavLst>
                                    </p:anim>
                                    <p:animEffect transition="in" filter="fade">
                                      <p:cBhvr>
                                        <p:cTn id="39" dur="500"/>
                                        <p:tgtEl>
                                          <p:spTgt spid="101"/>
                                        </p:tgtEl>
                                      </p:cBhvr>
                                    </p:animEffect>
                                  </p:childTnLst>
                                </p:cTn>
                              </p:par>
                              <p:par>
                                <p:cTn id="40" presetID="53" presetClass="entr" presetSubtype="16" fill="hold" grpId="0" nodeType="withEffect">
                                  <p:stCondLst>
                                    <p:cond delay="1500"/>
                                  </p:stCondLst>
                                  <p:childTnLst>
                                    <p:set>
                                      <p:cBhvr>
                                        <p:cTn id="41" dur="1" fill="hold">
                                          <p:stCondLst>
                                            <p:cond delay="0"/>
                                          </p:stCondLst>
                                        </p:cTn>
                                        <p:tgtEl>
                                          <p:spTgt spid="102"/>
                                        </p:tgtEl>
                                        <p:attrNameLst>
                                          <p:attrName>style.visibility</p:attrName>
                                        </p:attrNameLst>
                                      </p:cBhvr>
                                      <p:to>
                                        <p:strVal val="visible"/>
                                      </p:to>
                                    </p:set>
                                    <p:anim calcmode="lin" valueType="num">
                                      <p:cBhvr>
                                        <p:cTn id="42" dur="500" fill="hold"/>
                                        <p:tgtEl>
                                          <p:spTgt spid="102"/>
                                        </p:tgtEl>
                                        <p:attrNameLst>
                                          <p:attrName>ppt_w</p:attrName>
                                        </p:attrNameLst>
                                      </p:cBhvr>
                                      <p:tavLst>
                                        <p:tav tm="0">
                                          <p:val>
                                            <p:fltVal val="0"/>
                                          </p:val>
                                        </p:tav>
                                        <p:tav tm="100000">
                                          <p:val>
                                            <p:strVal val="#ppt_w"/>
                                          </p:val>
                                        </p:tav>
                                      </p:tavLst>
                                    </p:anim>
                                    <p:anim calcmode="lin" valueType="num">
                                      <p:cBhvr>
                                        <p:cTn id="43" dur="500" fill="hold"/>
                                        <p:tgtEl>
                                          <p:spTgt spid="102"/>
                                        </p:tgtEl>
                                        <p:attrNameLst>
                                          <p:attrName>ppt_h</p:attrName>
                                        </p:attrNameLst>
                                      </p:cBhvr>
                                      <p:tavLst>
                                        <p:tav tm="0">
                                          <p:val>
                                            <p:fltVal val="0"/>
                                          </p:val>
                                        </p:tav>
                                        <p:tav tm="100000">
                                          <p:val>
                                            <p:strVal val="#ppt_h"/>
                                          </p:val>
                                        </p:tav>
                                      </p:tavLst>
                                    </p:anim>
                                    <p:animEffect transition="in" filter="fade">
                                      <p:cBhvr>
                                        <p:cTn id="44" dur="500"/>
                                        <p:tgtEl>
                                          <p:spTgt spid="102"/>
                                        </p:tgtEl>
                                      </p:cBhvr>
                                    </p:animEffect>
                                  </p:childTnLst>
                                </p:cTn>
                              </p:par>
                              <p:par>
                                <p:cTn id="45" presetID="53" presetClass="entr" presetSubtype="16" fill="hold" grpId="0" nodeType="withEffect">
                                  <p:stCondLst>
                                    <p:cond delay="1500"/>
                                  </p:stCondLst>
                                  <p:childTnLst>
                                    <p:set>
                                      <p:cBhvr>
                                        <p:cTn id="46" dur="1" fill="hold">
                                          <p:stCondLst>
                                            <p:cond delay="0"/>
                                          </p:stCondLst>
                                        </p:cTn>
                                        <p:tgtEl>
                                          <p:spTgt spid="103"/>
                                        </p:tgtEl>
                                        <p:attrNameLst>
                                          <p:attrName>style.visibility</p:attrName>
                                        </p:attrNameLst>
                                      </p:cBhvr>
                                      <p:to>
                                        <p:strVal val="visible"/>
                                      </p:to>
                                    </p:set>
                                    <p:anim calcmode="lin" valueType="num">
                                      <p:cBhvr>
                                        <p:cTn id="47" dur="500" fill="hold"/>
                                        <p:tgtEl>
                                          <p:spTgt spid="103"/>
                                        </p:tgtEl>
                                        <p:attrNameLst>
                                          <p:attrName>ppt_w</p:attrName>
                                        </p:attrNameLst>
                                      </p:cBhvr>
                                      <p:tavLst>
                                        <p:tav tm="0">
                                          <p:val>
                                            <p:fltVal val="0"/>
                                          </p:val>
                                        </p:tav>
                                        <p:tav tm="100000">
                                          <p:val>
                                            <p:strVal val="#ppt_w"/>
                                          </p:val>
                                        </p:tav>
                                      </p:tavLst>
                                    </p:anim>
                                    <p:anim calcmode="lin" valueType="num">
                                      <p:cBhvr>
                                        <p:cTn id="48" dur="500" fill="hold"/>
                                        <p:tgtEl>
                                          <p:spTgt spid="103"/>
                                        </p:tgtEl>
                                        <p:attrNameLst>
                                          <p:attrName>ppt_h</p:attrName>
                                        </p:attrNameLst>
                                      </p:cBhvr>
                                      <p:tavLst>
                                        <p:tav tm="0">
                                          <p:val>
                                            <p:fltVal val="0"/>
                                          </p:val>
                                        </p:tav>
                                        <p:tav tm="100000">
                                          <p:val>
                                            <p:strVal val="#ppt_h"/>
                                          </p:val>
                                        </p:tav>
                                      </p:tavLst>
                                    </p:anim>
                                    <p:animEffect transition="in" filter="fade">
                                      <p:cBhvr>
                                        <p:cTn id="49" dur="500"/>
                                        <p:tgtEl>
                                          <p:spTgt spid="103"/>
                                        </p:tgtEl>
                                      </p:cBhvr>
                                    </p:animEffect>
                                  </p:childTnLst>
                                </p:cTn>
                              </p:par>
                              <p:par>
                                <p:cTn id="50" presetID="53" presetClass="entr" presetSubtype="16" fill="hold" grpId="0" nodeType="withEffect">
                                  <p:stCondLst>
                                    <p:cond delay="1500"/>
                                  </p:stCondLst>
                                  <p:childTnLst>
                                    <p:set>
                                      <p:cBhvr>
                                        <p:cTn id="51" dur="1" fill="hold">
                                          <p:stCondLst>
                                            <p:cond delay="0"/>
                                          </p:stCondLst>
                                        </p:cTn>
                                        <p:tgtEl>
                                          <p:spTgt spid="104"/>
                                        </p:tgtEl>
                                        <p:attrNameLst>
                                          <p:attrName>style.visibility</p:attrName>
                                        </p:attrNameLst>
                                      </p:cBhvr>
                                      <p:to>
                                        <p:strVal val="visible"/>
                                      </p:to>
                                    </p:set>
                                    <p:anim calcmode="lin" valueType="num">
                                      <p:cBhvr>
                                        <p:cTn id="52" dur="500" fill="hold"/>
                                        <p:tgtEl>
                                          <p:spTgt spid="104"/>
                                        </p:tgtEl>
                                        <p:attrNameLst>
                                          <p:attrName>ppt_w</p:attrName>
                                        </p:attrNameLst>
                                      </p:cBhvr>
                                      <p:tavLst>
                                        <p:tav tm="0">
                                          <p:val>
                                            <p:fltVal val="0"/>
                                          </p:val>
                                        </p:tav>
                                        <p:tav tm="100000">
                                          <p:val>
                                            <p:strVal val="#ppt_w"/>
                                          </p:val>
                                        </p:tav>
                                      </p:tavLst>
                                    </p:anim>
                                    <p:anim calcmode="lin" valueType="num">
                                      <p:cBhvr>
                                        <p:cTn id="53" dur="500" fill="hold"/>
                                        <p:tgtEl>
                                          <p:spTgt spid="104"/>
                                        </p:tgtEl>
                                        <p:attrNameLst>
                                          <p:attrName>ppt_h</p:attrName>
                                        </p:attrNameLst>
                                      </p:cBhvr>
                                      <p:tavLst>
                                        <p:tav tm="0">
                                          <p:val>
                                            <p:fltVal val="0"/>
                                          </p:val>
                                        </p:tav>
                                        <p:tav tm="100000">
                                          <p:val>
                                            <p:strVal val="#ppt_h"/>
                                          </p:val>
                                        </p:tav>
                                      </p:tavLst>
                                    </p:anim>
                                    <p:animEffect transition="in" filter="fade">
                                      <p:cBhvr>
                                        <p:cTn id="54" dur="500"/>
                                        <p:tgtEl>
                                          <p:spTgt spid="104"/>
                                        </p:tgtEl>
                                      </p:cBhvr>
                                    </p:animEffect>
                                  </p:childTnLst>
                                </p:cTn>
                              </p:par>
                              <p:par>
                                <p:cTn id="55" presetID="53" presetClass="entr" presetSubtype="16" fill="hold" grpId="0" nodeType="withEffect">
                                  <p:stCondLst>
                                    <p:cond delay="1500"/>
                                  </p:stCondLst>
                                  <p:childTnLst>
                                    <p:set>
                                      <p:cBhvr>
                                        <p:cTn id="56" dur="1" fill="hold">
                                          <p:stCondLst>
                                            <p:cond delay="0"/>
                                          </p:stCondLst>
                                        </p:cTn>
                                        <p:tgtEl>
                                          <p:spTgt spid="105"/>
                                        </p:tgtEl>
                                        <p:attrNameLst>
                                          <p:attrName>style.visibility</p:attrName>
                                        </p:attrNameLst>
                                      </p:cBhvr>
                                      <p:to>
                                        <p:strVal val="visible"/>
                                      </p:to>
                                    </p:set>
                                    <p:anim calcmode="lin" valueType="num">
                                      <p:cBhvr>
                                        <p:cTn id="57" dur="500" fill="hold"/>
                                        <p:tgtEl>
                                          <p:spTgt spid="105"/>
                                        </p:tgtEl>
                                        <p:attrNameLst>
                                          <p:attrName>ppt_w</p:attrName>
                                        </p:attrNameLst>
                                      </p:cBhvr>
                                      <p:tavLst>
                                        <p:tav tm="0">
                                          <p:val>
                                            <p:fltVal val="0"/>
                                          </p:val>
                                        </p:tav>
                                        <p:tav tm="100000">
                                          <p:val>
                                            <p:strVal val="#ppt_w"/>
                                          </p:val>
                                        </p:tav>
                                      </p:tavLst>
                                    </p:anim>
                                    <p:anim calcmode="lin" valueType="num">
                                      <p:cBhvr>
                                        <p:cTn id="58" dur="500" fill="hold"/>
                                        <p:tgtEl>
                                          <p:spTgt spid="105"/>
                                        </p:tgtEl>
                                        <p:attrNameLst>
                                          <p:attrName>ppt_h</p:attrName>
                                        </p:attrNameLst>
                                      </p:cBhvr>
                                      <p:tavLst>
                                        <p:tav tm="0">
                                          <p:val>
                                            <p:fltVal val="0"/>
                                          </p:val>
                                        </p:tav>
                                        <p:tav tm="100000">
                                          <p:val>
                                            <p:strVal val="#ppt_h"/>
                                          </p:val>
                                        </p:tav>
                                      </p:tavLst>
                                    </p:anim>
                                    <p:animEffect transition="in" filter="fade">
                                      <p:cBhvr>
                                        <p:cTn id="59" dur="500"/>
                                        <p:tgtEl>
                                          <p:spTgt spid="105"/>
                                        </p:tgtEl>
                                      </p:cBhvr>
                                    </p:animEffect>
                                  </p:childTnLst>
                                </p:cTn>
                              </p:par>
                              <p:par>
                                <p:cTn id="60" presetID="53" presetClass="entr" presetSubtype="16" fill="hold" grpId="0" nodeType="withEffect">
                                  <p:stCondLst>
                                    <p:cond delay="1500"/>
                                  </p:stCondLst>
                                  <p:childTnLst>
                                    <p:set>
                                      <p:cBhvr>
                                        <p:cTn id="61" dur="1" fill="hold">
                                          <p:stCondLst>
                                            <p:cond delay="0"/>
                                          </p:stCondLst>
                                        </p:cTn>
                                        <p:tgtEl>
                                          <p:spTgt spid="106"/>
                                        </p:tgtEl>
                                        <p:attrNameLst>
                                          <p:attrName>style.visibility</p:attrName>
                                        </p:attrNameLst>
                                      </p:cBhvr>
                                      <p:to>
                                        <p:strVal val="visible"/>
                                      </p:to>
                                    </p:set>
                                    <p:anim calcmode="lin" valueType="num">
                                      <p:cBhvr>
                                        <p:cTn id="62" dur="500" fill="hold"/>
                                        <p:tgtEl>
                                          <p:spTgt spid="106"/>
                                        </p:tgtEl>
                                        <p:attrNameLst>
                                          <p:attrName>ppt_w</p:attrName>
                                        </p:attrNameLst>
                                      </p:cBhvr>
                                      <p:tavLst>
                                        <p:tav tm="0">
                                          <p:val>
                                            <p:fltVal val="0"/>
                                          </p:val>
                                        </p:tav>
                                        <p:tav tm="100000">
                                          <p:val>
                                            <p:strVal val="#ppt_w"/>
                                          </p:val>
                                        </p:tav>
                                      </p:tavLst>
                                    </p:anim>
                                    <p:anim calcmode="lin" valueType="num">
                                      <p:cBhvr>
                                        <p:cTn id="63" dur="500" fill="hold"/>
                                        <p:tgtEl>
                                          <p:spTgt spid="106"/>
                                        </p:tgtEl>
                                        <p:attrNameLst>
                                          <p:attrName>ppt_h</p:attrName>
                                        </p:attrNameLst>
                                      </p:cBhvr>
                                      <p:tavLst>
                                        <p:tav tm="0">
                                          <p:val>
                                            <p:fltVal val="0"/>
                                          </p:val>
                                        </p:tav>
                                        <p:tav tm="100000">
                                          <p:val>
                                            <p:strVal val="#ppt_h"/>
                                          </p:val>
                                        </p:tav>
                                      </p:tavLst>
                                    </p:anim>
                                    <p:animEffect transition="in" filter="fade">
                                      <p:cBhvr>
                                        <p:cTn id="64" dur="500"/>
                                        <p:tgtEl>
                                          <p:spTgt spid="106"/>
                                        </p:tgtEl>
                                      </p:cBhvr>
                                    </p:animEffect>
                                  </p:childTnLst>
                                </p:cTn>
                              </p:par>
                              <p:par>
                                <p:cTn id="65" presetID="53" presetClass="entr" presetSubtype="16" fill="hold" grpId="0" nodeType="withEffect">
                                  <p:stCondLst>
                                    <p:cond delay="1500"/>
                                  </p:stCondLst>
                                  <p:childTnLst>
                                    <p:set>
                                      <p:cBhvr>
                                        <p:cTn id="66" dur="1" fill="hold">
                                          <p:stCondLst>
                                            <p:cond delay="0"/>
                                          </p:stCondLst>
                                        </p:cTn>
                                        <p:tgtEl>
                                          <p:spTgt spid="107"/>
                                        </p:tgtEl>
                                        <p:attrNameLst>
                                          <p:attrName>style.visibility</p:attrName>
                                        </p:attrNameLst>
                                      </p:cBhvr>
                                      <p:to>
                                        <p:strVal val="visible"/>
                                      </p:to>
                                    </p:set>
                                    <p:anim calcmode="lin" valueType="num">
                                      <p:cBhvr>
                                        <p:cTn id="67" dur="500" fill="hold"/>
                                        <p:tgtEl>
                                          <p:spTgt spid="107"/>
                                        </p:tgtEl>
                                        <p:attrNameLst>
                                          <p:attrName>ppt_w</p:attrName>
                                        </p:attrNameLst>
                                      </p:cBhvr>
                                      <p:tavLst>
                                        <p:tav tm="0">
                                          <p:val>
                                            <p:fltVal val="0"/>
                                          </p:val>
                                        </p:tav>
                                        <p:tav tm="100000">
                                          <p:val>
                                            <p:strVal val="#ppt_w"/>
                                          </p:val>
                                        </p:tav>
                                      </p:tavLst>
                                    </p:anim>
                                    <p:anim calcmode="lin" valueType="num">
                                      <p:cBhvr>
                                        <p:cTn id="68" dur="500" fill="hold"/>
                                        <p:tgtEl>
                                          <p:spTgt spid="107"/>
                                        </p:tgtEl>
                                        <p:attrNameLst>
                                          <p:attrName>ppt_h</p:attrName>
                                        </p:attrNameLst>
                                      </p:cBhvr>
                                      <p:tavLst>
                                        <p:tav tm="0">
                                          <p:val>
                                            <p:fltVal val="0"/>
                                          </p:val>
                                        </p:tav>
                                        <p:tav tm="100000">
                                          <p:val>
                                            <p:strVal val="#ppt_h"/>
                                          </p:val>
                                        </p:tav>
                                      </p:tavLst>
                                    </p:anim>
                                    <p:animEffect transition="in" filter="fade">
                                      <p:cBhvr>
                                        <p:cTn id="69" dur="500"/>
                                        <p:tgtEl>
                                          <p:spTgt spid="107"/>
                                        </p:tgtEl>
                                      </p:cBhvr>
                                    </p:animEffect>
                                  </p:childTnLst>
                                </p:cTn>
                              </p:par>
                              <p:par>
                                <p:cTn id="70" presetID="53" presetClass="entr" presetSubtype="16" fill="hold" grpId="0" nodeType="withEffect" nodePh="1">
                                  <p:stCondLst>
                                    <p:cond delay="1500"/>
                                  </p:stCondLst>
                                  <p:endCondLst>
                                    <p:cond evt="begin" delay="0">
                                      <p:tn val="70"/>
                                    </p:cond>
                                  </p:endCondLst>
                                  <p:childTnLst>
                                    <p:set>
                                      <p:cBhvr>
                                        <p:cTn id="71" dur="1" fill="hold">
                                          <p:stCondLst>
                                            <p:cond delay="0"/>
                                          </p:stCondLst>
                                        </p:cTn>
                                        <p:tgtEl>
                                          <p:spTgt spid="108"/>
                                        </p:tgtEl>
                                        <p:attrNameLst>
                                          <p:attrName>style.visibility</p:attrName>
                                        </p:attrNameLst>
                                      </p:cBhvr>
                                      <p:to>
                                        <p:strVal val="visible"/>
                                      </p:to>
                                    </p:set>
                                    <p:anim calcmode="lin" valueType="num">
                                      <p:cBhvr>
                                        <p:cTn id="72" dur="500" fill="hold"/>
                                        <p:tgtEl>
                                          <p:spTgt spid="108"/>
                                        </p:tgtEl>
                                        <p:attrNameLst>
                                          <p:attrName>ppt_w</p:attrName>
                                        </p:attrNameLst>
                                      </p:cBhvr>
                                      <p:tavLst>
                                        <p:tav tm="0">
                                          <p:val>
                                            <p:fltVal val="0"/>
                                          </p:val>
                                        </p:tav>
                                        <p:tav tm="100000">
                                          <p:val>
                                            <p:strVal val="#ppt_w"/>
                                          </p:val>
                                        </p:tav>
                                      </p:tavLst>
                                    </p:anim>
                                    <p:anim calcmode="lin" valueType="num">
                                      <p:cBhvr>
                                        <p:cTn id="73" dur="500" fill="hold"/>
                                        <p:tgtEl>
                                          <p:spTgt spid="108"/>
                                        </p:tgtEl>
                                        <p:attrNameLst>
                                          <p:attrName>ppt_h</p:attrName>
                                        </p:attrNameLst>
                                      </p:cBhvr>
                                      <p:tavLst>
                                        <p:tav tm="0">
                                          <p:val>
                                            <p:fltVal val="0"/>
                                          </p:val>
                                        </p:tav>
                                        <p:tav tm="100000">
                                          <p:val>
                                            <p:strVal val="#ppt_h"/>
                                          </p:val>
                                        </p:tav>
                                      </p:tavLst>
                                    </p:anim>
                                    <p:animEffect transition="in" filter="fade">
                                      <p:cBhvr>
                                        <p:cTn id="74" dur="500"/>
                                        <p:tgtEl>
                                          <p:spTgt spid="108"/>
                                        </p:tgtEl>
                                      </p:cBhvr>
                                    </p:animEffect>
                                  </p:childTnLst>
                                </p:cTn>
                              </p:par>
                              <p:par>
                                <p:cTn id="75" presetID="53" presetClass="entr" presetSubtype="16" fill="hold" nodeType="withEffect">
                                  <p:stCondLst>
                                    <p:cond delay="2250"/>
                                  </p:stCondLst>
                                  <p:childTnLst>
                                    <p:set>
                                      <p:cBhvr>
                                        <p:cTn id="76" dur="1" fill="hold">
                                          <p:stCondLst>
                                            <p:cond delay="0"/>
                                          </p:stCondLst>
                                        </p:cTn>
                                        <p:tgtEl>
                                          <p:spTgt spid="112"/>
                                        </p:tgtEl>
                                        <p:attrNameLst>
                                          <p:attrName>style.visibility</p:attrName>
                                        </p:attrNameLst>
                                      </p:cBhvr>
                                      <p:to>
                                        <p:strVal val="visible"/>
                                      </p:to>
                                    </p:set>
                                    <p:anim calcmode="lin" valueType="num">
                                      <p:cBhvr>
                                        <p:cTn id="77" dur="500" fill="hold"/>
                                        <p:tgtEl>
                                          <p:spTgt spid="112"/>
                                        </p:tgtEl>
                                        <p:attrNameLst>
                                          <p:attrName>ppt_w</p:attrName>
                                        </p:attrNameLst>
                                      </p:cBhvr>
                                      <p:tavLst>
                                        <p:tav tm="0">
                                          <p:val>
                                            <p:fltVal val="0"/>
                                          </p:val>
                                        </p:tav>
                                        <p:tav tm="100000">
                                          <p:val>
                                            <p:strVal val="#ppt_w"/>
                                          </p:val>
                                        </p:tav>
                                      </p:tavLst>
                                    </p:anim>
                                    <p:anim calcmode="lin" valueType="num">
                                      <p:cBhvr>
                                        <p:cTn id="78" dur="500" fill="hold"/>
                                        <p:tgtEl>
                                          <p:spTgt spid="112"/>
                                        </p:tgtEl>
                                        <p:attrNameLst>
                                          <p:attrName>ppt_h</p:attrName>
                                        </p:attrNameLst>
                                      </p:cBhvr>
                                      <p:tavLst>
                                        <p:tav tm="0">
                                          <p:val>
                                            <p:fltVal val="0"/>
                                          </p:val>
                                        </p:tav>
                                        <p:tav tm="100000">
                                          <p:val>
                                            <p:strVal val="#ppt_h"/>
                                          </p:val>
                                        </p:tav>
                                      </p:tavLst>
                                    </p:anim>
                                    <p:animEffect transition="in" filter="fade">
                                      <p:cBhvr>
                                        <p:cTn id="79" dur="500"/>
                                        <p:tgtEl>
                                          <p:spTgt spid="112"/>
                                        </p:tgtEl>
                                      </p:cBhvr>
                                    </p:animEffect>
                                  </p:childTnLst>
                                </p:cTn>
                              </p:par>
                              <p:par>
                                <p:cTn id="80" presetID="53" presetClass="entr" presetSubtype="16" fill="hold" nodeType="withEffect">
                                  <p:stCondLst>
                                    <p:cond delay="2250"/>
                                  </p:stCondLst>
                                  <p:childTnLst>
                                    <p:set>
                                      <p:cBhvr>
                                        <p:cTn id="81" dur="1" fill="hold">
                                          <p:stCondLst>
                                            <p:cond delay="0"/>
                                          </p:stCondLst>
                                        </p:cTn>
                                        <p:tgtEl>
                                          <p:spTgt spid="116"/>
                                        </p:tgtEl>
                                        <p:attrNameLst>
                                          <p:attrName>style.visibility</p:attrName>
                                        </p:attrNameLst>
                                      </p:cBhvr>
                                      <p:to>
                                        <p:strVal val="visible"/>
                                      </p:to>
                                    </p:set>
                                    <p:anim calcmode="lin" valueType="num">
                                      <p:cBhvr>
                                        <p:cTn id="82" dur="500" fill="hold"/>
                                        <p:tgtEl>
                                          <p:spTgt spid="116"/>
                                        </p:tgtEl>
                                        <p:attrNameLst>
                                          <p:attrName>ppt_w</p:attrName>
                                        </p:attrNameLst>
                                      </p:cBhvr>
                                      <p:tavLst>
                                        <p:tav tm="0">
                                          <p:val>
                                            <p:fltVal val="0"/>
                                          </p:val>
                                        </p:tav>
                                        <p:tav tm="100000">
                                          <p:val>
                                            <p:strVal val="#ppt_w"/>
                                          </p:val>
                                        </p:tav>
                                      </p:tavLst>
                                    </p:anim>
                                    <p:anim calcmode="lin" valueType="num">
                                      <p:cBhvr>
                                        <p:cTn id="83" dur="500" fill="hold"/>
                                        <p:tgtEl>
                                          <p:spTgt spid="116"/>
                                        </p:tgtEl>
                                        <p:attrNameLst>
                                          <p:attrName>ppt_h</p:attrName>
                                        </p:attrNameLst>
                                      </p:cBhvr>
                                      <p:tavLst>
                                        <p:tav tm="0">
                                          <p:val>
                                            <p:fltVal val="0"/>
                                          </p:val>
                                        </p:tav>
                                        <p:tav tm="100000">
                                          <p:val>
                                            <p:strVal val="#ppt_h"/>
                                          </p:val>
                                        </p:tav>
                                      </p:tavLst>
                                    </p:anim>
                                    <p:animEffect transition="in" filter="fade">
                                      <p:cBhvr>
                                        <p:cTn id="84" dur="500"/>
                                        <p:tgtEl>
                                          <p:spTgt spid="116"/>
                                        </p:tgtEl>
                                      </p:cBhvr>
                                    </p:animEffect>
                                  </p:childTnLst>
                                </p:cTn>
                              </p:par>
                            </p:childTnLst>
                          </p:cTn>
                        </p:par>
                        <p:par>
                          <p:cTn id="85" fill="hold">
                            <p:stCondLst>
                              <p:cond delay="1000"/>
                            </p:stCondLst>
                            <p:childTnLst>
                              <p:par>
                                <p:cTn id="86" presetID="22" presetClass="entr" presetSubtype="4" fill="hold" grpId="0" nodeType="afterEffect">
                                  <p:stCondLst>
                                    <p:cond delay="0"/>
                                  </p:stCondLst>
                                  <p:childTnLst>
                                    <p:set>
                                      <p:cBhvr>
                                        <p:cTn id="87" dur="1" fill="hold">
                                          <p:stCondLst>
                                            <p:cond delay="0"/>
                                          </p:stCondLst>
                                        </p:cTn>
                                        <p:tgtEl>
                                          <p:spTgt spid="48"/>
                                        </p:tgtEl>
                                        <p:attrNameLst>
                                          <p:attrName>style.visibility</p:attrName>
                                        </p:attrNameLst>
                                      </p:cBhvr>
                                      <p:to>
                                        <p:strVal val="visible"/>
                                      </p:to>
                                    </p:set>
                                    <p:animEffect transition="in" filter="wipe(down)">
                                      <p:cBhvr>
                                        <p:cTn id="88" dur="125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animBg="1"/>
      <p:bldP spid="99" grpId="0" animBg="1"/>
      <p:bldP spid="100" grpId="0" animBg="1"/>
      <p:bldP spid="101" grpId="0" animBg="1"/>
      <p:bldP spid="102" grpId="0" animBg="1"/>
      <p:bldP spid="103" grpId="0"/>
      <p:bldP spid="104" grpId="0"/>
      <p:bldP spid="105" grpId="0"/>
      <p:bldP spid="106" grpId="0"/>
      <p:bldP spid="107" grpId="0"/>
      <p:bldP spid="108" grpId="0"/>
      <p:bldP spid="48" grpId="0"/>
    </p:bldLst>
  </p:timing>
</p:sld>
</file>

<file path=ppt/tags/tag1.xml><?xml version="1.0" encoding="utf-8"?>
<p:tagLst xmlns:p="http://schemas.openxmlformats.org/presentationml/2006/main">
  <p:tag name="THINKCELLSHAPEDONOTDELETE" val="pz2GUzdX9CkGwnpZYcvfjDg"/>
</p:tagLst>
</file>

<file path=ppt/tags/tag2.xml><?xml version="1.0" encoding="utf-8"?>
<p:tagLst xmlns:p="http://schemas.openxmlformats.org/presentationml/2006/main">
  <p:tag name="ISPRING_PRESENTATION_TITLE" val="PowerPoint 演示文稿"/>
  <p:tag name="commondata" val="eyJoZGlkIjoiYTQ3YTc2YjBlNWRhYjQ0NTA0MDBkN2E0YWM4YTZjZGMif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方正姚体"/>
        <a:ea typeface="微软雅黑"/>
        <a:cs typeface=""/>
      </a:majorFont>
      <a:minorFont>
        <a:latin typeface="方正姚体"/>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228</Words>
  <Application>WPS 演示</Application>
  <PresentationFormat>宽屏</PresentationFormat>
  <Paragraphs>893</Paragraphs>
  <Slides>45</Slides>
  <Notes>45</Notes>
  <HiddenSlides>0</HiddenSlides>
  <MMClips>0</MMClips>
  <ScaleCrop>false</ScaleCrop>
  <HeadingPairs>
    <vt:vector size="6" baseType="variant">
      <vt:variant>
        <vt:lpstr>已用的字体</vt:lpstr>
      </vt:variant>
      <vt:variant>
        <vt:i4>16</vt:i4>
      </vt:variant>
      <vt:variant>
        <vt:lpstr>主题</vt:lpstr>
      </vt:variant>
      <vt:variant>
        <vt:i4>1</vt:i4>
      </vt:variant>
      <vt:variant>
        <vt:lpstr>幻灯片标题</vt:lpstr>
      </vt:variant>
      <vt:variant>
        <vt:i4>45</vt:i4>
      </vt:variant>
    </vt:vector>
  </HeadingPairs>
  <TitlesOfParts>
    <vt:vector size="62" baseType="lpstr">
      <vt:lpstr>Arial</vt:lpstr>
      <vt:lpstr>宋体</vt:lpstr>
      <vt:lpstr>Wingdings</vt:lpstr>
      <vt:lpstr>微软雅黑</vt:lpstr>
      <vt:lpstr>DIN-BoldItalic</vt:lpstr>
      <vt:lpstr>Impact</vt:lpstr>
      <vt:lpstr>Calibri</vt:lpstr>
      <vt:lpstr>方正姚体</vt:lpstr>
      <vt:lpstr>Arial Unicode MS</vt:lpstr>
      <vt:lpstr>Arial Narrow</vt:lpstr>
      <vt:lpstr>Lato Hairline</vt:lpstr>
      <vt:lpstr>Segoe Print</vt:lpstr>
      <vt:lpstr>Lato Light</vt:lpstr>
      <vt:lpstr>Meiryo</vt:lpstr>
      <vt:lpstr>Yu Gothic UI</vt:lpstr>
      <vt:lpstr>Calibri Light</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http://www.ypppt.co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优品PPT</dc:creator>
  <cp:keywords>http:/www.ypppt.com</cp:keywords>
  <dc:description>http://www.ypppt.com/</dc:description>
  <cp:lastModifiedBy>Years later</cp:lastModifiedBy>
  <cp:revision>22</cp:revision>
  <dcterms:created xsi:type="dcterms:W3CDTF">2015-12-14T10:03:00Z</dcterms:created>
  <dcterms:modified xsi:type="dcterms:W3CDTF">2024-05-19T18:3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005073C89FEE44F598E75418CE502A43_13</vt:lpwstr>
  </property>
  <property fmtid="{D5CDD505-2E9C-101B-9397-08002B2CF9AE}" pid="3" name="KSOProductBuildVer">
    <vt:lpwstr>2052-12.1.0.16417</vt:lpwstr>
  </property>
</Properties>
</file>